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2.xml" ContentType="application/vnd.openxmlformats-officedocument.theme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theme/theme3.xml" ContentType="application/vnd.openxmlformats-officedocument.theme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theme/theme6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theme/theme7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theme/theme8.xml" ContentType="application/vnd.openxmlformats-officedocument.theme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theme/theme9.xml" ContentType="application/vnd.openxmlformats-officedocument.them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omments/modernComment_2A0_FEC9E073.xml" ContentType="application/vnd.ms-powerpoint.comments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5011" r:id="rId3"/>
    <p:sldMasterId id="2147484375" r:id="rId4"/>
    <p:sldMasterId id="2147483708" r:id="rId5"/>
    <p:sldMasterId id="2147484591" r:id="rId6"/>
    <p:sldMasterId id="2147484612" r:id="rId7"/>
    <p:sldMasterId id="2147484625" r:id="rId8"/>
    <p:sldMasterId id="2147484654" r:id="rId9"/>
    <p:sldMasterId id="2147484939" r:id="rId10"/>
    <p:sldMasterId id="2147485012" r:id="rId11"/>
  </p:sldMasterIdLst>
  <p:notesMasterIdLst>
    <p:notesMasterId r:id="rId40"/>
  </p:notesMasterIdLst>
  <p:sldIdLst>
    <p:sldId id="257" r:id="rId12"/>
    <p:sldId id="646" r:id="rId13"/>
    <p:sldId id="970" r:id="rId14"/>
    <p:sldId id="969" r:id="rId15"/>
    <p:sldId id="968" r:id="rId16"/>
    <p:sldId id="804" r:id="rId17"/>
    <p:sldId id="548" r:id="rId18"/>
    <p:sldId id="802" r:id="rId19"/>
    <p:sldId id="734" r:id="rId20"/>
    <p:sldId id="735" r:id="rId21"/>
    <p:sldId id="736" r:id="rId22"/>
    <p:sldId id="963" r:id="rId23"/>
    <p:sldId id="964" r:id="rId24"/>
    <p:sldId id="965" r:id="rId25"/>
    <p:sldId id="803" r:id="rId26"/>
    <p:sldId id="737" r:id="rId27"/>
    <p:sldId id="739" r:id="rId28"/>
    <p:sldId id="740" r:id="rId29"/>
    <p:sldId id="747" r:id="rId30"/>
    <p:sldId id="967" r:id="rId31"/>
    <p:sldId id="805" r:id="rId32"/>
    <p:sldId id="806" r:id="rId33"/>
    <p:sldId id="971" r:id="rId34"/>
    <p:sldId id="809" r:id="rId35"/>
    <p:sldId id="672" r:id="rId36"/>
    <p:sldId id="729" r:id="rId37"/>
    <p:sldId id="730" r:id="rId38"/>
    <p:sldId id="474" r:id="rId3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5FBE01E-7B92-B9C0-0995-5C3FE74E91A1}" name="Alana Rivera" initials="AR" userId="S::arg3669@ads.northwestern.edu::fc8b707a-b7e9-4f2a-8d71-2d76819b7881" providerId="AD"/>
  <p188:author id="{FCF8223C-610E-2BBA-F33B-0E1F55F6BB33}" name="Patricia Ann Lee King" initials="PK" userId="S::pal094@ads.northwestern.edu::dbab7ec2-5444-4d21-afe7-a39974533ddc" providerId="AD"/>
  <p188:author id="{B1E8E1CE-C373-4BDB-0D3F-F84FE1DA86D4}" name="Eileen Fleming Suse" initials="ES" userId="S::efs3844@ads.northwestern.edu::725c94ef-d051-42d7-9d33-8572765d59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  <a:srgbClr val="ED7373"/>
    <a:srgbClr val="B9B9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806AA88-8543-8400-574D-8CCC110DBA89}" v="10" dt="2023-04-21T20:55:21.861"/>
    <p1510:client id="{1F57ED69-AD2C-46C6-A8EF-244BF8192CC7}" v="65" dt="2023-07-20T13:55:38.936"/>
    <p1510:client id="{20BCD6E9-8E34-EC30-011C-4F65172364CB}" v="13" dt="2023-04-19T03:11:01.262"/>
    <p1510:client id="{3A09E2D4-EBC7-54B8-BE90-E84FD0A65959}" v="1428" dt="2023-09-21T22:28:07.987"/>
    <p1510:client id="{A65524C6-4A7E-EF16-BCAA-01ABF15AEC46}" v="61" dt="2023-09-22T21:11:59.843"/>
    <p1510:client id="{C205C2A5-6F42-36BD-F293-C52753C2E4F5}" v="24" dt="2023-06-21T16:40:43.763"/>
    <p1510:client id="{D170F8CD-5F23-91E4-7BE7-FB0618544DFC}" v="6" dt="2023-07-20T20:31:01.573"/>
    <p1510:client id="{D6A99D0E-F8F8-6E6C-42C9-3410228B10B7}" v="99" dt="2023-04-19T15:50:26.811"/>
    <p1510:client id="{E7E30D94-0778-BDC6-4E2A-5FE59B3E343F}" v="24" dt="2023-06-21T22:27:27.1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734" autoAdjust="0"/>
    <p:restoredTop sz="78920" autoAdjust="0"/>
  </p:normalViewPr>
  <p:slideViewPr>
    <p:cSldViewPr snapToGrid="0">
      <p:cViewPr varScale="1">
        <p:scale>
          <a:sx n="69" d="100"/>
          <a:sy n="69" d="100"/>
        </p:scale>
        <p:origin x="600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viewProps" Target="viewProps.xml"/><Relationship Id="rId47" Type="http://schemas.microsoft.com/office/2018/10/relationships/authors" Target="authors.xml"/><Relationship Id="rId7" Type="http://schemas.openxmlformats.org/officeDocument/2006/relationships/slideMaster" Target="slideMasters/slideMaster5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4.xml"/><Relationship Id="rId11" Type="http://schemas.openxmlformats.org/officeDocument/2006/relationships/slideMaster" Target="slideMasters/slideMaster9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notesMaster" Target="notesMasters/notesMaster1.xml"/><Relationship Id="rId45" Type="http://schemas.microsoft.com/office/2016/11/relationships/changesInfo" Target="changesInfos/changesInfo1.xml"/><Relationship Id="rId5" Type="http://schemas.openxmlformats.org/officeDocument/2006/relationships/slideMaster" Target="slideMasters/slideMaster3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8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2.xml"/><Relationship Id="rId9" Type="http://schemas.openxmlformats.org/officeDocument/2006/relationships/slideMaster" Target="slideMasters/slideMaster7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6.xml"/><Relationship Id="rId3" Type="http://schemas.openxmlformats.org/officeDocument/2006/relationships/slideMaster" Target="slideMasters/slideMaster1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microsoft.com/office/2015/10/relationships/revisionInfo" Target="revisionInfo.xml"/><Relationship Id="rId20" Type="http://schemas.openxmlformats.org/officeDocument/2006/relationships/slide" Target="slides/slide9.xml"/><Relationship Id="rId41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ileen Fleming Suse" userId="S::efs3844@ads.northwestern.edu::725c94ef-d051-42d7-9d33-8572765d592b" providerId="AD" clId="Web-{3A09E2D4-EBC7-54B8-BE90-E84FD0A65959}"/>
    <pc:docChg chg="addSld delSld modSld modMainMaster">
      <pc:chgData name="Eileen Fleming Suse" userId="S::efs3844@ads.northwestern.edu::725c94ef-d051-42d7-9d33-8572765d592b" providerId="AD" clId="Web-{3A09E2D4-EBC7-54B8-BE90-E84FD0A65959}" dt="2023-09-21T22:28:38.144" v="1294" actId="20577"/>
      <pc:docMkLst>
        <pc:docMk/>
      </pc:docMkLst>
      <pc:sldChg chg="modSp">
        <pc:chgData name="Eileen Fleming Suse" userId="S::efs3844@ads.northwestern.edu::725c94ef-d051-42d7-9d33-8572765d592b" providerId="AD" clId="Web-{3A09E2D4-EBC7-54B8-BE90-E84FD0A65959}" dt="2023-09-21T21:34:07.144" v="30" actId="20577"/>
        <pc:sldMkLst>
          <pc:docMk/>
          <pc:sldMk cId="2008243021" sldId="257"/>
        </pc:sldMkLst>
        <pc:spChg chg="mod">
          <ac:chgData name="Eileen Fleming Suse" userId="S::efs3844@ads.northwestern.edu::725c94ef-d051-42d7-9d33-8572765d592b" providerId="AD" clId="Web-{3A09E2D4-EBC7-54B8-BE90-E84FD0A65959}" dt="2023-09-21T21:34:07.144" v="30" actId="20577"/>
          <ac:spMkLst>
            <pc:docMk/>
            <pc:sldMk cId="2008243021" sldId="257"/>
            <ac:spMk id="4" creationId="{19922563-64D6-2A4E-B048-13AC25DB45AD}"/>
          </ac:spMkLst>
        </pc:spChg>
      </pc:sldChg>
      <pc:sldChg chg="modSp">
        <pc:chgData name="Eileen Fleming Suse" userId="S::efs3844@ads.northwestern.edu::725c94ef-d051-42d7-9d33-8572765d592b" providerId="AD" clId="Web-{3A09E2D4-EBC7-54B8-BE90-E84FD0A65959}" dt="2023-09-21T21:33:54.096" v="16" actId="20577"/>
        <pc:sldMkLst>
          <pc:docMk/>
          <pc:sldMk cId="1185808242" sldId="646"/>
        </pc:sldMkLst>
        <pc:spChg chg="mod">
          <ac:chgData name="Eileen Fleming Suse" userId="S::efs3844@ads.northwestern.edu::725c94ef-d051-42d7-9d33-8572765d592b" providerId="AD" clId="Web-{3A09E2D4-EBC7-54B8-BE90-E84FD0A65959}" dt="2023-09-21T21:33:54.096" v="16" actId="20577"/>
          <ac:spMkLst>
            <pc:docMk/>
            <pc:sldMk cId="1185808242" sldId="646"/>
            <ac:spMk id="3" creationId="{00000000-0000-0000-0000-000000000000}"/>
          </ac:spMkLst>
        </pc:spChg>
      </pc:sldChg>
      <pc:sldChg chg="modSp">
        <pc:chgData name="Eileen Fleming Suse" userId="S::efs3844@ads.northwestern.edu::725c94ef-d051-42d7-9d33-8572765d592b" providerId="AD" clId="Web-{3A09E2D4-EBC7-54B8-BE90-E84FD0A65959}" dt="2023-09-21T22:27:51.221" v="1273"/>
        <pc:sldMkLst>
          <pc:docMk/>
          <pc:sldMk cId="1028517551" sldId="729"/>
        </pc:sldMkLst>
        <pc:graphicFrameChg chg="mod modGraphic">
          <ac:chgData name="Eileen Fleming Suse" userId="S::efs3844@ads.northwestern.edu::725c94ef-d051-42d7-9d33-8572765d592b" providerId="AD" clId="Web-{3A09E2D4-EBC7-54B8-BE90-E84FD0A65959}" dt="2023-09-21T22:27:51.221" v="1273"/>
          <ac:graphicFrameMkLst>
            <pc:docMk/>
            <pc:sldMk cId="1028517551" sldId="729"/>
            <ac:graphicFrameMk id="458" creationId="{6B8DD92D-FC61-B8CD-3116-E6D4BC770D0C}"/>
          </ac:graphicFrameMkLst>
        </pc:graphicFrameChg>
      </pc:sldChg>
      <pc:sldChg chg="del">
        <pc:chgData name="Eileen Fleming Suse" userId="S::efs3844@ads.northwestern.edu::725c94ef-d051-42d7-9d33-8572765d592b" providerId="AD" clId="Web-{3A09E2D4-EBC7-54B8-BE90-E84FD0A65959}" dt="2023-09-21T22:27:57.424" v="1274"/>
        <pc:sldMkLst>
          <pc:docMk/>
          <pc:sldMk cId="4253230023" sldId="741"/>
        </pc:sldMkLst>
      </pc:sldChg>
      <pc:sldChg chg="del">
        <pc:chgData name="Eileen Fleming Suse" userId="S::efs3844@ads.northwestern.edu::725c94ef-d051-42d7-9d33-8572765d592b" providerId="AD" clId="Web-{3A09E2D4-EBC7-54B8-BE90-E84FD0A65959}" dt="2023-09-21T21:34:17.206" v="34"/>
        <pc:sldMkLst>
          <pc:docMk/>
          <pc:sldMk cId="2589506674" sldId="743"/>
        </pc:sldMkLst>
      </pc:sldChg>
      <pc:sldChg chg="del">
        <pc:chgData name="Eileen Fleming Suse" userId="S::efs3844@ads.northwestern.edu::725c94ef-d051-42d7-9d33-8572765d592b" providerId="AD" clId="Web-{3A09E2D4-EBC7-54B8-BE90-E84FD0A65959}" dt="2023-09-21T21:34:10.753" v="31"/>
        <pc:sldMkLst>
          <pc:docMk/>
          <pc:sldMk cId="1314852803" sldId="799"/>
        </pc:sldMkLst>
      </pc:sldChg>
      <pc:sldChg chg="del">
        <pc:chgData name="Eileen Fleming Suse" userId="S::efs3844@ads.northwestern.edu::725c94ef-d051-42d7-9d33-8572765d592b" providerId="AD" clId="Web-{3A09E2D4-EBC7-54B8-BE90-E84FD0A65959}" dt="2023-09-21T21:34:13.081" v="32"/>
        <pc:sldMkLst>
          <pc:docMk/>
          <pc:sldMk cId="1403253957" sldId="800"/>
        </pc:sldMkLst>
      </pc:sldChg>
      <pc:sldChg chg="del">
        <pc:chgData name="Eileen Fleming Suse" userId="S::efs3844@ads.northwestern.edu::725c94ef-d051-42d7-9d33-8572765d592b" providerId="AD" clId="Web-{3A09E2D4-EBC7-54B8-BE90-E84FD0A65959}" dt="2023-09-21T21:34:14.472" v="33"/>
        <pc:sldMkLst>
          <pc:docMk/>
          <pc:sldMk cId="1605497108" sldId="801"/>
        </pc:sldMkLst>
      </pc:sldChg>
      <pc:sldChg chg="addSp delSp modSp">
        <pc:chgData name="Eileen Fleming Suse" userId="S::efs3844@ads.northwestern.edu::725c94ef-d051-42d7-9d33-8572765d592b" providerId="AD" clId="Web-{3A09E2D4-EBC7-54B8-BE90-E84FD0A65959}" dt="2023-09-21T22:25:33.936" v="1106"/>
        <pc:sldMkLst>
          <pc:docMk/>
          <pc:sldMk cId="2636847278" sldId="809"/>
        </pc:sldMkLst>
        <pc:spChg chg="del">
          <ac:chgData name="Eileen Fleming Suse" userId="S::efs3844@ads.northwestern.edu::725c94ef-d051-42d7-9d33-8572765d592b" providerId="AD" clId="Web-{3A09E2D4-EBC7-54B8-BE90-E84FD0A65959}" dt="2023-09-21T22:11:08.501" v="111"/>
          <ac:spMkLst>
            <pc:docMk/>
            <pc:sldMk cId="2636847278" sldId="809"/>
            <ac:spMk id="2" creationId="{00000000-0000-0000-0000-000000000000}"/>
          </ac:spMkLst>
        </pc:spChg>
        <pc:spChg chg="del mod">
          <ac:chgData name="Eileen Fleming Suse" userId="S::efs3844@ads.northwestern.edu::725c94ef-d051-42d7-9d33-8572765d592b" providerId="AD" clId="Web-{3A09E2D4-EBC7-54B8-BE90-E84FD0A65959}" dt="2023-09-21T22:11:11.813" v="112"/>
          <ac:spMkLst>
            <pc:docMk/>
            <pc:sldMk cId="2636847278" sldId="809"/>
            <ac:spMk id="3" creationId="{00000000-0000-0000-0000-000000000000}"/>
          </ac:spMkLst>
        </pc:spChg>
        <pc:spChg chg="add del mod">
          <ac:chgData name="Eileen Fleming Suse" userId="S::efs3844@ads.northwestern.edu::725c94ef-d051-42d7-9d33-8572765d592b" providerId="AD" clId="Web-{3A09E2D4-EBC7-54B8-BE90-E84FD0A65959}" dt="2023-09-21T22:11:13.391" v="113"/>
          <ac:spMkLst>
            <pc:docMk/>
            <pc:sldMk cId="2636847278" sldId="809"/>
            <ac:spMk id="9" creationId="{6ED018E3-1B47-8E3B-A2AD-E26F419E84E9}"/>
          </ac:spMkLst>
        </pc:spChg>
        <pc:spChg chg="add del mod">
          <ac:chgData name="Eileen Fleming Suse" userId="S::efs3844@ads.northwestern.edu::725c94ef-d051-42d7-9d33-8572765d592b" providerId="AD" clId="Web-{3A09E2D4-EBC7-54B8-BE90-E84FD0A65959}" dt="2023-09-21T22:11:23.204" v="114"/>
          <ac:spMkLst>
            <pc:docMk/>
            <pc:sldMk cId="2636847278" sldId="809"/>
            <ac:spMk id="11" creationId="{AFD2FB0A-BB98-7D32-D623-D634171F6E3F}"/>
          </ac:spMkLst>
        </pc:spChg>
        <pc:graphicFrameChg chg="add del mod modGraphic">
          <ac:chgData name="Eileen Fleming Suse" userId="S::efs3844@ads.northwestern.edu::725c94ef-d051-42d7-9d33-8572765d592b" providerId="AD" clId="Web-{3A09E2D4-EBC7-54B8-BE90-E84FD0A65959}" dt="2023-09-21T22:11:07.516" v="110"/>
          <ac:graphicFrameMkLst>
            <pc:docMk/>
            <pc:sldMk cId="2636847278" sldId="809"/>
            <ac:graphicFrameMk id="7" creationId="{6847015E-11DB-A49C-38D2-413FBF5AC0A6}"/>
          </ac:graphicFrameMkLst>
        </pc:graphicFrameChg>
        <pc:graphicFrameChg chg="add mod ord modGraphic">
          <ac:chgData name="Eileen Fleming Suse" userId="S::efs3844@ads.northwestern.edu::725c94ef-d051-42d7-9d33-8572765d592b" providerId="AD" clId="Web-{3A09E2D4-EBC7-54B8-BE90-E84FD0A65959}" dt="2023-09-21T22:25:33.936" v="1106"/>
          <ac:graphicFrameMkLst>
            <pc:docMk/>
            <pc:sldMk cId="2636847278" sldId="809"/>
            <ac:graphicFrameMk id="12" creationId="{05C50BE0-A778-E29F-ED7C-ED25F3025572}"/>
          </ac:graphicFrameMkLst>
        </pc:graphicFrameChg>
        <pc:graphicFrameChg chg="add del mod">
          <ac:chgData name="Eileen Fleming Suse" userId="S::efs3844@ads.northwestern.edu::725c94ef-d051-42d7-9d33-8572765d592b" providerId="AD" clId="Web-{3A09E2D4-EBC7-54B8-BE90-E84FD0A65959}" dt="2023-09-21T22:13:45.052" v="355"/>
          <ac:graphicFrameMkLst>
            <pc:docMk/>
            <pc:sldMk cId="2636847278" sldId="809"/>
            <ac:graphicFrameMk id="14" creationId="{652CEBE8-23AD-9EC4-A525-48F5EB2387D4}"/>
          </ac:graphicFrameMkLst>
        </pc:graphicFrameChg>
        <pc:graphicFrameChg chg="add del mod">
          <ac:chgData name="Eileen Fleming Suse" userId="S::efs3844@ads.northwestern.edu::725c94ef-d051-42d7-9d33-8572765d592b" providerId="AD" clId="Web-{3A09E2D4-EBC7-54B8-BE90-E84FD0A65959}" dt="2023-09-21T22:14:14.975" v="377"/>
          <ac:graphicFrameMkLst>
            <pc:docMk/>
            <pc:sldMk cId="2636847278" sldId="809"/>
            <ac:graphicFrameMk id="16" creationId="{2AC48EC9-6E83-896A-9D7A-4872A76C427D}"/>
          </ac:graphicFrameMkLst>
        </pc:graphicFrameChg>
        <pc:graphicFrameChg chg="add del mod">
          <ac:chgData name="Eileen Fleming Suse" userId="S::efs3844@ads.northwestern.edu::725c94ef-d051-42d7-9d33-8572765d592b" providerId="AD" clId="Web-{3A09E2D4-EBC7-54B8-BE90-E84FD0A65959}" dt="2023-09-21T22:14:43.476" v="397"/>
          <ac:graphicFrameMkLst>
            <pc:docMk/>
            <pc:sldMk cId="2636847278" sldId="809"/>
            <ac:graphicFrameMk id="18" creationId="{7E4E71D6-7687-C59A-10BF-2C138145C919}"/>
          </ac:graphicFrameMkLst>
        </pc:graphicFrameChg>
        <pc:graphicFrameChg chg="add del mod">
          <ac:chgData name="Eileen Fleming Suse" userId="S::efs3844@ads.northwestern.edu::725c94ef-d051-42d7-9d33-8572765d592b" providerId="AD" clId="Web-{3A09E2D4-EBC7-54B8-BE90-E84FD0A65959}" dt="2023-09-21T22:15:39.243" v="428"/>
          <ac:graphicFrameMkLst>
            <pc:docMk/>
            <pc:sldMk cId="2636847278" sldId="809"/>
            <ac:graphicFrameMk id="20" creationId="{4BD12024-3CE1-11ED-D3CA-4AA82B65EDD2}"/>
          </ac:graphicFrameMkLst>
        </pc:graphicFrameChg>
        <pc:graphicFrameChg chg="add del mod">
          <ac:chgData name="Eileen Fleming Suse" userId="S::efs3844@ads.northwestern.edu::725c94ef-d051-42d7-9d33-8572765d592b" providerId="AD" clId="Web-{3A09E2D4-EBC7-54B8-BE90-E84FD0A65959}" dt="2023-09-21T22:15:36.524" v="427"/>
          <ac:graphicFrameMkLst>
            <pc:docMk/>
            <pc:sldMk cId="2636847278" sldId="809"/>
            <ac:graphicFrameMk id="22" creationId="{7437C11E-4151-104A-52D7-65B09E36B71A}"/>
          </ac:graphicFrameMkLst>
        </pc:graphicFrameChg>
      </pc:sldChg>
      <pc:sldChg chg="addSp delSp">
        <pc:chgData name="Eileen Fleming Suse" userId="S::efs3844@ads.northwestern.edu::725c94ef-d051-42d7-9d33-8572765d592b" providerId="AD" clId="Web-{3A09E2D4-EBC7-54B8-BE90-E84FD0A65959}" dt="2023-09-21T22:09:56.030" v="101"/>
        <pc:sldMkLst>
          <pc:docMk/>
          <pc:sldMk cId="3946847224" sldId="963"/>
        </pc:sldMkLst>
        <pc:picChg chg="add del">
          <ac:chgData name="Eileen Fleming Suse" userId="S::efs3844@ads.northwestern.edu::725c94ef-d051-42d7-9d33-8572765d592b" providerId="AD" clId="Web-{3A09E2D4-EBC7-54B8-BE90-E84FD0A65959}" dt="2023-09-21T22:09:56.030" v="101"/>
          <ac:picMkLst>
            <pc:docMk/>
            <pc:sldMk cId="3946847224" sldId="963"/>
            <ac:picMk id="6" creationId="{EBA153B0-2C61-B93B-7238-A20386FA1147}"/>
          </ac:picMkLst>
        </pc:picChg>
        <pc:picChg chg="add del">
          <ac:chgData name="Eileen Fleming Suse" userId="S::efs3844@ads.northwestern.edu::725c94ef-d051-42d7-9d33-8572765d592b" providerId="AD" clId="Web-{3A09E2D4-EBC7-54B8-BE90-E84FD0A65959}" dt="2023-09-21T22:09:51.826" v="100"/>
          <ac:picMkLst>
            <pc:docMk/>
            <pc:sldMk cId="3946847224" sldId="963"/>
            <ac:picMk id="7" creationId="{D48E19F4-E637-1F1E-0370-B8F8A74A5E8F}"/>
          </ac:picMkLst>
        </pc:picChg>
      </pc:sldChg>
      <pc:sldChg chg="addSp delSp">
        <pc:chgData name="Eileen Fleming Suse" userId="S::efs3844@ads.northwestern.edu::725c94ef-d051-42d7-9d33-8572765d592b" providerId="AD" clId="Web-{3A09E2D4-EBC7-54B8-BE90-E84FD0A65959}" dt="2023-09-21T22:09:48.717" v="99"/>
        <pc:sldMkLst>
          <pc:docMk/>
          <pc:sldMk cId="3127910554" sldId="964"/>
        </pc:sldMkLst>
        <pc:picChg chg="add del">
          <ac:chgData name="Eileen Fleming Suse" userId="S::efs3844@ads.northwestern.edu::725c94ef-d051-42d7-9d33-8572765d592b" providerId="AD" clId="Web-{3A09E2D4-EBC7-54B8-BE90-E84FD0A65959}" dt="2023-09-21T22:09:48.717" v="99"/>
          <ac:picMkLst>
            <pc:docMk/>
            <pc:sldMk cId="3127910554" sldId="964"/>
            <ac:picMk id="6" creationId="{BA7DC56C-8894-8AD5-DE7F-55ED26C92731}"/>
          </ac:picMkLst>
        </pc:picChg>
      </pc:sldChg>
      <pc:sldChg chg="addSp delSp">
        <pc:chgData name="Eileen Fleming Suse" userId="S::efs3844@ads.northwestern.edu::725c94ef-d051-42d7-9d33-8572765d592b" providerId="AD" clId="Web-{3A09E2D4-EBC7-54B8-BE90-E84FD0A65959}" dt="2023-09-21T22:09:45.951" v="98"/>
        <pc:sldMkLst>
          <pc:docMk/>
          <pc:sldMk cId="3309929255" sldId="965"/>
        </pc:sldMkLst>
        <pc:picChg chg="add del">
          <ac:chgData name="Eileen Fleming Suse" userId="S::efs3844@ads.northwestern.edu::725c94ef-d051-42d7-9d33-8572765d592b" providerId="AD" clId="Web-{3A09E2D4-EBC7-54B8-BE90-E84FD0A65959}" dt="2023-09-21T22:09:45.951" v="98"/>
          <ac:picMkLst>
            <pc:docMk/>
            <pc:sldMk cId="3309929255" sldId="965"/>
            <ac:picMk id="6" creationId="{8AE7E004-C864-E408-9DBB-9DB35AC40C6A}"/>
          </ac:picMkLst>
        </pc:picChg>
        <pc:picChg chg="add del">
          <ac:chgData name="Eileen Fleming Suse" userId="S::efs3844@ads.northwestern.edu::725c94ef-d051-42d7-9d33-8572765d592b" providerId="AD" clId="Web-{3A09E2D4-EBC7-54B8-BE90-E84FD0A65959}" dt="2023-09-21T22:09:44.248" v="97"/>
          <ac:picMkLst>
            <pc:docMk/>
            <pc:sldMk cId="3309929255" sldId="965"/>
            <ac:picMk id="7" creationId="{144CF05D-C808-5038-AC95-9F190C4E9396}"/>
          </ac:picMkLst>
        </pc:picChg>
      </pc:sldChg>
      <pc:sldChg chg="modSp del">
        <pc:chgData name="Eileen Fleming Suse" userId="S::efs3844@ads.northwestern.edu::725c94ef-d051-42d7-9d33-8572765d592b" providerId="AD" clId="Web-{3A09E2D4-EBC7-54B8-BE90-E84FD0A65959}" dt="2023-09-21T22:10:16.218" v="102"/>
        <pc:sldMkLst>
          <pc:docMk/>
          <pc:sldMk cId="811806612" sldId="966"/>
        </pc:sldMkLst>
        <pc:spChg chg="mod">
          <ac:chgData name="Eileen Fleming Suse" userId="S::efs3844@ads.northwestern.edu::725c94ef-d051-42d7-9d33-8572765d592b" providerId="AD" clId="Web-{3A09E2D4-EBC7-54B8-BE90-E84FD0A65959}" dt="2023-09-21T21:33:45.221" v="10" actId="20577"/>
          <ac:spMkLst>
            <pc:docMk/>
            <pc:sldMk cId="811806612" sldId="966"/>
            <ac:spMk id="6" creationId="{00000000-0000-0000-0000-000000000000}"/>
          </ac:spMkLst>
        </pc:spChg>
      </pc:sldChg>
      <pc:sldChg chg="addSp delSp modSp add">
        <pc:chgData name="Eileen Fleming Suse" userId="S::efs3844@ads.northwestern.edu::725c94ef-d051-42d7-9d33-8572765d592b" providerId="AD" clId="Web-{3A09E2D4-EBC7-54B8-BE90-E84FD0A65959}" dt="2023-09-21T22:08:12.105" v="91" actId="1076"/>
        <pc:sldMkLst>
          <pc:docMk/>
          <pc:sldMk cId="1299748869" sldId="968"/>
        </pc:sldMkLst>
        <pc:spChg chg="add del">
          <ac:chgData name="Eileen Fleming Suse" userId="S::efs3844@ads.northwestern.edu::725c94ef-d051-42d7-9d33-8572765d592b" providerId="AD" clId="Web-{3A09E2D4-EBC7-54B8-BE90-E84FD0A65959}" dt="2023-09-21T22:07:27.135" v="74"/>
          <ac:spMkLst>
            <pc:docMk/>
            <pc:sldMk cId="1299748869" sldId="968"/>
            <ac:spMk id="36" creationId="{8399A5B9-A50D-7180-1788-445343D26B82}"/>
          </ac:spMkLst>
        </pc:spChg>
        <pc:spChg chg="add mod">
          <ac:chgData name="Eileen Fleming Suse" userId="S::efs3844@ads.northwestern.edu::725c94ef-d051-42d7-9d33-8572765d592b" providerId="AD" clId="Web-{3A09E2D4-EBC7-54B8-BE90-E84FD0A65959}" dt="2023-09-21T22:08:12.105" v="91" actId="1076"/>
          <ac:spMkLst>
            <pc:docMk/>
            <pc:sldMk cId="1299748869" sldId="968"/>
            <ac:spMk id="37" creationId="{D025CC2E-7273-2304-D841-AEC88C9503B0}"/>
          </ac:spMkLst>
        </pc:spChg>
        <pc:graphicFrameChg chg="modGraphic">
          <ac:chgData name="Eileen Fleming Suse" userId="S::efs3844@ads.northwestern.edu::725c94ef-d051-42d7-9d33-8572765d592b" providerId="AD" clId="Web-{3A09E2D4-EBC7-54B8-BE90-E84FD0A65959}" dt="2023-09-21T22:07:26.072" v="72" actId="20577"/>
          <ac:graphicFrameMkLst>
            <pc:docMk/>
            <pc:sldMk cId="1299748869" sldId="968"/>
            <ac:graphicFrameMk id="9" creationId="{25EB57FC-A0C6-0042-E219-B1DF4518901B}"/>
          </ac:graphicFrameMkLst>
        </pc:graphicFrameChg>
      </pc:sldChg>
      <pc:sldChg chg="add">
        <pc:chgData name="Eileen Fleming Suse" userId="S::efs3844@ads.northwestern.edu::725c94ef-d051-42d7-9d33-8572765d592b" providerId="AD" clId="Web-{3A09E2D4-EBC7-54B8-BE90-E84FD0A65959}" dt="2023-09-21T21:35:03.880" v="36"/>
        <pc:sldMkLst>
          <pc:docMk/>
          <pc:sldMk cId="2825437386" sldId="969"/>
        </pc:sldMkLst>
      </pc:sldChg>
      <pc:sldChg chg="add">
        <pc:chgData name="Eileen Fleming Suse" userId="S::efs3844@ads.northwestern.edu::725c94ef-d051-42d7-9d33-8572765d592b" providerId="AD" clId="Web-{3A09E2D4-EBC7-54B8-BE90-E84FD0A65959}" dt="2023-09-21T21:35:04.520" v="37"/>
        <pc:sldMkLst>
          <pc:docMk/>
          <pc:sldMk cId="1983139854" sldId="970"/>
        </pc:sldMkLst>
      </pc:sldChg>
      <pc:sldChg chg="addSp delSp modSp new mod setBg">
        <pc:chgData name="Eileen Fleming Suse" userId="S::efs3844@ads.northwestern.edu::725c94ef-d051-42d7-9d33-8572765d592b" providerId="AD" clId="Web-{3A09E2D4-EBC7-54B8-BE90-E84FD0A65959}" dt="2023-09-21T22:28:38.144" v="1294" actId="20577"/>
        <pc:sldMkLst>
          <pc:docMk/>
          <pc:sldMk cId="3049505155" sldId="971"/>
        </pc:sldMkLst>
        <pc:spChg chg="mod">
          <ac:chgData name="Eileen Fleming Suse" userId="S::efs3844@ads.northwestern.edu::725c94ef-d051-42d7-9d33-8572765d592b" providerId="AD" clId="Web-{3A09E2D4-EBC7-54B8-BE90-E84FD0A65959}" dt="2023-09-21T22:27:17.267" v="1217"/>
          <ac:spMkLst>
            <pc:docMk/>
            <pc:sldMk cId="3049505155" sldId="971"/>
            <ac:spMk id="2" creationId="{AFA44F79-4391-C9C1-F6B0-A182E50519D4}"/>
          </ac:spMkLst>
        </pc:spChg>
        <pc:spChg chg="del mod">
          <ac:chgData name="Eileen Fleming Suse" userId="S::efs3844@ads.northwestern.edu::725c94ef-d051-42d7-9d33-8572765d592b" providerId="AD" clId="Web-{3A09E2D4-EBC7-54B8-BE90-E84FD0A65959}" dt="2023-09-21T22:27:17.267" v="1217"/>
          <ac:spMkLst>
            <pc:docMk/>
            <pc:sldMk cId="3049505155" sldId="971"/>
            <ac:spMk id="3" creationId="{8FBAB3F2-BE00-A76F-8120-532C6B0F6500}"/>
          </ac:spMkLst>
        </pc:spChg>
        <pc:spChg chg="mod ord">
          <ac:chgData name="Eileen Fleming Suse" userId="S::efs3844@ads.northwestern.edu::725c94ef-d051-42d7-9d33-8572765d592b" providerId="AD" clId="Web-{3A09E2D4-EBC7-54B8-BE90-E84FD0A65959}" dt="2023-09-21T22:27:17.267" v="1217"/>
          <ac:spMkLst>
            <pc:docMk/>
            <pc:sldMk cId="3049505155" sldId="971"/>
            <ac:spMk id="4" creationId="{B310066C-930F-D60C-0388-2A8944FBCC3F}"/>
          </ac:spMkLst>
        </pc:spChg>
        <pc:spChg chg="mod">
          <ac:chgData name="Eileen Fleming Suse" userId="S::efs3844@ads.northwestern.edu::725c94ef-d051-42d7-9d33-8572765d592b" providerId="AD" clId="Web-{3A09E2D4-EBC7-54B8-BE90-E84FD0A65959}" dt="2023-09-21T22:27:17.267" v="1217"/>
          <ac:spMkLst>
            <pc:docMk/>
            <pc:sldMk cId="3049505155" sldId="971"/>
            <ac:spMk id="5" creationId="{EF9D9A37-8BDA-44CE-969E-5E362437A8F8}"/>
          </ac:spMkLst>
        </pc:spChg>
        <pc:spChg chg="add">
          <ac:chgData name="Eileen Fleming Suse" userId="S::efs3844@ads.northwestern.edu::725c94ef-d051-42d7-9d33-8572765d592b" providerId="AD" clId="Web-{3A09E2D4-EBC7-54B8-BE90-E84FD0A65959}" dt="2023-09-21T22:27:17.267" v="1217"/>
          <ac:spMkLst>
            <pc:docMk/>
            <pc:sldMk cId="3049505155" sldId="971"/>
            <ac:spMk id="11" creationId="{CB49665F-0298-4449-8D2D-209989CB9EE3}"/>
          </ac:spMkLst>
        </pc:spChg>
        <pc:spChg chg="add">
          <ac:chgData name="Eileen Fleming Suse" userId="S::efs3844@ads.northwestern.edu::725c94ef-d051-42d7-9d33-8572765d592b" providerId="AD" clId="Web-{3A09E2D4-EBC7-54B8-BE90-E84FD0A65959}" dt="2023-09-21T22:27:17.267" v="1217"/>
          <ac:spMkLst>
            <pc:docMk/>
            <pc:sldMk cId="3049505155" sldId="971"/>
            <ac:spMk id="13" creationId="{A71EEC14-174A-46FA-B046-474750457130}"/>
          </ac:spMkLst>
        </pc:spChg>
        <pc:grpChg chg="add">
          <ac:chgData name="Eileen Fleming Suse" userId="S::efs3844@ads.northwestern.edu::725c94ef-d051-42d7-9d33-8572765d592b" providerId="AD" clId="Web-{3A09E2D4-EBC7-54B8-BE90-E84FD0A65959}" dt="2023-09-21T22:27:17.267" v="1217"/>
          <ac:grpSpMkLst>
            <pc:docMk/>
            <pc:sldMk cId="3049505155" sldId="971"/>
            <ac:grpSpMk id="15" creationId="{EEB6CB95-E653-4C6C-AE51-62FD848E8D5B}"/>
          </ac:grpSpMkLst>
        </pc:grpChg>
        <pc:grpChg chg="add">
          <ac:chgData name="Eileen Fleming Suse" userId="S::efs3844@ads.northwestern.edu::725c94ef-d051-42d7-9d33-8572765d592b" providerId="AD" clId="Web-{3A09E2D4-EBC7-54B8-BE90-E84FD0A65959}" dt="2023-09-21T22:27:17.267" v="1217"/>
          <ac:grpSpMkLst>
            <pc:docMk/>
            <pc:sldMk cId="3049505155" sldId="971"/>
            <ac:grpSpMk id="19" creationId="{43F5E015-E085-4624-B431-B42414448684}"/>
          </ac:grpSpMkLst>
        </pc:grpChg>
        <pc:graphicFrameChg chg="add modGraphic">
          <ac:chgData name="Eileen Fleming Suse" userId="S::efs3844@ads.northwestern.edu::725c94ef-d051-42d7-9d33-8572765d592b" providerId="AD" clId="Web-{3A09E2D4-EBC7-54B8-BE90-E84FD0A65959}" dt="2023-09-21T22:28:38.144" v="1294" actId="20577"/>
          <ac:graphicFrameMkLst>
            <pc:docMk/>
            <pc:sldMk cId="3049505155" sldId="971"/>
            <ac:graphicFrameMk id="7" creationId="{848ED93B-D91F-BAAB-B78D-50535FBA287F}"/>
          </ac:graphicFrameMkLst>
        </pc:graphicFrameChg>
      </pc:sldChg>
      <pc:sldMasterChg chg="modSldLayout">
        <pc:chgData name="Eileen Fleming Suse" userId="S::efs3844@ads.northwestern.edu::725c94ef-d051-42d7-9d33-8572765d592b" providerId="AD" clId="Web-{3A09E2D4-EBC7-54B8-BE90-E84FD0A65959}" dt="2023-09-21T21:35:03.270" v="35"/>
        <pc:sldMasterMkLst>
          <pc:docMk/>
          <pc:sldMasterMk cId="4216806677" sldId="2147483708"/>
        </pc:sldMasterMkLst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216806677" sldId="2147483708"/>
            <pc:sldLayoutMk cId="3504767307" sldId="2147486822"/>
          </pc:sldLayoutMkLst>
        </pc:sldLayoutChg>
      </pc:sldMasterChg>
      <pc:sldMasterChg chg="modSldLayout">
        <pc:chgData name="Eileen Fleming Suse" userId="S::efs3844@ads.northwestern.edu::725c94ef-d051-42d7-9d33-8572765d592b" providerId="AD" clId="Web-{3A09E2D4-EBC7-54B8-BE90-E84FD0A65959}" dt="2023-09-21T21:35:03.270" v="35"/>
        <pc:sldMasterMkLst>
          <pc:docMk/>
          <pc:sldMasterMk cId="467858109" sldId="2147484375"/>
        </pc:sldMasterMkLst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67858109" sldId="2147484375"/>
            <pc:sldLayoutMk cId="2478605410" sldId="2147486830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67858109" sldId="2147484375"/>
            <pc:sldLayoutMk cId="3174102178" sldId="2147486831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67858109" sldId="2147484375"/>
            <pc:sldLayoutMk cId="538553549" sldId="2147486832"/>
          </pc:sldLayoutMkLst>
        </pc:sldLayoutChg>
      </pc:sldMasterChg>
      <pc:sldMasterChg chg="modSldLayout">
        <pc:chgData name="Eileen Fleming Suse" userId="S::efs3844@ads.northwestern.edu::725c94ef-d051-42d7-9d33-8572765d592b" providerId="AD" clId="Web-{3A09E2D4-EBC7-54B8-BE90-E84FD0A65959}" dt="2023-09-21T21:35:03.270" v="35"/>
        <pc:sldMasterMkLst>
          <pc:docMk/>
          <pc:sldMasterMk cId="73442798" sldId="2147484591"/>
        </pc:sldMasterMkLst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73442798" sldId="2147484591"/>
            <pc:sldLayoutMk cId="3088551848" sldId="2147486804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73442798" sldId="2147484591"/>
            <pc:sldLayoutMk cId="2634746560" sldId="2147486805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73442798" sldId="2147484591"/>
            <pc:sldLayoutMk cId="1749528301" sldId="2147486806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73442798" sldId="2147484591"/>
            <pc:sldLayoutMk cId="3378590103" sldId="2147486807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73442798" sldId="2147484591"/>
            <pc:sldLayoutMk cId="3925024563" sldId="2147486808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73442798" sldId="2147484591"/>
            <pc:sldLayoutMk cId="4064405481" sldId="2147486809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73442798" sldId="2147484591"/>
            <pc:sldLayoutMk cId="624037463" sldId="2147486826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73442798" sldId="2147484591"/>
            <pc:sldLayoutMk cId="196608925" sldId="2147486833"/>
          </pc:sldLayoutMkLst>
        </pc:sldLayoutChg>
      </pc:sldMasterChg>
      <pc:sldMasterChg chg="modSldLayout">
        <pc:chgData name="Eileen Fleming Suse" userId="S::efs3844@ads.northwestern.edu::725c94ef-d051-42d7-9d33-8572765d592b" providerId="AD" clId="Web-{3A09E2D4-EBC7-54B8-BE90-E84FD0A65959}" dt="2023-09-21T21:35:03.270" v="35"/>
        <pc:sldMasterMkLst>
          <pc:docMk/>
          <pc:sldMasterMk cId="651494567" sldId="2147484625"/>
        </pc:sldMasterMkLst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651494567" sldId="2147484625"/>
            <pc:sldLayoutMk cId="2853695467" sldId="2147486810"/>
          </pc:sldLayoutMkLst>
        </pc:sldLayoutChg>
      </pc:sldMasterChg>
      <pc:sldMasterChg chg="addSldLayout modSldLayout">
        <pc:chgData name="Eileen Fleming Suse" userId="S::efs3844@ads.northwestern.edu::725c94ef-d051-42d7-9d33-8572765d592b" providerId="AD" clId="Web-{3A09E2D4-EBC7-54B8-BE90-E84FD0A65959}" dt="2023-09-21T21:35:03.270" v="35"/>
        <pc:sldMasterMkLst>
          <pc:docMk/>
          <pc:sldMasterMk cId="1383952346" sldId="2147485011"/>
        </pc:sldMasterMkLst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709868767" sldId="214748371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1337409" sldId="214748371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75216660" sldId="214748371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629644005" sldId="214748386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93753234" sldId="214748387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30479694" sldId="214748387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388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709868767" sldId="214748420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1337409" sldId="214748420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75216660" sldId="214748420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76272431" sldId="214748420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98157548" sldId="214748420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80140117" sldId="214748420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69300124" sldId="214748420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10496501" sldId="214748433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10130633" sldId="214748433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98059872" sldId="214748433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437652033" sldId="214748435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46532180" sldId="214748435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437652033" sldId="214748435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103439267" sldId="214748435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377496322" sldId="214748435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847879164" sldId="214748435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79302691" sldId="214748435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35420318" sldId="214748436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65852557" sldId="214748436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98157548" sldId="214748436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98157548" sldId="214748437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76272431" sldId="214748437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69300124" sldId="214748437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80140117" sldId="214748437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291076637" sldId="214748438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781420108" sldId="214748438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9320368" sldId="214748438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838803846" sldId="214748438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46898753" sldId="214748438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210091495" sldId="214748438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314599787" sldId="214748439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791682188" sldId="214748439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8148766" sldId="214748439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26228292" sldId="214748439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138240366" sldId="214748439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76272431" sldId="214748440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69300124" sldId="214748440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80140117" sldId="214748440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10496501" sldId="214748448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10130633" sldId="214748448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455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83420" sldId="214748457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291076637" sldId="214748459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781420108" sldId="214748459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210091495" sldId="214748460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314599787" sldId="214748460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791682188" sldId="214748460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8148766" sldId="214748460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30479694" sldId="214748460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98059872" sldId="214748460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79200564" sldId="214748462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10496501" sldId="214748481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10130633" sldId="214748481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98059872" sldId="214748481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30801759" sldId="214748482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59781530" sldId="214748482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040902241" sldId="214748483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838803846" sldId="214748483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46898753" sldId="214748483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483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72630080" sldId="214748484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195676063" sldId="214748484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484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83420" sldId="214748484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588949313" sldId="214748485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36500789" sldId="214748485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888436358" sldId="214748499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25634235" sldId="214748500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127289008" sldId="214748500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022153863" sldId="214748500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35956606" sldId="214748500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619806002" sldId="214748500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565887101" sldId="214748500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657904224" sldId="214748507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291076637" sldId="214748507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040902241" sldId="214748507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781420108" sldId="214748507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79200564" sldId="214748507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838803846" sldId="214748507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46898753" sldId="214748507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210091495" sldId="214748508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314599787" sldId="214748508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791682188" sldId="214748508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8148766" sldId="214748508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287509848" sldId="214748517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287509848" sldId="214748521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98157548" sldId="214748523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535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10496501" sldId="214748536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10130633" sldId="214748536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98059872" sldId="214748536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69300124" sldId="214748538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30801759" sldId="214748539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709868767" sldId="214748539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539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1337409" sldId="214748539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75216660" sldId="214748539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59781530" sldId="214748539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9320368" sldId="214748540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10496501" sldId="214748540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10130633" sldId="214748540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98059872" sldId="214748540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040902241" sldId="214748540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79200564" sldId="214748540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9320368" sldId="214748540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552602547" sldId="214748541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13719964" sldId="214748542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82254879" sldId="214748542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732483557" sldId="214748544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195676063" sldId="214748545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30801759" sldId="214748546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59781530" sldId="214748546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195676063" sldId="214748547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30117215" sldId="214748555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556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10496501" sldId="214748557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10130633" sldId="214748557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98059872" sldId="214748557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69300124" sldId="214748558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59781530" sldId="214748558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30801759" sldId="214748559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705532739" sldId="214748559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9320368" sldId="214748560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758542806" sldId="214748560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967421487" sldId="214748560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83143663" sldId="214748560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827988980" sldId="214748560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04448028" sldId="214748561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39295337" sldId="214748561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253572214" sldId="214748561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98059872" sldId="214748561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02549073" sldId="214748561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69300124" sldId="214748561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9320368" sldId="214748561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561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10496501" sldId="214748561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10130633" sldId="214748561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98059872" sldId="214748562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377496322" sldId="214748562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847879164" sldId="214748562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562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79302691" sldId="214748562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35420318" sldId="214748562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65852557" sldId="214748562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375797758" sldId="214748562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709868767" sldId="214748562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1337409" sldId="214748563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75216660" sldId="214748563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76272431" sldId="214748563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80140117" sldId="214748563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629644005" sldId="214748563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9320368" sldId="214748563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103439267" sldId="214748563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422401269" sldId="214748563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291076637" sldId="214748563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040902241" sldId="214748564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781420108" sldId="214748564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79200564" sldId="214748564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732483557" sldId="214748564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838803846" sldId="214748564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46898753" sldId="214748564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210091495" sldId="214748564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314599787" sldId="214748564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791682188" sldId="214748564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8148766" sldId="214748564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26228292" sldId="214748565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287509848" sldId="214748567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9320368" sldId="214748567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422401269" sldId="214748568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82224325" sldId="214748570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30801759" sldId="214748570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59781530" sldId="214748571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195676063" sldId="214748571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709868767" sldId="214748571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1337409" sldId="214748571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75216660" sldId="214748571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76272431" sldId="214748571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80140117" sldId="214748571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855494103" sldId="214748571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98157548" sldId="214748572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573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751162212" sldId="214748575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223386845" sldId="214748575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635688318" sldId="214748576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803572776" sldId="214748576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78338968" sldId="214748576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339690513" sldId="214748576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220637423" sldId="214748576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10496501" sldId="214748577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10130633" sldId="214748577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30801759" sldId="214748578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709868767" sldId="214748579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98157548" sldId="214748579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579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1337409" sldId="214748579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75216660" sldId="214748579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476272431" sldId="214748579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80140117" sldId="214748579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59781530" sldId="214748579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138240366" sldId="214748584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595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36500789" sldId="214748604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588949313" sldId="214748625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448463225" sldId="214748625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988034496" sldId="214748625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113001559" sldId="214748636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30117215" sldId="214748636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888436358" sldId="214748636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625634235" sldId="214748636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127289008" sldId="214748636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022153863" sldId="214748636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635956606" sldId="214748636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619806002" sldId="214748636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565887101" sldId="214748636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210091495" sldId="214748655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314599787" sldId="214748655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791682188" sldId="214748655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79200564" sldId="214748655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838803846" sldId="214748655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610812348" sldId="214748668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407149462" sldId="2147486695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19170012" sldId="214748669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631516389" sldId="214748669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130783118" sldId="214748670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239599575" sldId="214748670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670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377496322" sldId="214748670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670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670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46532180" sldId="2147486707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670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422401269" sldId="214748670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46898753" sldId="214748671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291076637" sldId="214748671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4040902241" sldId="214748671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781420108" sldId="214748671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980529727" sldId="2147486716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422401269" sldId="214748677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546532180" sldId="214748677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8148766" sldId="2147486788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79200564" sldId="2147486789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72630080" sldId="2147486790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72630080" sldId="214748679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083420" sldId="2147486792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36500789" sldId="2147486793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2979200564" sldId="2147486803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3377496322" sldId="2147486821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72630080" sldId="2147486824"/>
          </pc:sldLayoutMkLst>
        </pc:sldLayoutChg>
        <pc:sldLayoutChg chg="ad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1383952346" sldId="2147485011"/>
            <pc:sldLayoutMk cId="1036500789" sldId="2147486829"/>
          </pc:sldLayoutMkLst>
        </pc:sldLayoutChg>
      </pc:sldMasterChg>
      <pc:sldMasterChg chg="modSldLayout">
        <pc:chgData name="Eileen Fleming Suse" userId="S::efs3844@ads.northwestern.edu::725c94ef-d051-42d7-9d33-8572765d592b" providerId="AD" clId="Web-{3A09E2D4-EBC7-54B8-BE90-E84FD0A65959}" dt="2023-09-21T21:35:03.270" v="35"/>
        <pc:sldMasterMkLst>
          <pc:docMk/>
          <pc:sldMasterMk cId="452727815" sldId="2147485012"/>
        </pc:sldMasterMkLst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2632649720" sldId="2147486811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2313033305" sldId="2147486812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3091272418" sldId="2147486813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2093072254" sldId="2147486814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1679292833" sldId="2147486815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2002308513" sldId="2147486816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3415161965" sldId="2147486817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779765250" sldId="2147486818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1375326797" sldId="2147486819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217401208" sldId="2147486820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3453454746" sldId="2147486823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2907906071" sldId="2147486825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1614312425" sldId="2147486827"/>
          </pc:sldLayoutMkLst>
        </pc:sldLayoutChg>
        <pc:sldLayoutChg chg="replId">
          <pc:chgData name="Eileen Fleming Suse" userId="S::efs3844@ads.northwestern.edu::725c94ef-d051-42d7-9d33-8572765d592b" providerId="AD" clId="Web-{3A09E2D4-EBC7-54B8-BE90-E84FD0A65959}" dt="2023-09-21T21:35:03.270" v="35"/>
          <pc:sldLayoutMkLst>
            <pc:docMk/>
            <pc:sldMasterMk cId="452727815" sldId="2147485012"/>
            <pc:sldLayoutMk cId="2611612306" sldId="2147486828"/>
          </pc:sldLayoutMkLst>
        </pc:sldLayoutChg>
      </pc:sldMasterChg>
    </pc:docChg>
  </pc:docChgLst>
  <pc:docChgLst>
    <pc:chgData name="Eileen Fleming Suse" userId="S::efs3844@ads.northwestern.edu::725c94ef-d051-42d7-9d33-8572765d592b" providerId="AD" clId="Web-{A65524C6-4A7E-EF16-BCAA-01ABF15AEC46}"/>
    <pc:docChg chg="modSld">
      <pc:chgData name="Eileen Fleming Suse" userId="S::efs3844@ads.northwestern.edu::725c94ef-d051-42d7-9d33-8572765d592b" providerId="AD" clId="Web-{A65524C6-4A7E-EF16-BCAA-01ABF15AEC46}" dt="2023-09-22T21:11:54.639" v="57" actId="20577"/>
      <pc:docMkLst>
        <pc:docMk/>
      </pc:docMkLst>
      <pc:sldChg chg="modSp">
        <pc:chgData name="Eileen Fleming Suse" userId="S::efs3844@ads.northwestern.edu::725c94ef-d051-42d7-9d33-8572765d592b" providerId="AD" clId="Web-{A65524C6-4A7E-EF16-BCAA-01ABF15AEC46}" dt="2023-09-22T14:24:28.722" v="2" actId="20577"/>
        <pc:sldMkLst>
          <pc:docMk/>
          <pc:sldMk cId="2008243021" sldId="257"/>
        </pc:sldMkLst>
        <pc:spChg chg="mod">
          <ac:chgData name="Eileen Fleming Suse" userId="S::efs3844@ads.northwestern.edu::725c94ef-d051-42d7-9d33-8572765d592b" providerId="AD" clId="Web-{A65524C6-4A7E-EF16-BCAA-01ABF15AEC46}" dt="2023-09-22T14:24:28.722" v="2" actId="20577"/>
          <ac:spMkLst>
            <pc:docMk/>
            <pc:sldMk cId="2008243021" sldId="257"/>
            <ac:spMk id="4" creationId="{19922563-64D6-2A4E-B048-13AC25DB45AD}"/>
          </ac:spMkLst>
        </pc:spChg>
      </pc:sldChg>
      <pc:sldChg chg="addSp delSp modSp">
        <pc:chgData name="Eileen Fleming Suse" userId="S::efs3844@ads.northwestern.edu::725c94ef-d051-42d7-9d33-8572765d592b" providerId="AD" clId="Web-{A65524C6-4A7E-EF16-BCAA-01ABF15AEC46}" dt="2023-09-22T14:33:32.803" v="20"/>
        <pc:sldMkLst>
          <pc:docMk/>
          <pc:sldMk cId="2513377810" sldId="736"/>
        </pc:sldMkLst>
        <pc:graphicFrameChg chg="add del">
          <ac:chgData name="Eileen Fleming Suse" userId="S::efs3844@ads.northwestern.edu::725c94ef-d051-42d7-9d33-8572765d592b" providerId="AD" clId="Web-{A65524C6-4A7E-EF16-BCAA-01ABF15AEC46}" dt="2023-09-22T14:33:32.803" v="20"/>
          <ac:graphicFrameMkLst>
            <pc:docMk/>
            <pc:sldMk cId="2513377810" sldId="736"/>
            <ac:graphicFrameMk id="9" creationId="{00000000-0000-0000-0000-000000000000}"/>
          </ac:graphicFrameMkLst>
        </pc:graphicFrameChg>
        <pc:picChg chg="add del mod">
          <ac:chgData name="Eileen Fleming Suse" userId="S::efs3844@ads.northwestern.edu::725c94ef-d051-42d7-9d33-8572765d592b" providerId="AD" clId="Web-{A65524C6-4A7E-EF16-BCAA-01ABF15AEC46}" dt="2023-09-22T14:33:28.428" v="19"/>
          <ac:picMkLst>
            <pc:docMk/>
            <pc:sldMk cId="2513377810" sldId="736"/>
            <ac:picMk id="2" creationId="{71CE9852-4963-A9AA-F7CB-DA986B45240B}"/>
          </ac:picMkLst>
        </pc:picChg>
      </pc:sldChg>
      <pc:sldChg chg="addSp delSp modSp">
        <pc:chgData name="Eileen Fleming Suse" userId="S::efs3844@ads.northwestern.edu::725c94ef-d051-42d7-9d33-8572765d592b" providerId="AD" clId="Web-{A65524C6-4A7E-EF16-BCAA-01ABF15AEC46}" dt="2023-09-22T21:11:54.639" v="57" actId="20577"/>
        <pc:sldMkLst>
          <pc:docMk/>
          <pc:sldMk cId="3300909942" sldId="967"/>
        </pc:sldMkLst>
        <pc:spChg chg="mod">
          <ac:chgData name="Eileen Fleming Suse" userId="S::efs3844@ads.northwestern.edu::725c94ef-d051-42d7-9d33-8572765d592b" providerId="AD" clId="Web-{A65524C6-4A7E-EF16-BCAA-01ABF15AEC46}" dt="2023-09-22T21:11:54.639" v="57" actId="20577"/>
          <ac:spMkLst>
            <pc:docMk/>
            <pc:sldMk cId="3300909942" sldId="967"/>
            <ac:spMk id="6" creationId="{00000000-0000-0000-0000-000000000000}"/>
          </ac:spMkLst>
        </pc:spChg>
        <pc:spChg chg="add del mod">
          <ac:chgData name="Eileen Fleming Suse" userId="S::efs3844@ads.northwestern.edu::725c94ef-d051-42d7-9d33-8572765d592b" providerId="AD" clId="Web-{A65524C6-4A7E-EF16-BCAA-01ABF15AEC46}" dt="2023-09-22T21:11:02.857" v="53" actId="14100"/>
          <ac:spMkLst>
            <pc:docMk/>
            <pc:sldMk cId="3300909942" sldId="967"/>
            <ac:spMk id="7" creationId="{00000000-0000-0000-0000-000000000000}"/>
          </ac:spMkLst>
        </pc:spChg>
        <pc:spChg chg="mod">
          <ac:chgData name="Eileen Fleming Suse" userId="S::efs3844@ads.northwestern.edu::725c94ef-d051-42d7-9d33-8572765d592b" providerId="AD" clId="Web-{A65524C6-4A7E-EF16-BCAA-01ABF15AEC46}" dt="2023-09-22T21:10:47.028" v="50" actId="20577"/>
          <ac:spMkLst>
            <pc:docMk/>
            <pc:sldMk cId="3300909942" sldId="967"/>
            <ac:spMk id="8" creationId="{00000000-0000-0000-0000-000000000000}"/>
          </ac:spMkLst>
        </pc:spChg>
      </pc:sldChg>
      <pc:sldChg chg="modSp">
        <pc:chgData name="Eileen Fleming Suse" userId="S::efs3844@ads.northwestern.edu::725c94ef-d051-42d7-9d33-8572765d592b" providerId="AD" clId="Web-{A65524C6-4A7E-EF16-BCAA-01ABF15AEC46}" dt="2023-09-22T14:24:52.347" v="8" actId="20577"/>
        <pc:sldMkLst>
          <pc:docMk/>
          <pc:sldMk cId="1299748869" sldId="968"/>
        </pc:sldMkLst>
        <pc:spChg chg="mod">
          <ac:chgData name="Eileen Fleming Suse" userId="S::efs3844@ads.northwestern.edu::725c94ef-d051-42d7-9d33-8572765d592b" providerId="AD" clId="Web-{A65524C6-4A7E-EF16-BCAA-01ABF15AEC46}" dt="2023-09-22T14:24:43.175" v="6" actId="20577"/>
          <ac:spMkLst>
            <pc:docMk/>
            <pc:sldMk cId="1299748869" sldId="968"/>
            <ac:spMk id="225" creationId="{CB0A0917-AFE1-6BF9-A27E-D2DD2D0CEB28}"/>
          </ac:spMkLst>
        </pc:spChg>
        <pc:graphicFrameChg chg="modGraphic">
          <ac:chgData name="Eileen Fleming Suse" userId="S::efs3844@ads.northwestern.edu::725c94ef-d051-42d7-9d33-8572765d592b" providerId="AD" clId="Web-{A65524C6-4A7E-EF16-BCAA-01ABF15AEC46}" dt="2023-09-22T14:24:52.347" v="8" actId="20577"/>
          <ac:graphicFrameMkLst>
            <pc:docMk/>
            <pc:sldMk cId="1299748869" sldId="968"/>
            <ac:graphicFrameMk id="9" creationId="{25EB57FC-A0C6-0042-E219-B1DF4518901B}"/>
          </ac:graphicFrameMkLst>
        </pc:graphicFrameChg>
      </pc:sldChg>
    </pc:docChg>
  </pc:docChgLst>
  <pc:docChgLst>
    <pc:chgData clId="Web-{3A09E2D4-EBC7-54B8-BE90-E84FD0A65959}"/>
    <pc:docChg chg="modSld">
      <pc:chgData name="" userId="" providerId="" clId="Web-{3A09E2D4-EBC7-54B8-BE90-E84FD0A65959}" dt="2023-09-21T21:33:19.861" v="6" actId="20577"/>
      <pc:docMkLst>
        <pc:docMk/>
      </pc:docMkLst>
      <pc:sldChg chg="modSp">
        <pc:chgData name="" userId="" providerId="" clId="Web-{3A09E2D4-EBC7-54B8-BE90-E84FD0A65959}" dt="2023-09-21T21:33:19.861" v="6" actId="20577"/>
        <pc:sldMkLst>
          <pc:docMk/>
          <pc:sldMk cId="2008243021" sldId="257"/>
        </pc:sldMkLst>
        <pc:spChg chg="mod">
          <ac:chgData name="" userId="" providerId="" clId="Web-{3A09E2D4-EBC7-54B8-BE90-E84FD0A65959}" dt="2023-09-21T21:33:19.861" v="6" actId="20577"/>
          <ac:spMkLst>
            <pc:docMk/>
            <pc:sldMk cId="2008243021" sldId="257"/>
            <ac:spMk id="3" creationId="{1D742501-F937-8041-84E5-748F96AE991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efs3844\Documents\ILPQC\PVB\PVB%20Data%20Graphs%203.23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/>
              <a:t>NTSV C-Section Rate by Hospital</a:t>
            </a:r>
          </a:p>
          <a:p>
            <a:pPr>
              <a:defRPr sz="1800"/>
            </a:pPr>
            <a:r>
              <a:rPr lang="en-US" sz="1800"/>
              <a:t>YTD 202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26"/>
            <c:invertIfNegative val="0"/>
            <c:bubble3D val="0"/>
            <c:spPr>
              <a:solidFill>
                <a:schemeClr val="accent1"/>
              </a:solidFill>
              <a:ln w="3810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368F-4999-9C4F-CB8D4261D515}"/>
              </c:ext>
            </c:extLst>
          </c:dPt>
          <c:dPt>
            <c:idx val="31"/>
            <c:invertIfNegative val="0"/>
            <c:bubble3D val="0"/>
            <c:spPr>
              <a:solidFill>
                <a:schemeClr val="accent2"/>
              </a:solidFill>
              <a:ln w="38100">
                <a:solidFill>
                  <a:schemeClr val="accent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68F-4999-9C4F-CB8D4261D515}"/>
              </c:ext>
            </c:extLst>
          </c:dPt>
          <c:dPt>
            <c:idx val="47"/>
            <c:invertIfNegative val="0"/>
            <c:bubble3D val="0"/>
            <c:spPr>
              <a:solidFill>
                <a:schemeClr val="accent1"/>
              </a:solidFill>
              <a:ln w="12700">
                <a:solidFill>
                  <a:schemeClr val="accen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68F-4999-9C4F-CB8D4261D515}"/>
              </c:ext>
            </c:extLst>
          </c:dPt>
          <c:val>
            <c:numRef>
              <c:f>'2023 YTD'!$A$1:$A$69</c:f>
              <c:numCache>
                <c:formatCode>0.00%</c:formatCode>
                <c:ptCount val="69"/>
                <c:pt idx="0">
                  <c:v>9.3548387096774197E-2</c:v>
                </c:pt>
                <c:pt idx="1">
                  <c:v>0.10606060606060606</c:v>
                </c:pt>
                <c:pt idx="2">
                  <c:v>0.1223021582733813</c:v>
                </c:pt>
                <c:pt idx="3">
                  <c:v>0.12328767123287671</c:v>
                </c:pt>
                <c:pt idx="4">
                  <c:v>0.13043478260869565</c:v>
                </c:pt>
                <c:pt idx="5">
                  <c:v>0.13970588235294118</c:v>
                </c:pt>
                <c:pt idx="6">
                  <c:v>0.14529914529914531</c:v>
                </c:pt>
                <c:pt idx="7">
                  <c:v>0.15254237288135594</c:v>
                </c:pt>
                <c:pt idx="8">
                  <c:v>0.16279069767441862</c:v>
                </c:pt>
                <c:pt idx="9">
                  <c:v>0.17499999999999999</c:v>
                </c:pt>
                <c:pt idx="10">
                  <c:v>0.18461538461538463</c:v>
                </c:pt>
                <c:pt idx="11">
                  <c:v>0.1891891891891892</c:v>
                </c:pt>
                <c:pt idx="12">
                  <c:v>0.1932059447983015</c:v>
                </c:pt>
                <c:pt idx="13">
                  <c:v>0.19488817891373802</c:v>
                </c:pt>
                <c:pt idx="14">
                  <c:v>0.19799498746867167</c:v>
                </c:pt>
                <c:pt idx="15">
                  <c:v>0.2</c:v>
                </c:pt>
                <c:pt idx="16">
                  <c:v>0.20571428571428571</c:v>
                </c:pt>
                <c:pt idx="17">
                  <c:v>0.20588235294117646</c:v>
                </c:pt>
                <c:pt idx="18">
                  <c:v>0.20645161290322581</c:v>
                </c:pt>
                <c:pt idx="19">
                  <c:v>0.21153846153846154</c:v>
                </c:pt>
                <c:pt idx="20">
                  <c:v>0.21266968325791855</c:v>
                </c:pt>
                <c:pt idx="21">
                  <c:v>0.21367521367521367</c:v>
                </c:pt>
                <c:pt idx="22">
                  <c:v>0.22266666666666668</c:v>
                </c:pt>
                <c:pt idx="23">
                  <c:v>0.22342733188720174</c:v>
                </c:pt>
                <c:pt idx="24">
                  <c:v>0.22383720930232559</c:v>
                </c:pt>
                <c:pt idx="25">
                  <c:v>0.22779922779922779</c:v>
                </c:pt>
                <c:pt idx="26">
                  <c:v>0.2289156626506024</c:v>
                </c:pt>
                <c:pt idx="27">
                  <c:v>0.22962962962962963</c:v>
                </c:pt>
                <c:pt idx="28">
                  <c:v>0.23076923076923078</c:v>
                </c:pt>
                <c:pt idx="29">
                  <c:v>0.23170731707317074</c:v>
                </c:pt>
                <c:pt idx="30">
                  <c:v>0.23275862068965517</c:v>
                </c:pt>
                <c:pt idx="31">
                  <c:v>0.23491490458999484</c:v>
                </c:pt>
                <c:pt idx="32">
                  <c:v>0.23529411764705882</c:v>
                </c:pt>
                <c:pt idx="33">
                  <c:v>0.23636363636363636</c:v>
                </c:pt>
                <c:pt idx="34">
                  <c:v>0.23786407766990292</c:v>
                </c:pt>
                <c:pt idx="35">
                  <c:v>0.24203821656050956</c:v>
                </c:pt>
                <c:pt idx="36">
                  <c:v>0.24324324324324326</c:v>
                </c:pt>
                <c:pt idx="37">
                  <c:v>0.24664879356568364</c:v>
                </c:pt>
                <c:pt idx="38">
                  <c:v>0.24815724815724816</c:v>
                </c:pt>
                <c:pt idx="39">
                  <c:v>0.25</c:v>
                </c:pt>
                <c:pt idx="40">
                  <c:v>0.25</c:v>
                </c:pt>
                <c:pt idx="41">
                  <c:v>0.25252525252525254</c:v>
                </c:pt>
                <c:pt idx="42">
                  <c:v>0.25407166123778502</c:v>
                </c:pt>
                <c:pt idx="43">
                  <c:v>0.25697211155378485</c:v>
                </c:pt>
                <c:pt idx="44">
                  <c:v>0.25793650793650796</c:v>
                </c:pt>
                <c:pt idx="45">
                  <c:v>0.2608695652173913</c:v>
                </c:pt>
                <c:pt idx="46">
                  <c:v>0.26176470588235295</c:v>
                </c:pt>
                <c:pt idx="47">
                  <c:v>0.26247987117552335</c:v>
                </c:pt>
                <c:pt idx="48">
                  <c:v>0.26315789473684209</c:v>
                </c:pt>
                <c:pt idx="49">
                  <c:v>0.26436781609195403</c:v>
                </c:pt>
                <c:pt idx="50">
                  <c:v>0.26495726495726496</c:v>
                </c:pt>
                <c:pt idx="51">
                  <c:v>0.26576576576576577</c:v>
                </c:pt>
                <c:pt idx="52">
                  <c:v>0.26615969581749049</c:v>
                </c:pt>
                <c:pt idx="53">
                  <c:v>0.26804123711340205</c:v>
                </c:pt>
                <c:pt idx="54">
                  <c:v>0.27272727272727271</c:v>
                </c:pt>
                <c:pt idx="55">
                  <c:v>0.2808988764044944</c:v>
                </c:pt>
                <c:pt idx="56">
                  <c:v>0.28125</c:v>
                </c:pt>
                <c:pt idx="57">
                  <c:v>0.28888888888888886</c:v>
                </c:pt>
                <c:pt idx="58">
                  <c:v>0.28947368421052633</c:v>
                </c:pt>
                <c:pt idx="59">
                  <c:v>0.29394812680115273</c:v>
                </c:pt>
                <c:pt idx="60">
                  <c:v>0.30530973451327431</c:v>
                </c:pt>
                <c:pt idx="61">
                  <c:v>0.30985915492957744</c:v>
                </c:pt>
                <c:pt idx="62">
                  <c:v>0.31914893617021278</c:v>
                </c:pt>
                <c:pt idx="63">
                  <c:v>0.32467532467532467</c:v>
                </c:pt>
                <c:pt idx="64">
                  <c:v>0.3323076923076923</c:v>
                </c:pt>
                <c:pt idx="65">
                  <c:v>0.33333333333333331</c:v>
                </c:pt>
                <c:pt idx="66">
                  <c:v>0.34337349397590361</c:v>
                </c:pt>
                <c:pt idx="67">
                  <c:v>0.39344262295081966</c:v>
                </c:pt>
                <c:pt idx="68">
                  <c:v>0.52173913043478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68F-4999-9C4F-CB8D4261D5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417431055"/>
        <c:axId val="417416079"/>
      </c:barChart>
      <c:catAx>
        <c:axId val="417431055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17416079"/>
        <c:crosses val="autoZero"/>
        <c:auto val="1"/>
        <c:lblAlgn val="ctr"/>
        <c:lblOffset val="100"/>
        <c:noMultiLvlLbl val="0"/>
      </c:catAx>
      <c:valAx>
        <c:axId val="4174160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174310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000"/>
              <a:t>NTSV</a:t>
            </a:r>
            <a:r>
              <a:rPr lang="en-US" sz="2000" baseline="0"/>
              <a:t> C-Section Rate</a:t>
            </a:r>
            <a:endParaRPr lang="en-US" sz="200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1"/>
          <c:order val="1"/>
          <c:tx>
            <c:strRef>
              <c:f>'NTSV C-section Rate'!$V$1</c:f>
              <c:strCache>
                <c:ptCount val="1"/>
                <c:pt idx="0">
                  <c:v>% of Hospitals under goal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NTSV C-section Rate'!$T$2:$T$7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NTSV C-section Rate'!$V$2:$V$7</c:f>
              <c:numCache>
                <c:formatCode>0%</c:formatCode>
                <c:ptCount val="6"/>
                <c:pt idx="0">
                  <c:v>0.36</c:v>
                </c:pt>
                <c:pt idx="1">
                  <c:v>0.41</c:v>
                </c:pt>
                <c:pt idx="2">
                  <c:v>0.5</c:v>
                </c:pt>
                <c:pt idx="3">
                  <c:v>0.46</c:v>
                </c:pt>
                <c:pt idx="4">
                  <c:v>0.57999999999999996</c:v>
                </c:pt>
                <c:pt idx="5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F3F-4E03-9ACB-4239D0F55107}"/>
            </c:ext>
          </c:extLst>
        </c:ser>
        <c:ser>
          <c:idx val="2"/>
          <c:order val="2"/>
          <c:tx>
            <c:strRef>
              <c:f>'NTSV C-section Rate'!$W$1</c:f>
              <c:strCache>
                <c:ptCount val="1"/>
                <c:pt idx="0">
                  <c:v>% Hospitals above goal</c:v>
                </c:pt>
              </c:strCache>
            </c:strRef>
          </c:tx>
          <c:spPr>
            <a:solidFill>
              <a:srgbClr val="FF4343"/>
            </a:solidFill>
            <a:ln>
              <a:noFill/>
            </a:ln>
            <a:effectLst/>
          </c:spPr>
          <c:invertIfNegative val="0"/>
          <c:cat>
            <c:strRef>
              <c:f>'NTSV C-section Rate'!$T$2:$T$7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NTSV C-section Rate'!$W$2:$W$7</c:f>
              <c:numCache>
                <c:formatCode>0%</c:formatCode>
                <c:ptCount val="6"/>
                <c:pt idx="0">
                  <c:v>0.64</c:v>
                </c:pt>
                <c:pt idx="1">
                  <c:v>0.59</c:v>
                </c:pt>
                <c:pt idx="2">
                  <c:v>0.5</c:v>
                </c:pt>
                <c:pt idx="3">
                  <c:v>0.54</c:v>
                </c:pt>
                <c:pt idx="4">
                  <c:v>0.42</c:v>
                </c:pt>
                <c:pt idx="5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F3F-4E03-9ACB-4239D0F55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464687039"/>
        <c:axId val="464687455"/>
      </c:barChart>
      <c:lineChart>
        <c:grouping val="standard"/>
        <c:varyColors val="0"/>
        <c:ser>
          <c:idx val="0"/>
          <c:order val="0"/>
          <c:tx>
            <c:strRef>
              <c:f>'NTSV C-section Rate'!$U$1</c:f>
              <c:strCache>
                <c:ptCount val="1"/>
                <c:pt idx="0">
                  <c:v>NTSV C-section Rate</c:v>
                </c:pt>
              </c:strCache>
            </c:strRef>
          </c:tx>
          <c:spPr>
            <a:ln w="28575" cap="rnd">
              <a:solidFill>
                <a:srgbClr val="002060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rgbClr val="002060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NTSV C-section Rate'!$T$2:$T$7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NTSV C-section Rate'!$U$2:$U$7</c:f>
              <c:numCache>
                <c:formatCode>0.00%</c:formatCode>
                <c:ptCount val="6"/>
                <c:pt idx="0" formatCode="0.0%">
                  <c:v>0.249</c:v>
                </c:pt>
                <c:pt idx="1">
                  <c:v>0.2447</c:v>
                </c:pt>
                <c:pt idx="2">
                  <c:v>0.2407</c:v>
                </c:pt>
                <c:pt idx="3">
                  <c:v>0.24510000000000001</c:v>
                </c:pt>
                <c:pt idx="4">
                  <c:v>0.22620000000000001</c:v>
                </c:pt>
                <c:pt idx="5">
                  <c:v>0.2340000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F3F-4E03-9ACB-4239D0F551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64687039"/>
        <c:axId val="464687455"/>
      </c:lineChart>
      <c:catAx>
        <c:axId val="46468703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4687455"/>
        <c:crosses val="autoZero"/>
        <c:auto val="1"/>
        <c:lblAlgn val="ctr"/>
        <c:lblOffset val="100"/>
        <c:noMultiLvlLbl val="0"/>
      </c:catAx>
      <c:valAx>
        <c:axId val="46468745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6468703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0" i="0" baseline="0">
                <a:effectLst/>
              </a:rPr>
              <a:t>NTSV C-Sections Meeting ACOG/SMFM Criteria </a:t>
            </a:r>
            <a:endParaRPr lang="en-US">
              <a:effectLst/>
            </a:endParaRPr>
          </a:p>
          <a:p>
            <a:pPr>
              <a:defRPr/>
            </a:pPr>
            <a:r>
              <a:rPr lang="en-US" sz="1800" b="0" i="0" baseline="0">
                <a:effectLst/>
              </a:rPr>
              <a:t>by Stage of Labor</a:t>
            </a:r>
            <a:endParaRPr lang="en-US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ACOG.SMFM '!$K$23</c:f>
              <c:strCache>
                <c:ptCount val="1"/>
                <c:pt idx="0">
                  <c:v>Failed Induction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A891-4FDE-A98F-7A621EDAE4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OG.SMFM '!$L$22:$Q$22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ACOG.SMFM '!$L$23:$Q$23</c:f>
              <c:numCache>
                <c:formatCode>0%</c:formatCode>
                <c:ptCount val="6"/>
                <c:pt idx="0">
                  <c:v>0.35</c:v>
                </c:pt>
                <c:pt idx="1">
                  <c:v>0.4</c:v>
                </c:pt>
                <c:pt idx="2">
                  <c:v>0.42</c:v>
                </c:pt>
                <c:pt idx="3">
                  <c:v>0.41</c:v>
                </c:pt>
                <c:pt idx="4">
                  <c:v>0.41</c:v>
                </c:pt>
                <c:pt idx="5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891-4FDE-A98F-7A621EDAE496}"/>
            </c:ext>
          </c:extLst>
        </c:ser>
        <c:ser>
          <c:idx val="1"/>
          <c:order val="1"/>
          <c:tx>
            <c:strRef>
              <c:f>'ACOG.SMFM '!$K$24</c:f>
              <c:strCache>
                <c:ptCount val="1"/>
                <c:pt idx="0">
                  <c:v>Active Stage Arrest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A891-4FDE-A98F-7A621EDAE496}"/>
                </c:ext>
              </c:extLst>
            </c:dLbl>
            <c:dLbl>
              <c:idx val="5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891-4FDE-A98F-7A621EDAE4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OG.SMFM '!$L$22:$Q$22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ACOG.SMFM '!$L$24:$Q$24</c:f>
              <c:numCache>
                <c:formatCode>0%</c:formatCode>
                <c:ptCount val="6"/>
                <c:pt idx="0">
                  <c:v>0.69</c:v>
                </c:pt>
                <c:pt idx="1">
                  <c:v>0.76912181303116145</c:v>
                </c:pt>
                <c:pt idx="2">
                  <c:v>0.80989180834621333</c:v>
                </c:pt>
                <c:pt idx="3">
                  <c:v>0.81657848324514992</c:v>
                </c:pt>
                <c:pt idx="4">
                  <c:v>0.83652173913043482</c:v>
                </c:pt>
                <c:pt idx="5">
                  <c:v>0.8215686274509803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891-4FDE-A98F-7A621EDAE496}"/>
            </c:ext>
          </c:extLst>
        </c:ser>
        <c:ser>
          <c:idx val="2"/>
          <c:order val="2"/>
          <c:tx>
            <c:strRef>
              <c:f>'ACOG.SMFM '!$K$25</c:f>
              <c:strCache>
                <c:ptCount val="1"/>
                <c:pt idx="0">
                  <c:v>Second Stage Arrest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A891-4FDE-A98F-7A621EDAE496}"/>
                </c:ext>
              </c:extLst>
            </c:dLbl>
            <c:dLbl>
              <c:idx val="5"/>
              <c:layout>
                <c:manualLayout>
                  <c:x val="2.6598348652038077E-3"/>
                  <c:y val="1.1656065863299525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7423922104813644E-2"/>
                      <c:h val="6.670323563063511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A891-4FDE-A98F-7A621EDAE4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OG.SMFM '!$L$22:$Q$22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ACOG.SMFM '!$L$25:$Q$25</c:f>
              <c:numCache>
                <c:formatCode>0%</c:formatCode>
                <c:ptCount val="6"/>
                <c:pt idx="0">
                  <c:v>0.35</c:v>
                </c:pt>
                <c:pt idx="1">
                  <c:v>0.35927152317880795</c:v>
                </c:pt>
                <c:pt idx="2">
                  <c:v>0.51607717041800638</c:v>
                </c:pt>
                <c:pt idx="3">
                  <c:v>0.49557522123893805</c:v>
                </c:pt>
                <c:pt idx="4">
                  <c:v>0.6</c:v>
                </c:pt>
                <c:pt idx="5">
                  <c:v>0.60404040404040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891-4FDE-A98F-7A621EDAE496}"/>
            </c:ext>
          </c:extLst>
        </c:ser>
        <c:ser>
          <c:idx val="3"/>
          <c:order val="3"/>
          <c:tx>
            <c:strRef>
              <c:f>'ACOG.SMFM '!$K$26</c:f>
              <c:strCache>
                <c:ptCount val="1"/>
                <c:pt idx="0">
                  <c:v>Total NTSV C-Section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LblPos val="l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A891-4FDE-A98F-7A621EDAE496}"/>
                </c:ext>
              </c:extLst>
            </c:dLbl>
            <c:dLbl>
              <c:idx val="5"/>
              <c:layout>
                <c:manualLayout>
                  <c:x val="-1.3298388957169438E-3"/>
                  <c:y val="-2.9606407292780794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5.3581318609168309E-2"/>
                      <c:h val="6.8701784683556463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A891-4FDE-A98F-7A621EDAE49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ACOG.SMFM '!$L$22:$Q$22</c:f>
              <c:strCache>
                <c:ptCount val="6"/>
                <c:pt idx="0">
                  <c:v>Baseline</c:v>
                </c:pt>
                <c:pt idx="1">
                  <c:v>Q1+Q2 20221</c:v>
                </c:pt>
                <c:pt idx="2">
                  <c:v>Q3+Q4 2021</c:v>
                </c:pt>
                <c:pt idx="3">
                  <c:v>Q1+Q2 2022</c:v>
                </c:pt>
                <c:pt idx="4">
                  <c:v>Q3+Q4 2022</c:v>
                </c:pt>
                <c:pt idx="5">
                  <c:v>Q1+Q2 2023</c:v>
                </c:pt>
              </c:strCache>
            </c:strRef>
          </c:cat>
          <c:val>
            <c:numRef>
              <c:f>'ACOG.SMFM '!$L$26:$Q$26</c:f>
              <c:numCache>
                <c:formatCode>0%</c:formatCode>
                <c:ptCount val="6"/>
                <c:pt idx="0">
                  <c:v>0.6</c:v>
                </c:pt>
                <c:pt idx="1">
                  <c:v>0.63</c:v>
                </c:pt>
                <c:pt idx="2">
                  <c:v>0.63</c:v>
                </c:pt>
                <c:pt idx="3">
                  <c:v>0.65</c:v>
                </c:pt>
                <c:pt idx="4">
                  <c:v>0.64</c:v>
                </c:pt>
                <c:pt idx="5">
                  <c:v>0.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A891-4FDE-A98F-7A621EDAE4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56639119"/>
        <c:axId val="456639951"/>
      </c:lineChart>
      <c:catAx>
        <c:axId val="45663911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6639951"/>
        <c:crosses val="autoZero"/>
        <c:auto val="1"/>
        <c:lblAlgn val="ctr"/>
        <c:lblOffset val="100"/>
        <c:noMultiLvlLbl val="0"/>
      </c:catAx>
      <c:valAx>
        <c:axId val="45663995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663911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NTSV C-Section</a:t>
            </a:r>
            <a:r>
              <a:rPr lang="en-US" baseline="0"/>
              <a:t> Rate by Race and Ethnicity</a:t>
            </a:r>
          </a:p>
          <a:p>
            <a:pPr>
              <a:defRPr/>
            </a:pPr>
            <a:r>
              <a:rPr lang="en-US" baseline="0"/>
              <a:t>Black vs White</a:t>
            </a:r>
            <a:endParaRPr lang="en-US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RE!$A$2</c:f>
              <c:strCache>
                <c:ptCount val="1"/>
                <c:pt idx="0">
                  <c:v>Black</c:v>
                </c:pt>
              </c:strCache>
            </c:strRef>
          </c:tx>
          <c:spPr>
            <a:ln w="28575" cap="rnd">
              <a:solidFill>
                <a:srgbClr val="FF3399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rgbClr val="FF3399"/>
              </a:solidFill>
              <a:ln w="9525">
                <a:noFill/>
              </a:ln>
              <a:effectLst/>
            </c:spPr>
          </c:marker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2:$L$2</c:f>
              <c:numCache>
                <c:formatCode>0%</c:formatCode>
                <c:ptCount val="11"/>
                <c:pt idx="0">
                  <c:v>0.30745814307458141</c:v>
                </c:pt>
                <c:pt idx="1">
                  <c:v>0.33</c:v>
                </c:pt>
                <c:pt idx="2">
                  <c:v>0.23</c:v>
                </c:pt>
                <c:pt idx="3">
                  <c:v>0.28999999999999998</c:v>
                </c:pt>
                <c:pt idx="4">
                  <c:v>0.25800000000000001</c:v>
                </c:pt>
                <c:pt idx="5">
                  <c:v>0.28699999999999998</c:v>
                </c:pt>
                <c:pt idx="6">
                  <c:v>0.28399999999999997</c:v>
                </c:pt>
                <c:pt idx="7">
                  <c:v>0.23499999999999999</c:v>
                </c:pt>
                <c:pt idx="8">
                  <c:v>0.255</c:v>
                </c:pt>
                <c:pt idx="9">
                  <c:v>0.245</c:v>
                </c:pt>
                <c:pt idx="10">
                  <c:v>0.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0ED-4E2B-9680-685FF458393C}"/>
            </c:ext>
          </c:extLst>
        </c:ser>
        <c:ser>
          <c:idx val="1"/>
          <c:order val="1"/>
          <c:tx>
            <c:strRef>
              <c:f>RE!$A$3</c:f>
              <c:strCache>
                <c:ptCount val="1"/>
                <c:pt idx="0">
                  <c:v>White 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noFill/>
              </a:ln>
              <a:effectLst/>
            </c:spPr>
          </c:marker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3:$L$3</c:f>
              <c:numCache>
                <c:formatCode>0.00%</c:formatCode>
                <c:ptCount val="11"/>
                <c:pt idx="0">
                  <c:v>0.27</c:v>
                </c:pt>
                <c:pt idx="1">
                  <c:v>0.26</c:v>
                </c:pt>
                <c:pt idx="2">
                  <c:v>0.25700000000000001</c:v>
                </c:pt>
                <c:pt idx="3">
                  <c:v>0.246</c:v>
                </c:pt>
                <c:pt idx="4">
                  <c:v>0.245</c:v>
                </c:pt>
                <c:pt idx="5">
                  <c:v>0.23599999999999999</c:v>
                </c:pt>
                <c:pt idx="6">
                  <c:v>0.24</c:v>
                </c:pt>
                <c:pt idx="7">
                  <c:v>0.247</c:v>
                </c:pt>
                <c:pt idx="8">
                  <c:v>0.246</c:v>
                </c:pt>
                <c:pt idx="9">
                  <c:v>0.23100000000000001</c:v>
                </c:pt>
                <c:pt idx="10">
                  <c:v>0.237499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0ED-4E2B-9680-685FF45839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94960864"/>
        <c:axId val="1594957952"/>
      </c:lineChart>
      <c:catAx>
        <c:axId val="1594960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4957952"/>
        <c:crosses val="autoZero"/>
        <c:auto val="1"/>
        <c:lblAlgn val="ctr"/>
        <c:lblOffset val="100"/>
        <c:noMultiLvlLbl val="0"/>
      </c:catAx>
      <c:valAx>
        <c:axId val="1594957952"/>
        <c:scaling>
          <c:orientation val="minMax"/>
          <c:min val="0.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94960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RE!$A$2</c:f>
              <c:strCache>
                <c:ptCount val="1"/>
                <c:pt idx="0">
                  <c:v>Blac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2:$L$2</c:f>
              <c:numCache>
                <c:formatCode>0%</c:formatCode>
                <c:ptCount val="11"/>
                <c:pt idx="0">
                  <c:v>0.30745814307458141</c:v>
                </c:pt>
                <c:pt idx="1">
                  <c:v>0.33</c:v>
                </c:pt>
                <c:pt idx="2">
                  <c:v>0.23</c:v>
                </c:pt>
                <c:pt idx="3">
                  <c:v>0.28999999999999998</c:v>
                </c:pt>
                <c:pt idx="4">
                  <c:v>0.25800000000000001</c:v>
                </c:pt>
                <c:pt idx="5">
                  <c:v>0.28699999999999998</c:v>
                </c:pt>
                <c:pt idx="6">
                  <c:v>0.28399999999999997</c:v>
                </c:pt>
                <c:pt idx="7">
                  <c:v>0.23499999999999999</c:v>
                </c:pt>
                <c:pt idx="8">
                  <c:v>0.255</c:v>
                </c:pt>
                <c:pt idx="9">
                  <c:v>0.245</c:v>
                </c:pt>
                <c:pt idx="1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1D0-4AF2-A525-7C88B72742EF}"/>
            </c:ext>
          </c:extLst>
        </c:ser>
        <c:ser>
          <c:idx val="1"/>
          <c:order val="1"/>
          <c:tx>
            <c:strRef>
              <c:f>RE!$A$3</c:f>
              <c:strCache>
                <c:ptCount val="1"/>
                <c:pt idx="0">
                  <c:v>White 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3:$L$3</c:f>
              <c:numCache>
                <c:formatCode>0.00%</c:formatCode>
                <c:ptCount val="11"/>
                <c:pt idx="0">
                  <c:v>0.27</c:v>
                </c:pt>
                <c:pt idx="1">
                  <c:v>0.26</c:v>
                </c:pt>
                <c:pt idx="2">
                  <c:v>0.25700000000000001</c:v>
                </c:pt>
                <c:pt idx="3">
                  <c:v>0.246</c:v>
                </c:pt>
                <c:pt idx="4">
                  <c:v>0.245</c:v>
                </c:pt>
                <c:pt idx="5">
                  <c:v>0.23599999999999999</c:v>
                </c:pt>
                <c:pt idx="6">
                  <c:v>0.24</c:v>
                </c:pt>
                <c:pt idx="7">
                  <c:v>0.247</c:v>
                </c:pt>
                <c:pt idx="8">
                  <c:v>0.246</c:v>
                </c:pt>
                <c:pt idx="9">
                  <c:v>0.23100000000000001</c:v>
                </c:pt>
                <c:pt idx="10">
                  <c:v>0.2374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1D0-4AF2-A525-7C88B72742EF}"/>
            </c:ext>
          </c:extLst>
        </c:ser>
        <c:ser>
          <c:idx val="2"/>
          <c:order val="2"/>
          <c:tx>
            <c:strRef>
              <c:f>RE!$A$4</c:f>
              <c:strCache>
                <c:ptCount val="1"/>
                <c:pt idx="0">
                  <c:v>Hispanic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4:$L$4</c:f>
              <c:numCache>
                <c:formatCode>0%</c:formatCode>
                <c:ptCount val="11"/>
                <c:pt idx="0">
                  <c:v>0.27</c:v>
                </c:pt>
                <c:pt idx="1">
                  <c:v>0.27</c:v>
                </c:pt>
                <c:pt idx="2">
                  <c:v>0.26</c:v>
                </c:pt>
                <c:pt idx="3">
                  <c:v>0.23200000000000001</c:v>
                </c:pt>
                <c:pt idx="4">
                  <c:v>0.23799999999999999</c:v>
                </c:pt>
                <c:pt idx="5">
                  <c:v>0.24</c:v>
                </c:pt>
                <c:pt idx="6">
                  <c:v>0.27</c:v>
                </c:pt>
                <c:pt idx="7">
                  <c:v>0.24</c:v>
                </c:pt>
                <c:pt idx="8">
                  <c:v>0.23300000000000001</c:v>
                </c:pt>
                <c:pt idx="9">
                  <c:v>0.23</c:v>
                </c:pt>
                <c:pt idx="1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D0-4AF2-A525-7C88B72742EF}"/>
            </c:ext>
          </c:extLst>
        </c:ser>
        <c:ser>
          <c:idx val="4"/>
          <c:order val="3"/>
          <c:tx>
            <c:strRef>
              <c:f>RE!$A$6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RE!$B$1:$L$1</c:f>
              <c:strCache>
                <c:ptCount val="11"/>
                <c:pt idx="0">
                  <c:v>Baseline </c:v>
                </c:pt>
                <c:pt idx="1">
                  <c:v>Q1 2021</c:v>
                </c:pt>
                <c:pt idx="2">
                  <c:v>Q2 2021
</c:v>
                </c:pt>
                <c:pt idx="3">
                  <c:v>Q3 2021 
</c:v>
                </c:pt>
                <c:pt idx="4">
                  <c:v>Q4 2021 
</c:v>
                </c:pt>
                <c:pt idx="5">
                  <c:v>Q1 2022</c:v>
                </c:pt>
                <c:pt idx="6">
                  <c:v>Q2 2022 </c:v>
                </c:pt>
                <c:pt idx="7">
                  <c:v>Q3 2022 
</c:v>
                </c:pt>
                <c:pt idx="8">
                  <c:v>Q4 2022 </c:v>
                </c:pt>
                <c:pt idx="9">
                  <c:v>Q1 2023 </c:v>
                </c:pt>
                <c:pt idx="10">
                  <c:v>Q2 2023</c:v>
                </c:pt>
              </c:strCache>
            </c:strRef>
          </c:cat>
          <c:val>
            <c:numRef>
              <c:f>RE!$B$6:$L$6</c:f>
              <c:numCache>
                <c:formatCode>0%</c:formatCode>
                <c:ptCount val="11"/>
                <c:pt idx="0">
                  <c:v>0.37317784256559766</c:v>
                </c:pt>
                <c:pt idx="1">
                  <c:v>0.31</c:v>
                </c:pt>
                <c:pt idx="2">
                  <c:v>0.28000000000000003</c:v>
                </c:pt>
                <c:pt idx="3">
                  <c:v>0.21</c:v>
                </c:pt>
                <c:pt idx="4">
                  <c:v>0.25</c:v>
                </c:pt>
                <c:pt idx="5">
                  <c:v>0.22</c:v>
                </c:pt>
                <c:pt idx="6">
                  <c:v>0.25</c:v>
                </c:pt>
                <c:pt idx="7">
                  <c:v>0.24</c:v>
                </c:pt>
                <c:pt idx="8">
                  <c:v>0.27</c:v>
                </c:pt>
                <c:pt idx="9">
                  <c:v>0.22</c:v>
                </c:pt>
                <c:pt idx="1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1D0-4AF2-A525-7C88B72742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55342592"/>
        <c:axId val="1255325952"/>
      </c:barChart>
      <c:catAx>
        <c:axId val="1255342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325952"/>
        <c:crosses val="autoZero"/>
        <c:auto val="1"/>
        <c:lblAlgn val="ctr"/>
        <c:lblOffset val="100"/>
        <c:noMultiLvlLbl val="0"/>
      </c:catAx>
      <c:valAx>
        <c:axId val="12553259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5342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2A0_FEC9E073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5BF5BA98-FF43-49AE-BE99-9A9FE4297874}" authorId="{866AA8C0-A40A-4549-B1BD-CB0F1B5845F6}" status="resolved" created="2022-05-21T04:58:56.109" complete="100000">
    <ac:deMkLst xmlns:ac="http://schemas.microsoft.com/office/drawing/2013/main/command">
      <pc:docMk xmlns:pc="http://schemas.microsoft.com/office/powerpoint/2013/main/command"/>
      <pc:sldMk xmlns:pc="http://schemas.microsoft.com/office/powerpoint/2013/main/command" cId="3136314208" sldId="289"/>
      <ac:graphicFrameMk id="6" creationId="{00000000-0000-0000-0000-000000000000}"/>
    </ac:deMkLst>
    <p188:replyLst>
      <p188:reply id="{B37296DE-E9CA-4027-A684-8AB3576FC6AA}" authorId="{B1E8E1CE-C373-4BDB-0D3F-F84FE1DA86D4}" created="2022-05-22T21:07:41.434">
        <p188:txBody>
          <a:bodyPr/>
          <a:lstStyle/>
          <a:p>
            <a:r>
              <a:rPr lang="en-US"/>
              <a:t>done</a:t>
            </a:r>
          </a:p>
        </p188:txBody>
      </p188:reply>
    </p188:replyLst>
    <p188:txBody>
      <a:bodyPr/>
      <a:lstStyle/>
      <a:p>
        <a:r>
          <a:rPr lang="en-US"/>
          <a:t>NTSV C-Section Rate should be &lt; or equal to 23.6%...not of 23.6%.  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CED47C-38E7-467C-8A1C-1BD722891462}" type="doc">
      <dgm:prSet loTypeId="urn:microsoft.com/office/officeart/2005/8/layout/list1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DF8C36AC-D358-44C1-8CCF-864E48E9EE34}">
      <dgm:prSet phldrT="[Text]"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 </a:t>
          </a:r>
          <a:r>
            <a:rPr lang="en-US" b="1" dirty="0">
              <a:solidFill>
                <a:schemeClr val="accent1"/>
              </a:solidFill>
              <a:latin typeface="Calibri" panose="020F0502020204030204"/>
            </a:rPr>
            <a:t>Submit your Data!</a:t>
          </a:r>
          <a:r>
            <a:rPr lang="en-US" b="1" dirty="0">
              <a:latin typeface="Calibri" panose="020F0502020204030204"/>
            </a:rPr>
            <a:t> </a:t>
          </a:r>
          <a:endParaRPr lang="en-US" b="1" dirty="0">
            <a:solidFill>
              <a:schemeClr val="accent1"/>
            </a:solidFill>
            <a:latin typeface="Calibri" panose="020F0502020204030204"/>
          </a:endParaRPr>
        </a:p>
      </dgm:t>
    </dgm:pt>
    <dgm:pt modelId="{77454E31-4BF7-45E4-A61C-C06BAD198ECF}" type="parTrans" cxnId="{F1C85135-8472-433E-98BE-532497A42780}">
      <dgm:prSet/>
      <dgm:spPr/>
      <dgm:t>
        <a:bodyPr/>
        <a:lstStyle/>
        <a:p>
          <a:endParaRPr lang="en-US"/>
        </a:p>
      </dgm:t>
    </dgm:pt>
    <dgm:pt modelId="{62C93ADB-50F5-4FEA-A9D2-CBD05A488FB7}" type="sibTrans" cxnId="{F1C85135-8472-433E-98BE-532497A42780}">
      <dgm:prSet/>
      <dgm:spPr/>
      <dgm:t>
        <a:bodyPr/>
        <a:lstStyle/>
        <a:p>
          <a:endParaRPr lang="en-US"/>
        </a:p>
      </dgm:t>
    </dgm:pt>
    <dgm:pt modelId="{277CB91B-1C42-48E8-9BA7-10FC79E64F8E}">
      <dgm:prSet phldrT="[Text]" phldr="0"/>
      <dgm:spPr/>
      <dgm:t>
        <a:bodyPr/>
        <a:lstStyle/>
        <a:p>
          <a:pPr rtl="0"/>
          <a:r>
            <a:rPr lang="en-US" b="1" dirty="0">
              <a:solidFill>
                <a:schemeClr val="accent1"/>
              </a:solidFill>
              <a:latin typeface="Calibri" panose="020F0502020204030204"/>
            </a:rPr>
            <a:t>Call for Abstracts! </a:t>
          </a:r>
          <a:endParaRPr lang="en-US" b="1" dirty="0">
            <a:solidFill>
              <a:schemeClr val="accent1"/>
            </a:solidFill>
          </a:endParaRPr>
        </a:p>
      </dgm:t>
    </dgm:pt>
    <dgm:pt modelId="{03D7C569-4529-4991-A0C2-8E79BCD76571}" type="parTrans" cxnId="{DBC449FF-D23E-4F26-BCA7-82B94996073D}">
      <dgm:prSet/>
      <dgm:spPr/>
      <dgm:t>
        <a:bodyPr/>
        <a:lstStyle/>
        <a:p>
          <a:endParaRPr lang="en-US"/>
        </a:p>
      </dgm:t>
    </dgm:pt>
    <dgm:pt modelId="{93624452-662B-4F58-934A-EBE2E5B0D4AB}" type="sibTrans" cxnId="{DBC449FF-D23E-4F26-BCA7-82B94996073D}">
      <dgm:prSet/>
      <dgm:spPr/>
      <dgm:t>
        <a:bodyPr/>
        <a:lstStyle/>
        <a:p>
          <a:endParaRPr lang="en-US"/>
        </a:p>
      </dgm:t>
    </dgm:pt>
    <dgm:pt modelId="{78D4CC8F-2595-4059-ACA1-7005FE483A37}">
      <dgm:prSet phldrT="[Text]"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 </a:t>
          </a:r>
          <a:r>
            <a:rPr lang="en-US" b="0" dirty="0">
              <a:latin typeface="Calibri" panose="020F0502020204030204"/>
            </a:rPr>
            <a:t>Details on the AC Webpage</a:t>
          </a:r>
          <a:r>
            <a:rPr lang="en-US" b="1" dirty="0">
              <a:latin typeface="Calibri" panose="020F0502020204030204"/>
            </a:rPr>
            <a:t>!</a:t>
          </a:r>
          <a:r>
            <a:rPr lang="en-US" dirty="0">
              <a:latin typeface="Calibri" panose="020F0502020204030204"/>
            </a:rPr>
            <a:t> All hospital teams are asked to submit an abstract on QI work (can be in progress).</a:t>
          </a:r>
          <a:endParaRPr lang="en-US" dirty="0"/>
        </a:p>
      </dgm:t>
    </dgm:pt>
    <dgm:pt modelId="{A251C99C-8B3D-40DF-81A9-D7542C43875E}" type="parTrans" cxnId="{4FCE7C92-D06E-417F-8E44-A664565D79CE}">
      <dgm:prSet/>
      <dgm:spPr/>
      <dgm:t>
        <a:bodyPr/>
        <a:lstStyle/>
        <a:p>
          <a:endParaRPr lang="en-US"/>
        </a:p>
      </dgm:t>
    </dgm:pt>
    <dgm:pt modelId="{881FC4F4-45E5-4ACC-B91A-47999364CD20}" type="sibTrans" cxnId="{4FCE7C92-D06E-417F-8E44-A664565D79CE}">
      <dgm:prSet/>
      <dgm:spPr/>
      <dgm:t>
        <a:bodyPr/>
        <a:lstStyle/>
        <a:p>
          <a:endParaRPr lang="en-US"/>
        </a:p>
      </dgm:t>
    </dgm:pt>
    <dgm:pt modelId="{6F528CE6-C1A3-4D2B-81A0-CFCEB0EBAD90}">
      <dgm:prSet phldr="0"/>
      <dgm:spPr/>
      <dgm:t>
        <a:bodyPr/>
        <a:lstStyle/>
        <a:p>
          <a:pPr rtl="0"/>
          <a:r>
            <a:rPr lang="en-US" b="1" u="none" dirty="0">
              <a:solidFill>
                <a:schemeClr val="accent1"/>
              </a:solidFill>
              <a:latin typeface="Calibri" panose="020F0502020204030204"/>
            </a:rPr>
            <a:t>ILPQC Annual Conference </a:t>
          </a:r>
          <a:r>
            <a:rPr lang="en-US" b="1" dirty="0">
              <a:solidFill>
                <a:schemeClr val="accent1"/>
              </a:solidFill>
              <a:latin typeface="Calibri" panose="020F0502020204030204"/>
            </a:rPr>
            <a:t>Survey! </a:t>
          </a:r>
        </a:p>
      </dgm:t>
    </dgm:pt>
    <dgm:pt modelId="{62346CA0-5B88-4CE8-914A-B6CEB57871F1}" type="parTrans" cxnId="{B6080AEF-5965-4743-A061-CDC32CC39582}">
      <dgm:prSet/>
      <dgm:spPr/>
    </dgm:pt>
    <dgm:pt modelId="{45C9E60D-23B6-41EB-9B7D-9BC15733F6D1}" type="sibTrans" cxnId="{B6080AEF-5965-4743-A061-CDC32CC39582}">
      <dgm:prSet/>
      <dgm:spPr/>
    </dgm:pt>
    <dgm:pt modelId="{9A286409-755C-47F6-978F-0B1056CDF2D2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We want to hear from you! </a:t>
          </a:r>
          <a:r>
            <a:rPr lang="en-US" b="1" dirty="0">
              <a:latin typeface="Calibri" panose="020F0502020204030204"/>
            </a:rPr>
            <a:t>Survey opening soon! </a:t>
          </a:r>
          <a:endParaRPr lang="en-US" b="1" dirty="0"/>
        </a:p>
      </dgm:t>
    </dgm:pt>
    <dgm:pt modelId="{9291BA0D-48AB-4364-A092-0919F94C1470}" type="parTrans" cxnId="{8D6E092E-58C8-4D72-B870-0D2F549755C5}">
      <dgm:prSet/>
      <dgm:spPr/>
    </dgm:pt>
    <dgm:pt modelId="{EDFE8248-1123-45BE-80CC-ED04D63ECAF9}" type="sibTrans" cxnId="{8D6E092E-58C8-4D72-B870-0D2F549755C5}">
      <dgm:prSet/>
      <dgm:spPr/>
    </dgm:pt>
    <dgm:pt modelId="{F521A60E-AF20-4BC8-BB3E-652F6286D34A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This is a great opportunity to share your teams' thoughts &amp; insights reflecting on 2023 and planning for 2024!</a:t>
          </a:r>
        </a:p>
      </dgm:t>
    </dgm:pt>
    <dgm:pt modelId="{B9351DEB-1B71-494B-81A5-B8A2DF00679D}" type="parTrans" cxnId="{07D213BB-362D-4146-B0ED-D8CC3F3F30C5}">
      <dgm:prSet/>
      <dgm:spPr/>
    </dgm:pt>
    <dgm:pt modelId="{50985435-0157-41A4-B0CC-BC30B5F0CED9}" type="sibTrans" cxnId="{07D213BB-362D-4146-B0ED-D8CC3F3F30C5}">
      <dgm:prSet/>
      <dgm:spPr/>
    </dgm:pt>
    <dgm:pt modelId="{7DB66FD1-DB95-4E83-9973-27B94C4E32F0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All data baseline-August 2023 </a:t>
          </a:r>
          <a:r>
            <a:rPr lang="en-US" b="0" dirty="0">
              <a:latin typeface="Calibri" panose="020F0502020204030204"/>
            </a:rPr>
            <a:t>was </a:t>
          </a:r>
          <a:r>
            <a:rPr lang="en-US" b="1" dirty="0">
              <a:latin typeface="Calibri" panose="020F0502020204030204"/>
            </a:rPr>
            <a:t>due on September 22nd, 2023,</a:t>
          </a:r>
          <a:r>
            <a:rPr lang="en-US" dirty="0">
              <a:latin typeface="Calibri" panose="020F0502020204030204"/>
            </a:rPr>
            <a:t> for award consideration.</a:t>
          </a:r>
          <a:endParaRPr lang="en-US" b="1" dirty="0"/>
        </a:p>
      </dgm:t>
    </dgm:pt>
    <dgm:pt modelId="{8ADBA68A-2F57-443B-A36D-89F41C697784}" type="parTrans" cxnId="{D091DFF4-39E8-4F5A-B8FF-9951A0C5E310}">
      <dgm:prSet/>
      <dgm:spPr/>
    </dgm:pt>
    <dgm:pt modelId="{CBC0D908-B9A4-4932-BF1F-5715E8C42184}" type="sibTrans" cxnId="{D091DFF4-39E8-4F5A-B8FF-9951A0C5E310}">
      <dgm:prSet/>
      <dgm:spPr/>
    </dgm:pt>
    <dgm:pt modelId="{FFB33C6C-604C-42F7-A606-41992BB7B273}">
      <dgm:prSet phldr="0"/>
      <dgm:spPr/>
      <dgm:t>
        <a:bodyPr/>
        <a:lstStyle/>
        <a:p>
          <a:pPr rtl="0"/>
          <a:r>
            <a:rPr lang="en-US" b="0" u="none" dirty="0">
              <a:latin typeface="Calibri" panose="020F0502020204030204"/>
            </a:rPr>
            <a:t>Now Due Wednesday 9/27</a:t>
          </a:r>
        </a:p>
      </dgm:t>
    </dgm:pt>
    <dgm:pt modelId="{A511A51C-4349-441D-944D-FF59FA4FB161}" type="parTrans" cxnId="{E68446D2-05B5-4B49-B805-398635ECE682}">
      <dgm:prSet/>
      <dgm:spPr/>
    </dgm:pt>
    <dgm:pt modelId="{6FC18807-B113-420F-BF26-2EF6707E77EF}" type="sibTrans" cxnId="{E68446D2-05B5-4B49-B805-398635ECE682}">
      <dgm:prSet/>
      <dgm:spPr/>
    </dgm:pt>
    <dgm:pt modelId="{9075E5B6-6EF2-49E8-806D-C13B78EC7083}">
      <dgm:prSet phldr="0"/>
      <dgm:spPr/>
      <dgm:t>
        <a:bodyPr/>
        <a:lstStyle/>
        <a:p>
          <a:pPr rtl="0"/>
          <a:r>
            <a:rPr lang="en-US" dirty="0">
              <a:latin typeface="Calibri" panose="020F0502020204030204"/>
            </a:rPr>
            <a:t>Now Due Friday 9/29</a:t>
          </a:r>
        </a:p>
      </dgm:t>
    </dgm:pt>
    <dgm:pt modelId="{F6965F9E-AAEB-43AE-ABBC-69C504279913}" type="parTrans" cxnId="{41173942-7DE3-462E-A271-C25408CAF3D6}">
      <dgm:prSet/>
      <dgm:spPr/>
    </dgm:pt>
    <dgm:pt modelId="{E73C8B72-0821-411A-B39A-93A07A83F8CE}" type="sibTrans" cxnId="{41173942-7DE3-462E-A271-C25408CAF3D6}">
      <dgm:prSet/>
      <dgm:spPr/>
    </dgm:pt>
    <dgm:pt modelId="{7DE4044A-91ED-4C0D-84FC-AFAFFCE36CC7}" type="pres">
      <dgm:prSet presAssocID="{92CED47C-38E7-467C-8A1C-1BD722891462}" presName="linear" presStyleCnt="0">
        <dgm:presLayoutVars>
          <dgm:dir/>
          <dgm:animLvl val="lvl"/>
          <dgm:resizeHandles val="exact"/>
        </dgm:presLayoutVars>
      </dgm:prSet>
      <dgm:spPr/>
    </dgm:pt>
    <dgm:pt modelId="{0AF318F5-4834-4567-8FBD-BAC7ADA6E4BF}" type="pres">
      <dgm:prSet presAssocID="{DF8C36AC-D358-44C1-8CCF-864E48E9EE34}" presName="parentLin" presStyleCnt="0"/>
      <dgm:spPr/>
    </dgm:pt>
    <dgm:pt modelId="{01652856-29DD-4888-97C1-C7B2FCEF24C9}" type="pres">
      <dgm:prSet presAssocID="{DF8C36AC-D358-44C1-8CCF-864E48E9EE34}" presName="parentLeftMargin" presStyleLbl="node1" presStyleIdx="0" presStyleCnt="3"/>
      <dgm:spPr/>
    </dgm:pt>
    <dgm:pt modelId="{717BC3C2-DA22-4D51-A406-9086CACDDF9B}" type="pres">
      <dgm:prSet presAssocID="{DF8C36AC-D358-44C1-8CCF-864E48E9EE34}" presName="parentText" presStyleLbl="node1" presStyleIdx="0" presStyleCnt="3">
        <dgm:presLayoutVars>
          <dgm:chMax val="0"/>
          <dgm:bulletEnabled val="1"/>
        </dgm:presLayoutVars>
      </dgm:prSet>
      <dgm:spPr/>
    </dgm:pt>
    <dgm:pt modelId="{04A28FF3-818A-4AA3-9665-79EF4E644B0D}" type="pres">
      <dgm:prSet presAssocID="{DF8C36AC-D358-44C1-8CCF-864E48E9EE34}" presName="negativeSpace" presStyleCnt="0"/>
      <dgm:spPr/>
    </dgm:pt>
    <dgm:pt modelId="{42DD2E0E-F49E-4BE0-95A3-709CC9C0A47F}" type="pres">
      <dgm:prSet presAssocID="{DF8C36AC-D358-44C1-8CCF-864E48E9EE34}" presName="childText" presStyleLbl="conFgAcc1" presStyleIdx="0" presStyleCnt="3">
        <dgm:presLayoutVars>
          <dgm:bulletEnabled val="1"/>
        </dgm:presLayoutVars>
      </dgm:prSet>
      <dgm:spPr/>
    </dgm:pt>
    <dgm:pt modelId="{96D6F8AA-A05E-497C-B1A2-9318F555889E}" type="pres">
      <dgm:prSet presAssocID="{62C93ADB-50F5-4FEA-A9D2-CBD05A488FB7}" presName="spaceBetweenRectangles" presStyleCnt="0"/>
      <dgm:spPr/>
    </dgm:pt>
    <dgm:pt modelId="{5EDFE944-C54E-4409-BF67-DBDA9FFC256E}" type="pres">
      <dgm:prSet presAssocID="{277CB91B-1C42-48E8-9BA7-10FC79E64F8E}" presName="parentLin" presStyleCnt="0"/>
      <dgm:spPr/>
    </dgm:pt>
    <dgm:pt modelId="{87C4B48B-7C7D-4887-B26E-D734DA9A8C50}" type="pres">
      <dgm:prSet presAssocID="{277CB91B-1C42-48E8-9BA7-10FC79E64F8E}" presName="parentLeftMargin" presStyleLbl="node1" presStyleIdx="0" presStyleCnt="3"/>
      <dgm:spPr/>
    </dgm:pt>
    <dgm:pt modelId="{C8372599-BDA9-4E62-9184-ABA50695DEAE}" type="pres">
      <dgm:prSet presAssocID="{277CB91B-1C42-48E8-9BA7-10FC79E64F8E}" presName="parentText" presStyleLbl="node1" presStyleIdx="1" presStyleCnt="3">
        <dgm:presLayoutVars>
          <dgm:chMax val="0"/>
          <dgm:bulletEnabled val="1"/>
        </dgm:presLayoutVars>
      </dgm:prSet>
      <dgm:spPr/>
    </dgm:pt>
    <dgm:pt modelId="{242C1C7A-827F-45AF-84C9-2577967EF3C1}" type="pres">
      <dgm:prSet presAssocID="{277CB91B-1C42-48E8-9BA7-10FC79E64F8E}" presName="negativeSpace" presStyleCnt="0"/>
      <dgm:spPr/>
    </dgm:pt>
    <dgm:pt modelId="{6C17968B-3B40-4894-B40F-C49EEEEE87D3}" type="pres">
      <dgm:prSet presAssocID="{277CB91B-1C42-48E8-9BA7-10FC79E64F8E}" presName="childText" presStyleLbl="conFgAcc1" presStyleIdx="1" presStyleCnt="3">
        <dgm:presLayoutVars>
          <dgm:bulletEnabled val="1"/>
        </dgm:presLayoutVars>
      </dgm:prSet>
      <dgm:spPr/>
    </dgm:pt>
    <dgm:pt modelId="{6D9D424A-D22D-4A76-852C-DEFDD3829FDE}" type="pres">
      <dgm:prSet presAssocID="{93624452-662B-4F58-934A-EBE2E5B0D4AB}" presName="spaceBetweenRectangles" presStyleCnt="0"/>
      <dgm:spPr/>
    </dgm:pt>
    <dgm:pt modelId="{FF60C45A-813C-4053-A09D-7269275F80DB}" type="pres">
      <dgm:prSet presAssocID="{6F528CE6-C1A3-4D2B-81A0-CFCEB0EBAD90}" presName="parentLin" presStyleCnt="0"/>
      <dgm:spPr/>
    </dgm:pt>
    <dgm:pt modelId="{BAFEC78A-8DAD-47F6-AE20-1A6B32AC01A4}" type="pres">
      <dgm:prSet presAssocID="{6F528CE6-C1A3-4D2B-81A0-CFCEB0EBAD90}" presName="parentLeftMargin" presStyleLbl="node1" presStyleIdx="1" presStyleCnt="3"/>
      <dgm:spPr/>
    </dgm:pt>
    <dgm:pt modelId="{ECEB8BDC-F220-41C1-B502-A535EC67DE59}" type="pres">
      <dgm:prSet presAssocID="{6F528CE6-C1A3-4D2B-81A0-CFCEB0EBAD90}" presName="parentText" presStyleLbl="node1" presStyleIdx="2" presStyleCnt="3">
        <dgm:presLayoutVars>
          <dgm:chMax val="0"/>
          <dgm:bulletEnabled val="1"/>
        </dgm:presLayoutVars>
      </dgm:prSet>
      <dgm:spPr/>
    </dgm:pt>
    <dgm:pt modelId="{FE42D628-BBA6-4E36-AA67-F2E179A15711}" type="pres">
      <dgm:prSet presAssocID="{6F528CE6-C1A3-4D2B-81A0-CFCEB0EBAD90}" presName="negativeSpace" presStyleCnt="0"/>
      <dgm:spPr/>
    </dgm:pt>
    <dgm:pt modelId="{E42B4496-FBF8-4DC9-AF60-BFE77B144112}" type="pres">
      <dgm:prSet presAssocID="{6F528CE6-C1A3-4D2B-81A0-CFCEB0EBAD90}" presName="childText" presStyleLbl="conFgAcc1" presStyleIdx="2" presStyleCnt="3">
        <dgm:presLayoutVars>
          <dgm:bulletEnabled val="1"/>
        </dgm:presLayoutVars>
      </dgm:prSet>
      <dgm:spPr/>
    </dgm:pt>
  </dgm:ptLst>
  <dgm:cxnLst>
    <dgm:cxn modelId="{5B359128-2842-4D35-929A-0DAE9F9D4E6A}" type="presOf" srcId="{DF8C36AC-D358-44C1-8CCF-864E48E9EE34}" destId="{717BC3C2-DA22-4D51-A406-9086CACDDF9B}" srcOrd="1" destOrd="0" presId="urn:microsoft.com/office/officeart/2005/8/layout/list1"/>
    <dgm:cxn modelId="{8D6E092E-58C8-4D72-B870-0D2F549755C5}" srcId="{6F528CE6-C1A3-4D2B-81A0-CFCEB0EBAD90}" destId="{9A286409-755C-47F6-978F-0B1056CDF2D2}" srcOrd="0" destOrd="0" parTransId="{9291BA0D-48AB-4364-A092-0919F94C1470}" sibTransId="{EDFE8248-1123-45BE-80CC-ED04D63ECAF9}"/>
    <dgm:cxn modelId="{F1C85135-8472-433E-98BE-532497A42780}" srcId="{92CED47C-38E7-467C-8A1C-1BD722891462}" destId="{DF8C36AC-D358-44C1-8CCF-864E48E9EE34}" srcOrd="0" destOrd="0" parTransId="{77454E31-4BF7-45E4-A61C-C06BAD198ECF}" sibTransId="{62C93ADB-50F5-4FEA-A9D2-CBD05A488FB7}"/>
    <dgm:cxn modelId="{5AAC3F5E-EB53-4A02-A765-DB7A14E6B0D3}" type="presOf" srcId="{277CB91B-1C42-48E8-9BA7-10FC79E64F8E}" destId="{87C4B48B-7C7D-4887-B26E-D734DA9A8C50}" srcOrd="0" destOrd="0" presId="urn:microsoft.com/office/officeart/2005/8/layout/list1"/>
    <dgm:cxn modelId="{41173942-7DE3-462E-A271-C25408CAF3D6}" srcId="{6F528CE6-C1A3-4D2B-81A0-CFCEB0EBAD90}" destId="{9075E5B6-6EF2-49E8-806D-C13B78EC7083}" srcOrd="2" destOrd="0" parTransId="{F6965F9E-AAEB-43AE-ABBC-69C504279913}" sibTransId="{E73C8B72-0821-411A-B39A-93A07A83F8CE}"/>
    <dgm:cxn modelId="{6F4B9142-F26B-4E19-B176-465D423D2D6C}" type="presOf" srcId="{78D4CC8F-2595-4059-ACA1-7005FE483A37}" destId="{6C17968B-3B40-4894-B40F-C49EEEEE87D3}" srcOrd="0" destOrd="0" presId="urn:microsoft.com/office/officeart/2005/8/layout/list1"/>
    <dgm:cxn modelId="{A4840D67-0BAC-40E3-90B7-F3A9433F742F}" type="presOf" srcId="{277CB91B-1C42-48E8-9BA7-10FC79E64F8E}" destId="{C8372599-BDA9-4E62-9184-ABA50695DEAE}" srcOrd="1" destOrd="0" presId="urn:microsoft.com/office/officeart/2005/8/layout/list1"/>
    <dgm:cxn modelId="{CC701249-EF12-4D6D-A9F9-1CB56D92EFF4}" type="presOf" srcId="{FFB33C6C-604C-42F7-A606-41992BB7B273}" destId="{6C17968B-3B40-4894-B40F-C49EEEEE87D3}" srcOrd="0" destOrd="1" presId="urn:microsoft.com/office/officeart/2005/8/layout/list1"/>
    <dgm:cxn modelId="{11C5787B-AACF-44B7-916B-F5B2B4E6B518}" type="presOf" srcId="{6F528CE6-C1A3-4D2B-81A0-CFCEB0EBAD90}" destId="{BAFEC78A-8DAD-47F6-AE20-1A6B32AC01A4}" srcOrd="0" destOrd="0" presId="urn:microsoft.com/office/officeart/2005/8/layout/list1"/>
    <dgm:cxn modelId="{66FFAB84-4B47-48BD-883A-D4B13B6A299A}" type="presOf" srcId="{F521A60E-AF20-4BC8-BB3E-652F6286D34A}" destId="{E42B4496-FBF8-4DC9-AF60-BFE77B144112}" srcOrd="0" destOrd="1" presId="urn:microsoft.com/office/officeart/2005/8/layout/list1"/>
    <dgm:cxn modelId="{4FCE7C92-D06E-417F-8E44-A664565D79CE}" srcId="{277CB91B-1C42-48E8-9BA7-10FC79E64F8E}" destId="{78D4CC8F-2595-4059-ACA1-7005FE483A37}" srcOrd="0" destOrd="0" parTransId="{A251C99C-8B3D-40DF-81A9-D7542C43875E}" sibTransId="{881FC4F4-45E5-4ACC-B91A-47999364CD20}"/>
    <dgm:cxn modelId="{79D29092-2553-496F-B171-A1CC95E66FDE}" type="presOf" srcId="{9A286409-755C-47F6-978F-0B1056CDF2D2}" destId="{E42B4496-FBF8-4DC9-AF60-BFE77B144112}" srcOrd="0" destOrd="0" presId="urn:microsoft.com/office/officeart/2005/8/layout/list1"/>
    <dgm:cxn modelId="{146057B6-9A00-43E4-9516-12A6E1ECC126}" type="presOf" srcId="{9075E5B6-6EF2-49E8-806D-C13B78EC7083}" destId="{E42B4496-FBF8-4DC9-AF60-BFE77B144112}" srcOrd="0" destOrd="2" presId="urn:microsoft.com/office/officeart/2005/8/layout/list1"/>
    <dgm:cxn modelId="{07D213BB-362D-4146-B0ED-D8CC3F3F30C5}" srcId="{6F528CE6-C1A3-4D2B-81A0-CFCEB0EBAD90}" destId="{F521A60E-AF20-4BC8-BB3E-652F6286D34A}" srcOrd="1" destOrd="0" parTransId="{B9351DEB-1B71-494B-81A5-B8A2DF00679D}" sibTransId="{50985435-0157-41A4-B0CC-BC30B5F0CED9}"/>
    <dgm:cxn modelId="{93F39FD1-3FEE-46F2-A092-3BE637CF47C2}" type="presOf" srcId="{DF8C36AC-D358-44C1-8CCF-864E48E9EE34}" destId="{01652856-29DD-4888-97C1-C7B2FCEF24C9}" srcOrd="0" destOrd="0" presId="urn:microsoft.com/office/officeart/2005/8/layout/list1"/>
    <dgm:cxn modelId="{E68446D2-05B5-4B49-B805-398635ECE682}" srcId="{277CB91B-1C42-48E8-9BA7-10FC79E64F8E}" destId="{FFB33C6C-604C-42F7-A606-41992BB7B273}" srcOrd="1" destOrd="0" parTransId="{A511A51C-4349-441D-944D-FF59FA4FB161}" sibTransId="{6FC18807-B113-420F-BF26-2EF6707E77EF}"/>
    <dgm:cxn modelId="{B88307E1-DB9A-4185-9FD6-DC8C1FDCC158}" type="presOf" srcId="{92CED47C-38E7-467C-8A1C-1BD722891462}" destId="{7DE4044A-91ED-4C0D-84FC-AFAFFCE36CC7}" srcOrd="0" destOrd="0" presId="urn:microsoft.com/office/officeart/2005/8/layout/list1"/>
    <dgm:cxn modelId="{CD55C8EE-6BEA-46C3-818B-26ED62FFC339}" type="presOf" srcId="{7DB66FD1-DB95-4E83-9973-27B94C4E32F0}" destId="{42DD2E0E-F49E-4BE0-95A3-709CC9C0A47F}" srcOrd="0" destOrd="0" presId="urn:microsoft.com/office/officeart/2005/8/layout/list1"/>
    <dgm:cxn modelId="{B6080AEF-5965-4743-A061-CDC32CC39582}" srcId="{92CED47C-38E7-467C-8A1C-1BD722891462}" destId="{6F528CE6-C1A3-4D2B-81A0-CFCEB0EBAD90}" srcOrd="2" destOrd="0" parTransId="{62346CA0-5B88-4CE8-914A-B6CEB57871F1}" sibTransId="{45C9E60D-23B6-41EB-9B7D-9BC15733F6D1}"/>
    <dgm:cxn modelId="{D091DFF4-39E8-4F5A-B8FF-9951A0C5E310}" srcId="{DF8C36AC-D358-44C1-8CCF-864E48E9EE34}" destId="{7DB66FD1-DB95-4E83-9973-27B94C4E32F0}" srcOrd="0" destOrd="0" parTransId="{8ADBA68A-2F57-443B-A36D-89F41C697784}" sibTransId="{CBC0D908-B9A4-4932-BF1F-5715E8C42184}"/>
    <dgm:cxn modelId="{D482A1F7-F7A7-4E48-8920-DC2DA4AAD8EB}" type="presOf" srcId="{6F528CE6-C1A3-4D2B-81A0-CFCEB0EBAD90}" destId="{ECEB8BDC-F220-41C1-B502-A535EC67DE59}" srcOrd="1" destOrd="0" presId="urn:microsoft.com/office/officeart/2005/8/layout/list1"/>
    <dgm:cxn modelId="{DBC449FF-D23E-4F26-BCA7-82B94996073D}" srcId="{92CED47C-38E7-467C-8A1C-1BD722891462}" destId="{277CB91B-1C42-48E8-9BA7-10FC79E64F8E}" srcOrd="1" destOrd="0" parTransId="{03D7C569-4529-4991-A0C2-8E79BCD76571}" sibTransId="{93624452-662B-4F58-934A-EBE2E5B0D4AB}"/>
    <dgm:cxn modelId="{09F53ED3-3E30-4843-9459-DF1F83A8B832}" type="presParOf" srcId="{7DE4044A-91ED-4C0D-84FC-AFAFFCE36CC7}" destId="{0AF318F5-4834-4567-8FBD-BAC7ADA6E4BF}" srcOrd="0" destOrd="0" presId="urn:microsoft.com/office/officeart/2005/8/layout/list1"/>
    <dgm:cxn modelId="{5EEF49D1-D4B3-418E-A942-9E840DB6F428}" type="presParOf" srcId="{0AF318F5-4834-4567-8FBD-BAC7ADA6E4BF}" destId="{01652856-29DD-4888-97C1-C7B2FCEF24C9}" srcOrd="0" destOrd="0" presId="urn:microsoft.com/office/officeart/2005/8/layout/list1"/>
    <dgm:cxn modelId="{985E953E-8F21-45F4-9D51-7E9338B51015}" type="presParOf" srcId="{0AF318F5-4834-4567-8FBD-BAC7ADA6E4BF}" destId="{717BC3C2-DA22-4D51-A406-9086CACDDF9B}" srcOrd="1" destOrd="0" presId="urn:microsoft.com/office/officeart/2005/8/layout/list1"/>
    <dgm:cxn modelId="{17671D16-D2CF-4C2D-A900-5BBD308A5D89}" type="presParOf" srcId="{7DE4044A-91ED-4C0D-84FC-AFAFFCE36CC7}" destId="{04A28FF3-818A-4AA3-9665-79EF4E644B0D}" srcOrd="1" destOrd="0" presId="urn:microsoft.com/office/officeart/2005/8/layout/list1"/>
    <dgm:cxn modelId="{10768692-C332-4140-A398-01DF8B2D1F4F}" type="presParOf" srcId="{7DE4044A-91ED-4C0D-84FC-AFAFFCE36CC7}" destId="{42DD2E0E-F49E-4BE0-95A3-709CC9C0A47F}" srcOrd="2" destOrd="0" presId="urn:microsoft.com/office/officeart/2005/8/layout/list1"/>
    <dgm:cxn modelId="{85BFD010-6E29-43C7-BAE4-046B93AEA0DE}" type="presParOf" srcId="{7DE4044A-91ED-4C0D-84FC-AFAFFCE36CC7}" destId="{96D6F8AA-A05E-497C-B1A2-9318F555889E}" srcOrd="3" destOrd="0" presId="urn:microsoft.com/office/officeart/2005/8/layout/list1"/>
    <dgm:cxn modelId="{59D22BC3-1890-494D-98DD-604040A11C3D}" type="presParOf" srcId="{7DE4044A-91ED-4C0D-84FC-AFAFFCE36CC7}" destId="{5EDFE944-C54E-4409-BF67-DBDA9FFC256E}" srcOrd="4" destOrd="0" presId="urn:microsoft.com/office/officeart/2005/8/layout/list1"/>
    <dgm:cxn modelId="{88852E13-03E1-4734-BA9F-98E699CE0CB6}" type="presParOf" srcId="{5EDFE944-C54E-4409-BF67-DBDA9FFC256E}" destId="{87C4B48B-7C7D-4887-B26E-D734DA9A8C50}" srcOrd="0" destOrd="0" presId="urn:microsoft.com/office/officeart/2005/8/layout/list1"/>
    <dgm:cxn modelId="{87A8D5FC-AA96-4E2A-B073-DAAE24950037}" type="presParOf" srcId="{5EDFE944-C54E-4409-BF67-DBDA9FFC256E}" destId="{C8372599-BDA9-4E62-9184-ABA50695DEAE}" srcOrd="1" destOrd="0" presId="urn:microsoft.com/office/officeart/2005/8/layout/list1"/>
    <dgm:cxn modelId="{D189F984-13F3-42EA-A8B0-FA0FC8F953AE}" type="presParOf" srcId="{7DE4044A-91ED-4C0D-84FC-AFAFFCE36CC7}" destId="{242C1C7A-827F-45AF-84C9-2577967EF3C1}" srcOrd="5" destOrd="0" presId="urn:microsoft.com/office/officeart/2005/8/layout/list1"/>
    <dgm:cxn modelId="{98AF39CF-9331-4D14-BDD2-7A22D7BEA6B8}" type="presParOf" srcId="{7DE4044A-91ED-4C0D-84FC-AFAFFCE36CC7}" destId="{6C17968B-3B40-4894-B40F-C49EEEEE87D3}" srcOrd="6" destOrd="0" presId="urn:microsoft.com/office/officeart/2005/8/layout/list1"/>
    <dgm:cxn modelId="{61B7AB10-C5FE-4B10-8EF2-E0322B1DD4C8}" type="presParOf" srcId="{7DE4044A-91ED-4C0D-84FC-AFAFFCE36CC7}" destId="{6D9D424A-D22D-4A76-852C-DEFDD3829FDE}" srcOrd="7" destOrd="0" presId="urn:microsoft.com/office/officeart/2005/8/layout/list1"/>
    <dgm:cxn modelId="{1B2F4C36-BDA1-4361-87AF-D7088B7BFF34}" type="presParOf" srcId="{7DE4044A-91ED-4C0D-84FC-AFAFFCE36CC7}" destId="{FF60C45A-813C-4053-A09D-7269275F80DB}" srcOrd="8" destOrd="0" presId="urn:microsoft.com/office/officeart/2005/8/layout/list1"/>
    <dgm:cxn modelId="{02E49065-241D-43E9-8E27-DEA1758DEA9A}" type="presParOf" srcId="{FF60C45A-813C-4053-A09D-7269275F80DB}" destId="{BAFEC78A-8DAD-47F6-AE20-1A6B32AC01A4}" srcOrd="0" destOrd="0" presId="urn:microsoft.com/office/officeart/2005/8/layout/list1"/>
    <dgm:cxn modelId="{E3FA561A-B8EA-4A2E-AF9A-4B91CCE912FD}" type="presParOf" srcId="{FF60C45A-813C-4053-A09D-7269275F80DB}" destId="{ECEB8BDC-F220-41C1-B502-A535EC67DE59}" srcOrd="1" destOrd="0" presId="urn:microsoft.com/office/officeart/2005/8/layout/list1"/>
    <dgm:cxn modelId="{68C5A0DF-12A4-49F5-91E1-56C80894EABD}" type="presParOf" srcId="{7DE4044A-91ED-4C0D-84FC-AFAFFCE36CC7}" destId="{FE42D628-BBA6-4E36-AA67-F2E179A15711}" srcOrd="9" destOrd="0" presId="urn:microsoft.com/office/officeart/2005/8/layout/list1"/>
    <dgm:cxn modelId="{4A4A0B5E-82F7-487D-9372-E88E918B72F6}" type="presParOf" srcId="{7DE4044A-91ED-4C0D-84FC-AFAFFCE36CC7}" destId="{E42B4496-FBF8-4DC9-AF60-BFE77B144112}" srcOrd="10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E03B6A9-F94C-4A77-A29A-B77184017A6D}" type="doc">
      <dgm:prSet loTypeId="urn:microsoft.com/office/officeart/2005/8/layout/v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F5765D1B-45E4-4607-A9AB-97F27398A985}">
      <dgm:prSet phldr="0"/>
      <dgm:spPr/>
      <dgm:t>
        <a:bodyPr/>
        <a:lstStyle/>
        <a:p>
          <a:pPr rtl="0"/>
          <a:r>
            <a:rPr lang="en-US" b="1" dirty="0">
              <a:latin typeface="Calibri" panose="020F0502020204030204"/>
            </a:rPr>
            <a:t>What key PVB Strategies are you using/could you use to address these challenges? What help do you need?</a:t>
          </a:r>
        </a:p>
      </dgm:t>
    </dgm:pt>
    <dgm:pt modelId="{0D977020-5311-4F8E-AEC0-5A5E4FBF1E09}" type="parTrans" cxnId="{04846550-E726-4208-B2CA-D685CFF0B5AC}">
      <dgm:prSet/>
      <dgm:spPr/>
      <dgm:t>
        <a:bodyPr/>
        <a:lstStyle/>
        <a:p>
          <a:endParaRPr lang="en-US"/>
        </a:p>
      </dgm:t>
    </dgm:pt>
    <dgm:pt modelId="{CC5D5288-A82A-4AAE-806C-6E8F09E5E920}" type="sibTrans" cxnId="{04846550-E726-4208-B2CA-D685CFF0B5AC}">
      <dgm:prSet/>
      <dgm:spPr/>
      <dgm:t>
        <a:bodyPr/>
        <a:lstStyle/>
        <a:p>
          <a:endParaRPr lang="en-US"/>
        </a:p>
      </dgm:t>
    </dgm:pt>
    <dgm:pt modelId="{F5941149-78FA-49AD-AECA-B42DC28DE201}">
      <dgm:prSet phldrT="[Text]"/>
      <dgm:spPr/>
      <dgm:t>
        <a:bodyPr/>
        <a:lstStyle/>
        <a:p>
          <a:pPr rtl="0"/>
          <a:r>
            <a:rPr lang="en-US" b="1" dirty="0">
              <a:latin typeface="Calibri" panose="020F0502020204030204"/>
            </a:rPr>
            <a:t>What challenges are you facing achieving PVB goals?</a:t>
          </a:r>
        </a:p>
      </dgm:t>
    </dgm:pt>
    <dgm:pt modelId="{C026633D-4246-4E37-8C39-6B2B8E93645C}" type="parTrans" cxnId="{6D8DBEC3-9367-42BE-AC0E-54D6AEE81C29}">
      <dgm:prSet/>
      <dgm:spPr/>
      <dgm:t>
        <a:bodyPr/>
        <a:lstStyle/>
        <a:p>
          <a:endParaRPr lang="en-US"/>
        </a:p>
      </dgm:t>
    </dgm:pt>
    <dgm:pt modelId="{5B00DA48-9561-4649-9BA8-622AE0BA33F5}" type="sibTrans" cxnId="{6D8DBEC3-9367-42BE-AC0E-54D6AEE81C29}">
      <dgm:prSet/>
      <dgm:spPr/>
      <dgm:t>
        <a:bodyPr/>
        <a:lstStyle/>
        <a:p>
          <a:endParaRPr lang="en-US"/>
        </a:p>
      </dgm:t>
    </dgm:pt>
    <dgm:pt modelId="{B7D45400-93B1-45E6-94F3-97AA93903970}">
      <dgm:prSet phldrT="[Text]"/>
      <dgm:spPr/>
      <dgm:t>
        <a:bodyPr/>
        <a:lstStyle/>
        <a:p>
          <a:pPr rtl="0"/>
          <a:r>
            <a:rPr lang="en-US" b="1" dirty="0">
              <a:latin typeface="Calibri" panose="020F0502020204030204"/>
            </a:rPr>
            <a:t>What Successes have you had with PVB?</a:t>
          </a:r>
        </a:p>
      </dgm:t>
    </dgm:pt>
    <dgm:pt modelId="{0A249834-E9FF-48F4-9DED-25185CA671C1}" type="parTrans" cxnId="{A595FCC3-5B33-4967-A17C-CC8229AA8D5E}">
      <dgm:prSet/>
      <dgm:spPr/>
      <dgm:t>
        <a:bodyPr/>
        <a:lstStyle/>
        <a:p>
          <a:endParaRPr lang="en-US"/>
        </a:p>
      </dgm:t>
    </dgm:pt>
    <dgm:pt modelId="{ED1208F1-C3C9-42E0-B14C-8EA600B06A76}" type="sibTrans" cxnId="{A595FCC3-5B33-4967-A17C-CC8229AA8D5E}">
      <dgm:prSet/>
      <dgm:spPr/>
      <dgm:t>
        <a:bodyPr/>
        <a:lstStyle/>
        <a:p>
          <a:endParaRPr lang="en-US"/>
        </a:p>
      </dgm:t>
    </dgm:pt>
    <dgm:pt modelId="{72D91565-C3BD-4CFF-90D8-52B973496821}" type="pres">
      <dgm:prSet presAssocID="{4E03B6A9-F94C-4A77-A29A-B77184017A6D}" presName="linearFlow" presStyleCnt="0">
        <dgm:presLayoutVars>
          <dgm:dir/>
          <dgm:resizeHandles val="exact"/>
        </dgm:presLayoutVars>
      </dgm:prSet>
      <dgm:spPr/>
    </dgm:pt>
    <dgm:pt modelId="{62C6A9AA-D3AC-4469-BB78-52FA0A237DF1}" type="pres">
      <dgm:prSet presAssocID="{B7D45400-93B1-45E6-94F3-97AA93903970}" presName="composite" presStyleCnt="0"/>
      <dgm:spPr/>
    </dgm:pt>
    <dgm:pt modelId="{A2A3DEF2-ED41-403B-946F-609CCC40DA75}" type="pres">
      <dgm:prSet presAssocID="{B7D45400-93B1-45E6-94F3-97AA93903970}" presName="imgShp" presStyleLbl="fgImgPlace1" presStyleIdx="0" presStyleCnt="3"/>
      <dgm:spPr/>
    </dgm:pt>
    <dgm:pt modelId="{594C1895-6830-433C-8284-A812462C85F7}" type="pres">
      <dgm:prSet presAssocID="{B7D45400-93B1-45E6-94F3-97AA93903970}" presName="txShp" presStyleLbl="node1" presStyleIdx="0" presStyleCnt="3">
        <dgm:presLayoutVars>
          <dgm:bulletEnabled val="1"/>
        </dgm:presLayoutVars>
      </dgm:prSet>
      <dgm:spPr/>
    </dgm:pt>
    <dgm:pt modelId="{5FB1BBCD-7795-4112-97D2-79FF3EAF30B6}" type="pres">
      <dgm:prSet presAssocID="{ED1208F1-C3C9-42E0-B14C-8EA600B06A76}" presName="spacing" presStyleCnt="0"/>
      <dgm:spPr/>
    </dgm:pt>
    <dgm:pt modelId="{61E5D469-8EE9-4D94-A86A-6629AE36C5B1}" type="pres">
      <dgm:prSet presAssocID="{F5941149-78FA-49AD-AECA-B42DC28DE201}" presName="composite" presStyleCnt="0"/>
      <dgm:spPr/>
    </dgm:pt>
    <dgm:pt modelId="{8229484D-4C6F-4FAA-A0DC-60437E2A6266}" type="pres">
      <dgm:prSet presAssocID="{F5941149-78FA-49AD-AECA-B42DC28DE201}" presName="imgShp" presStyleLbl="fgImgPlace1" presStyleIdx="1" presStyleCnt="3"/>
      <dgm:spPr/>
    </dgm:pt>
    <dgm:pt modelId="{51CD1F7F-A3CD-4CBC-840A-3BF4371A5641}" type="pres">
      <dgm:prSet presAssocID="{F5941149-78FA-49AD-AECA-B42DC28DE201}" presName="txShp" presStyleLbl="node1" presStyleIdx="1" presStyleCnt="3">
        <dgm:presLayoutVars>
          <dgm:bulletEnabled val="1"/>
        </dgm:presLayoutVars>
      </dgm:prSet>
      <dgm:spPr/>
    </dgm:pt>
    <dgm:pt modelId="{0D5DADEE-4C4B-481D-91E1-49A4169DC24A}" type="pres">
      <dgm:prSet presAssocID="{5B00DA48-9561-4649-9BA8-622AE0BA33F5}" presName="spacing" presStyleCnt="0"/>
      <dgm:spPr/>
    </dgm:pt>
    <dgm:pt modelId="{ECACD2C5-A37E-40B1-9A48-5F67B6FD70A8}" type="pres">
      <dgm:prSet presAssocID="{F5765D1B-45E4-4607-A9AB-97F27398A985}" presName="composite" presStyleCnt="0"/>
      <dgm:spPr/>
    </dgm:pt>
    <dgm:pt modelId="{1F908206-0BB1-4350-A49C-B1F6915A7350}" type="pres">
      <dgm:prSet presAssocID="{F5765D1B-45E4-4607-A9AB-97F27398A985}" presName="imgShp" presStyleLbl="fgImgPlace1" presStyleIdx="2" presStyleCnt="3"/>
      <dgm:spPr/>
    </dgm:pt>
    <dgm:pt modelId="{83D99116-8C27-4BA5-95B3-E214CA81ABC0}" type="pres">
      <dgm:prSet presAssocID="{F5765D1B-45E4-4607-A9AB-97F27398A985}" presName="txShp" presStyleLbl="node1" presStyleIdx="2" presStyleCnt="3">
        <dgm:presLayoutVars>
          <dgm:bulletEnabled val="1"/>
        </dgm:presLayoutVars>
      </dgm:prSet>
      <dgm:spPr/>
    </dgm:pt>
  </dgm:ptLst>
  <dgm:cxnLst>
    <dgm:cxn modelId="{1947BE05-79E7-43CB-86E3-C8278780E7C0}" type="presOf" srcId="{B7D45400-93B1-45E6-94F3-97AA93903970}" destId="{594C1895-6830-433C-8284-A812462C85F7}" srcOrd="0" destOrd="0" presId="urn:microsoft.com/office/officeart/2005/8/layout/vList3"/>
    <dgm:cxn modelId="{DD8E990F-117F-4E1F-B586-22E65B20E6E3}" type="presOf" srcId="{4E03B6A9-F94C-4A77-A29A-B77184017A6D}" destId="{72D91565-C3BD-4CFF-90D8-52B973496821}" srcOrd="0" destOrd="0" presId="urn:microsoft.com/office/officeart/2005/8/layout/vList3"/>
    <dgm:cxn modelId="{37117330-016F-4CA1-BDAC-BEE24C1E5D91}" type="presOf" srcId="{F5941149-78FA-49AD-AECA-B42DC28DE201}" destId="{51CD1F7F-A3CD-4CBC-840A-3BF4371A5641}" srcOrd="0" destOrd="0" presId="urn:microsoft.com/office/officeart/2005/8/layout/vList3"/>
    <dgm:cxn modelId="{04846550-E726-4208-B2CA-D685CFF0B5AC}" srcId="{4E03B6A9-F94C-4A77-A29A-B77184017A6D}" destId="{F5765D1B-45E4-4607-A9AB-97F27398A985}" srcOrd="2" destOrd="0" parTransId="{0D977020-5311-4F8E-AEC0-5A5E4FBF1E09}" sibTransId="{CC5D5288-A82A-4AAE-806C-6E8F09E5E920}"/>
    <dgm:cxn modelId="{6D8DBEC3-9367-42BE-AC0E-54D6AEE81C29}" srcId="{4E03B6A9-F94C-4A77-A29A-B77184017A6D}" destId="{F5941149-78FA-49AD-AECA-B42DC28DE201}" srcOrd="1" destOrd="0" parTransId="{C026633D-4246-4E37-8C39-6B2B8E93645C}" sibTransId="{5B00DA48-9561-4649-9BA8-622AE0BA33F5}"/>
    <dgm:cxn modelId="{A595FCC3-5B33-4967-A17C-CC8229AA8D5E}" srcId="{4E03B6A9-F94C-4A77-A29A-B77184017A6D}" destId="{B7D45400-93B1-45E6-94F3-97AA93903970}" srcOrd="0" destOrd="0" parTransId="{0A249834-E9FF-48F4-9DED-25185CA671C1}" sibTransId="{ED1208F1-C3C9-42E0-B14C-8EA600B06A76}"/>
    <dgm:cxn modelId="{D47376CC-19B2-4560-8481-0B81FA4F3B62}" type="presOf" srcId="{F5765D1B-45E4-4607-A9AB-97F27398A985}" destId="{83D99116-8C27-4BA5-95B3-E214CA81ABC0}" srcOrd="0" destOrd="0" presId="urn:microsoft.com/office/officeart/2005/8/layout/vList3"/>
    <dgm:cxn modelId="{56BB8800-64CE-481A-9166-08361980AE8F}" type="presParOf" srcId="{72D91565-C3BD-4CFF-90D8-52B973496821}" destId="{62C6A9AA-D3AC-4469-BB78-52FA0A237DF1}" srcOrd="0" destOrd="0" presId="urn:microsoft.com/office/officeart/2005/8/layout/vList3"/>
    <dgm:cxn modelId="{A3F88638-DC3B-465A-9985-5D79366B9A3E}" type="presParOf" srcId="{62C6A9AA-D3AC-4469-BB78-52FA0A237DF1}" destId="{A2A3DEF2-ED41-403B-946F-609CCC40DA75}" srcOrd="0" destOrd="0" presId="urn:microsoft.com/office/officeart/2005/8/layout/vList3"/>
    <dgm:cxn modelId="{2A47BB5A-CA86-4053-A622-418E62E8074B}" type="presParOf" srcId="{62C6A9AA-D3AC-4469-BB78-52FA0A237DF1}" destId="{594C1895-6830-433C-8284-A812462C85F7}" srcOrd="1" destOrd="0" presId="urn:microsoft.com/office/officeart/2005/8/layout/vList3"/>
    <dgm:cxn modelId="{436CD29E-A653-46CB-9D18-CAC3A39215D1}" type="presParOf" srcId="{72D91565-C3BD-4CFF-90D8-52B973496821}" destId="{5FB1BBCD-7795-4112-97D2-79FF3EAF30B6}" srcOrd="1" destOrd="0" presId="urn:microsoft.com/office/officeart/2005/8/layout/vList3"/>
    <dgm:cxn modelId="{7C73E7C2-0C87-4808-8210-E1BE29252FA0}" type="presParOf" srcId="{72D91565-C3BD-4CFF-90D8-52B973496821}" destId="{61E5D469-8EE9-4D94-A86A-6629AE36C5B1}" srcOrd="2" destOrd="0" presId="urn:microsoft.com/office/officeart/2005/8/layout/vList3"/>
    <dgm:cxn modelId="{83665170-3DE8-4A35-BCAA-2DFB953934D8}" type="presParOf" srcId="{61E5D469-8EE9-4D94-A86A-6629AE36C5B1}" destId="{8229484D-4C6F-4FAA-A0DC-60437E2A6266}" srcOrd="0" destOrd="0" presId="urn:microsoft.com/office/officeart/2005/8/layout/vList3"/>
    <dgm:cxn modelId="{4BABC68C-A763-42C0-9C25-9B5A017A69F8}" type="presParOf" srcId="{61E5D469-8EE9-4D94-A86A-6629AE36C5B1}" destId="{51CD1F7F-A3CD-4CBC-840A-3BF4371A5641}" srcOrd="1" destOrd="0" presId="urn:microsoft.com/office/officeart/2005/8/layout/vList3"/>
    <dgm:cxn modelId="{D045B38F-5B40-4536-BB15-E868DC5D6681}" type="presParOf" srcId="{72D91565-C3BD-4CFF-90D8-52B973496821}" destId="{0D5DADEE-4C4B-481D-91E1-49A4169DC24A}" srcOrd="3" destOrd="0" presId="urn:microsoft.com/office/officeart/2005/8/layout/vList3"/>
    <dgm:cxn modelId="{806FC9FF-A6B2-44AE-9166-0B39D0A1200C}" type="presParOf" srcId="{72D91565-C3BD-4CFF-90D8-52B973496821}" destId="{ECACD2C5-A37E-40B1-9A48-5F67B6FD70A8}" srcOrd="4" destOrd="0" presId="urn:microsoft.com/office/officeart/2005/8/layout/vList3"/>
    <dgm:cxn modelId="{A2C69741-5062-4823-8F8C-06BF43C9A6DC}" type="presParOf" srcId="{ECACD2C5-A37E-40B1-9A48-5F67B6FD70A8}" destId="{1F908206-0BB1-4350-A49C-B1F6915A7350}" srcOrd="0" destOrd="0" presId="urn:microsoft.com/office/officeart/2005/8/layout/vList3"/>
    <dgm:cxn modelId="{3142D9DE-AC12-4BFF-9006-FF5FA6380210}" type="presParOf" srcId="{ECACD2C5-A37E-40B1-9A48-5F67B6FD70A8}" destId="{83D99116-8C27-4BA5-95B3-E214CA81ABC0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611F59D7-E5F4-4AE3-BE3C-6FCE41E47296}" type="doc">
      <dgm:prSet loTypeId="urn:microsoft.com/office/officeart/2005/8/layout/vList2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n-US"/>
        </a:p>
      </dgm:t>
    </dgm:pt>
    <dgm:pt modelId="{A8520132-1866-4B8E-ABA0-1CAA9724C3DA}">
      <dgm:prSet/>
      <dgm:spPr/>
      <dgm:t>
        <a:bodyPr/>
        <a:lstStyle/>
        <a:p>
          <a:r>
            <a:rPr lang="en-US" b="0" i="0" dirty="0"/>
            <a:t>On the next slide is a list of breakout session Assignments. </a:t>
          </a:r>
          <a:endParaRPr lang="en-US" dirty="0"/>
        </a:p>
      </dgm:t>
    </dgm:pt>
    <dgm:pt modelId="{26473E5F-0514-4CA3-AD34-2D11741B154E}" type="parTrans" cxnId="{C3E6188E-21D3-481D-B00D-7B994113F726}">
      <dgm:prSet/>
      <dgm:spPr/>
      <dgm:t>
        <a:bodyPr/>
        <a:lstStyle/>
        <a:p>
          <a:endParaRPr lang="en-US"/>
        </a:p>
      </dgm:t>
    </dgm:pt>
    <dgm:pt modelId="{8E63FDB6-2358-4C7D-BF36-9C6AED1D5D6C}" type="sibTrans" cxnId="{C3E6188E-21D3-481D-B00D-7B994113F726}">
      <dgm:prSet/>
      <dgm:spPr/>
      <dgm:t>
        <a:bodyPr/>
        <a:lstStyle/>
        <a:p>
          <a:endParaRPr lang="en-US"/>
        </a:p>
      </dgm:t>
    </dgm:pt>
    <dgm:pt modelId="{32DA1D81-2F56-45A7-942B-443CB5DEF16E}">
      <dgm:prSet/>
      <dgm:spPr/>
      <dgm:t>
        <a:bodyPr/>
        <a:lstStyle/>
        <a:p>
          <a:r>
            <a:rPr lang="en-US" b="0" i="0" dirty="0"/>
            <a:t>Click on the breakout session your hospital is assigned to</a:t>
          </a:r>
          <a:endParaRPr lang="en-US" dirty="0"/>
        </a:p>
      </dgm:t>
    </dgm:pt>
    <dgm:pt modelId="{FF16A72A-C64E-48B2-8E27-74B78DC1E2F5}" type="parTrans" cxnId="{B63256B5-070F-4D0A-83D8-BD3FF061ACA1}">
      <dgm:prSet/>
      <dgm:spPr/>
      <dgm:t>
        <a:bodyPr/>
        <a:lstStyle/>
        <a:p>
          <a:endParaRPr lang="en-US"/>
        </a:p>
      </dgm:t>
    </dgm:pt>
    <dgm:pt modelId="{6DFB16BB-4277-4594-951A-7BF432E862B4}" type="sibTrans" cxnId="{B63256B5-070F-4D0A-83D8-BD3FF061ACA1}">
      <dgm:prSet/>
      <dgm:spPr/>
      <dgm:t>
        <a:bodyPr/>
        <a:lstStyle/>
        <a:p>
          <a:endParaRPr lang="en-US"/>
        </a:p>
      </dgm:t>
    </dgm:pt>
    <dgm:pt modelId="{0B2DF2D9-1C83-4851-8D29-5F577CAA6BB9}">
      <dgm:prSet/>
      <dgm:spPr/>
      <dgm:t>
        <a:bodyPr/>
        <a:lstStyle/>
        <a:p>
          <a:r>
            <a:rPr lang="en-US" b="0" i="0" dirty="0"/>
            <a:t>If you have any trouble, let us know in the chat</a:t>
          </a:r>
          <a:endParaRPr lang="en-US" dirty="0"/>
        </a:p>
      </dgm:t>
    </dgm:pt>
    <dgm:pt modelId="{1DB44C33-6216-4AA1-87F4-08C876A2876F}" type="parTrans" cxnId="{62164732-B257-4D56-BE04-F0CC5F84B9B6}">
      <dgm:prSet/>
      <dgm:spPr/>
      <dgm:t>
        <a:bodyPr/>
        <a:lstStyle/>
        <a:p>
          <a:endParaRPr lang="en-US"/>
        </a:p>
      </dgm:t>
    </dgm:pt>
    <dgm:pt modelId="{4B1B4610-B4CC-4BCA-9800-61FE0076B9F8}" type="sibTrans" cxnId="{62164732-B257-4D56-BE04-F0CC5F84B9B6}">
      <dgm:prSet/>
      <dgm:spPr/>
      <dgm:t>
        <a:bodyPr/>
        <a:lstStyle/>
        <a:p>
          <a:endParaRPr lang="en-US"/>
        </a:p>
      </dgm:t>
    </dgm:pt>
    <dgm:pt modelId="{3E24FA81-1EE0-4A7A-9C56-27E2EB2EB1C3}">
      <dgm:prSet phldr="0"/>
      <dgm:spPr/>
      <dgm:t>
        <a:bodyPr/>
        <a:lstStyle/>
        <a:p>
          <a:pPr rtl="0"/>
          <a:r>
            <a:rPr lang="en-US">
              <a:latin typeface="Calibri" panose="020F0502020204030204"/>
            </a:rPr>
            <a:t>Rejoin the Main</a:t>
          </a:r>
          <a:r>
            <a:rPr lang="en-US" dirty="0">
              <a:latin typeface="Calibri" panose="020F0502020204030204"/>
            </a:rPr>
            <a:t> room at 1:25 to debrief</a:t>
          </a:r>
        </a:p>
      </dgm:t>
    </dgm:pt>
    <dgm:pt modelId="{D64AF93B-79DF-4928-9BB3-AD3C93B8E26C}" type="parTrans" cxnId="{4E23AA52-8A2B-4A91-B35F-0529F7FAC8AA}">
      <dgm:prSet/>
      <dgm:spPr/>
    </dgm:pt>
    <dgm:pt modelId="{DED87DA1-A787-4ADF-8538-224A35114A00}" type="sibTrans" cxnId="{4E23AA52-8A2B-4A91-B35F-0529F7FAC8AA}">
      <dgm:prSet/>
      <dgm:spPr/>
    </dgm:pt>
    <dgm:pt modelId="{5E20DC55-8AE9-43EF-98FD-830978F7E16F}" type="pres">
      <dgm:prSet presAssocID="{611F59D7-E5F4-4AE3-BE3C-6FCE41E47296}" presName="linear" presStyleCnt="0">
        <dgm:presLayoutVars>
          <dgm:animLvl val="lvl"/>
          <dgm:resizeHandles val="exact"/>
        </dgm:presLayoutVars>
      </dgm:prSet>
      <dgm:spPr/>
    </dgm:pt>
    <dgm:pt modelId="{ACA529FD-3952-49AF-9D69-FF99D49AA23D}" type="pres">
      <dgm:prSet presAssocID="{A8520132-1866-4B8E-ABA0-1CAA9724C3DA}" presName="parentText" presStyleLbl="node1" presStyleIdx="0" presStyleCnt="4">
        <dgm:presLayoutVars>
          <dgm:chMax val="0"/>
          <dgm:bulletEnabled val="1"/>
        </dgm:presLayoutVars>
      </dgm:prSet>
      <dgm:spPr/>
    </dgm:pt>
    <dgm:pt modelId="{D5B22F76-6108-47DE-823D-19C6F807A97E}" type="pres">
      <dgm:prSet presAssocID="{8E63FDB6-2358-4C7D-BF36-9C6AED1D5D6C}" presName="spacer" presStyleCnt="0"/>
      <dgm:spPr/>
    </dgm:pt>
    <dgm:pt modelId="{8581B78E-413D-43B5-AD61-4D01F5935CC9}" type="pres">
      <dgm:prSet presAssocID="{32DA1D81-2F56-45A7-942B-443CB5DEF16E}" presName="parentText" presStyleLbl="node1" presStyleIdx="1" presStyleCnt="4">
        <dgm:presLayoutVars>
          <dgm:chMax val="0"/>
          <dgm:bulletEnabled val="1"/>
        </dgm:presLayoutVars>
      </dgm:prSet>
      <dgm:spPr/>
    </dgm:pt>
    <dgm:pt modelId="{D5B84B6A-1837-46F0-9DD8-7E7BE6C56003}" type="pres">
      <dgm:prSet presAssocID="{6DFB16BB-4277-4594-951A-7BF432E862B4}" presName="spacer" presStyleCnt="0"/>
      <dgm:spPr/>
    </dgm:pt>
    <dgm:pt modelId="{527E05EC-46C9-4F65-9D27-117D90B6DA02}" type="pres">
      <dgm:prSet presAssocID="{0B2DF2D9-1C83-4851-8D29-5F577CAA6BB9}" presName="parentText" presStyleLbl="node1" presStyleIdx="2" presStyleCnt="4">
        <dgm:presLayoutVars>
          <dgm:chMax val="0"/>
          <dgm:bulletEnabled val="1"/>
        </dgm:presLayoutVars>
      </dgm:prSet>
      <dgm:spPr/>
    </dgm:pt>
    <dgm:pt modelId="{9F01C048-0283-4CEE-AFB9-935B0E988A97}" type="pres">
      <dgm:prSet presAssocID="{4B1B4610-B4CC-4BCA-9800-61FE0076B9F8}" presName="spacer" presStyleCnt="0"/>
      <dgm:spPr/>
    </dgm:pt>
    <dgm:pt modelId="{B6D52A95-267B-457F-AF5D-0D9E57E1AB49}" type="pres">
      <dgm:prSet presAssocID="{3E24FA81-1EE0-4A7A-9C56-27E2EB2EB1C3}" presName="parentText" presStyleLbl="node1" presStyleIdx="3" presStyleCnt="4">
        <dgm:presLayoutVars>
          <dgm:chMax val="0"/>
          <dgm:bulletEnabled val="1"/>
        </dgm:presLayoutVars>
      </dgm:prSet>
      <dgm:spPr/>
    </dgm:pt>
  </dgm:ptLst>
  <dgm:cxnLst>
    <dgm:cxn modelId="{62164732-B257-4D56-BE04-F0CC5F84B9B6}" srcId="{611F59D7-E5F4-4AE3-BE3C-6FCE41E47296}" destId="{0B2DF2D9-1C83-4851-8D29-5F577CAA6BB9}" srcOrd="2" destOrd="0" parTransId="{1DB44C33-6216-4AA1-87F4-08C876A2876F}" sibTransId="{4B1B4610-B4CC-4BCA-9800-61FE0076B9F8}"/>
    <dgm:cxn modelId="{4E23AA52-8A2B-4A91-B35F-0529F7FAC8AA}" srcId="{611F59D7-E5F4-4AE3-BE3C-6FCE41E47296}" destId="{3E24FA81-1EE0-4A7A-9C56-27E2EB2EB1C3}" srcOrd="3" destOrd="0" parTransId="{D64AF93B-79DF-4928-9BB3-AD3C93B8E26C}" sibTransId="{DED87DA1-A787-4ADF-8538-224A35114A00}"/>
    <dgm:cxn modelId="{1ECEEC8A-346B-45CA-8C73-DF5BFBD71471}" type="presOf" srcId="{0B2DF2D9-1C83-4851-8D29-5F577CAA6BB9}" destId="{527E05EC-46C9-4F65-9D27-117D90B6DA02}" srcOrd="0" destOrd="0" presId="urn:microsoft.com/office/officeart/2005/8/layout/vList2"/>
    <dgm:cxn modelId="{C3E6188E-21D3-481D-B00D-7B994113F726}" srcId="{611F59D7-E5F4-4AE3-BE3C-6FCE41E47296}" destId="{A8520132-1866-4B8E-ABA0-1CAA9724C3DA}" srcOrd="0" destOrd="0" parTransId="{26473E5F-0514-4CA3-AD34-2D11741B154E}" sibTransId="{8E63FDB6-2358-4C7D-BF36-9C6AED1D5D6C}"/>
    <dgm:cxn modelId="{B63256B5-070F-4D0A-83D8-BD3FF061ACA1}" srcId="{611F59D7-E5F4-4AE3-BE3C-6FCE41E47296}" destId="{32DA1D81-2F56-45A7-942B-443CB5DEF16E}" srcOrd="1" destOrd="0" parTransId="{FF16A72A-C64E-48B2-8E27-74B78DC1E2F5}" sibTransId="{6DFB16BB-4277-4594-951A-7BF432E862B4}"/>
    <dgm:cxn modelId="{1386FCB5-2AAE-45C2-8DC0-21B039C7F305}" type="presOf" srcId="{32DA1D81-2F56-45A7-942B-443CB5DEF16E}" destId="{8581B78E-413D-43B5-AD61-4D01F5935CC9}" srcOrd="0" destOrd="0" presId="urn:microsoft.com/office/officeart/2005/8/layout/vList2"/>
    <dgm:cxn modelId="{C52852DE-EDFC-45A2-BA0D-5B97DE801FB1}" type="presOf" srcId="{A8520132-1866-4B8E-ABA0-1CAA9724C3DA}" destId="{ACA529FD-3952-49AF-9D69-FF99D49AA23D}" srcOrd="0" destOrd="0" presId="urn:microsoft.com/office/officeart/2005/8/layout/vList2"/>
    <dgm:cxn modelId="{284880E1-5B7F-4A48-93B0-BE9C8662D371}" type="presOf" srcId="{611F59D7-E5F4-4AE3-BE3C-6FCE41E47296}" destId="{5E20DC55-8AE9-43EF-98FD-830978F7E16F}" srcOrd="0" destOrd="0" presId="urn:microsoft.com/office/officeart/2005/8/layout/vList2"/>
    <dgm:cxn modelId="{1BD4B0E7-BABC-4D41-B815-D5408F2D31E3}" type="presOf" srcId="{3E24FA81-1EE0-4A7A-9C56-27E2EB2EB1C3}" destId="{B6D52A95-267B-457F-AF5D-0D9E57E1AB49}" srcOrd="0" destOrd="0" presId="urn:microsoft.com/office/officeart/2005/8/layout/vList2"/>
    <dgm:cxn modelId="{A6B15C08-4199-4870-A0DF-711F426EEC60}" type="presParOf" srcId="{5E20DC55-8AE9-43EF-98FD-830978F7E16F}" destId="{ACA529FD-3952-49AF-9D69-FF99D49AA23D}" srcOrd="0" destOrd="0" presId="urn:microsoft.com/office/officeart/2005/8/layout/vList2"/>
    <dgm:cxn modelId="{7D82222C-5882-457A-9626-85028C80A940}" type="presParOf" srcId="{5E20DC55-8AE9-43EF-98FD-830978F7E16F}" destId="{D5B22F76-6108-47DE-823D-19C6F807A97E}" srcOrd="1" destOrd="0" presId="urn:microsoft.com/office/officeart/2005/8/layout/vList2"/>
    <dgm:cxn modelId="{376FB8D0-BE55-40C5-A5C1-3CDE33DCD9DD}" type="presParOf" srcId="{5E20DC55-8AE9-43EF-98FD-830978F7E16F}" destId="{8581B78E-413D-43B5-AD61-4D01F5935CC9}" srcOrd="2" destOrd="0" presId="urn:microsoft.com/office/officeart/2005/8/layout/vList2"/>
    <dgm:cxn modelId="{11BDBBEC-1FC6-4917-9728-97B0130779F4}" type="presParOf" srcId="{5E20DC55-8AE9-43EF-98FD-830978F7E16F}" destId="{D5B84B6A-1837-46F0-9DD8-7E7BE6C56003}" srcOrd="3" destOrd="0" presId="urn:microsoft.com/office/officeart/2005/8/layout/vList2"/>
    <dgm:cxn modelId="{0D7BD6E3-D9CA-4104-9F26-2BFBFBAC9E9F}" type="presParOf" srcId="{5E20DC55-8AE9-43EF-98FD-830978F7E16F}" destId="{527E05EC-46C9-4F65-9D27-117D90B6DA02}" srcOrd="4" destOrd="0" presId="urn:microsoft.com/office/officeart/2005/8/layout/vList2"/>
    <dgm:cxn modelId="{720AE64B-9673-4227-A647-16F90D255666}" type="presParOf" srcId="{5E20DC55-8AE9-43EF-98FD-830978F7E16F}" destId="{9F01C048-0283-4CEE-AFB9-935B0E988A97}" srcOrd="5" destOrd="0" presId="urn:microsoft.com/office/officeart/2005/8/layout/vList2"/>
    <dgm:cxn modelId="{22DEBBA6-5611-4496-B3FB-EFE8150CFF6B}" type="presParOf" srcId="{5E20DC55-8AE9-43EF-98FD-830978F7E16F}" destId="{B6D52A95-267B-457F-AF5D-0D9E57E1AB49}" srcOrd="6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2F85713-5B19-49FD-BB42-4744E5A655E4}" type="doc">
      <dgm:prSet loTypeId="urn:microsoft.com/office/officeart/2005/8/layout/hList3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3E827F6-C4BE-4472-8C5B-ED40317D2FBC}">
      <dgm:prSet phldrT="[Text]" custT="1"/>
      <dgm:spPr>
        <a:solidFill>
          <a:srgbClr val="1C498B"/>
        </a:solidFill>
      </dgm:spPr>
      <dgm:t>
        <a:bodyPr/>
        <a:lstStyle/>
        <a:p>
          <a:pPr rtl="0">
            <a:spcAft>
              <a:spcPts val="600"/>
            </a:spcAft>
          </a:pPr>
          <a:r>
            <a:rPr lang="en-US" sz="4800"/>
            <a:t>PVB Finish Line Goals:</a:t>
          </a:r>
          <a:r>
            <a:rPr lang="en-US" sz="4800">
              <a:latin typeface="Calibri" panose="020F0502020204030204"/>
            </a:rPr>
            <a:t> </a:t>
          </a:r>
          <a:endParaRPr lang="en-US" sz="4800"/>
        </a:p>
        <a:p>
          <a:pPr>
            <a:spcAft>
              <a:spcPts val="600"/>
            </a:spcAft>
          </a:pPr>
          <a:r>
            <a:rPr lang="en-US" sz="3600"/>
            <a:t>QI Excellence Award</a:t>
          </a:r>
        </a:p>
      </dgm:t>
    </dgm:pt>
    <dgm:pt modelId="{38EBA0CD-F712-46B9-B185-042DA184D99B}" type="parTrans" cxnId="{7BF13868-92CF-4E47-A13F-98EE80D6B7D9}">
      <dgm:prSet/>
      <dgm:spPr/>
      <dgm:t>
        <a:bodyPr/>
        <a:lstStyle/>
        <a:p>
          <a:endParaRPr lang="en-US"/>
        </a:p>
      </dgm:t>
    </dgm:pt>
    <dgm:pt modelId="{4CA0C7C1-87F7-4D64-B03D-0464566A29C4}" type="sibTrans" cxnId="{7BF13868-92CF-4E47-A13F-98EE80D6B7D9}">
      <dgm:prSet/>
      <dgm:spPr/>
      <dgm:t>
        <a:bodyPr/>
        <a:lstStyle/>
        <a:p>
          <a:endParaRPr lang="en-US"/>
        </a:p>
      </dgm:t>
    </dgm:pt>
    <dgm:pt modelId="{0062D2D8-2EA7-4318-B2A8-4C4672C2529C}">
      <dgm:prSet phldrT="[Text]"/>
      <dgm:spPr/>
      <dgm:t>
        <a:bodyPr/>
        <a:lstStyle/>
        <a:p>
          <a:r>
            <a:rPr lang="en-US" b="1" u="sng"/>
            <a:t>6</a:t>
          </a:r>
          <a:r>
            <a:rPr lang="en-US"/>
            <a:t> Key Structure Measures in Place</a:t>
          </a:r>
        </a:p>
      </dgm:t>
    </dgm:pt>
    <dgm:pt modelId="{F0E2E2D6-1707-45F8-88A7-05944178C390}" type="parTrans" cxnId="{A7A882D3-712C-41BF-ACAC-1DD9B7DD8682}">
      <dgm:prSet/>
      <dgm:spPr/>
      <dgm:t>
        <a:bodyPr/>
        <a:lstStyle/>
        <a:p>
          <a:endParaRPr lang="en-US"/>
        </a:p>
      </dgm:t>
    </dgm:pt>
    <dgm:pt modelId="{EEA87371-9291-4768-981D-F5AD491295C7}" type="sibTrans" cxnId="{A7A882D3-712C-41BF-ACAC-1DD9B7DD8682}">
      <dgm:prSet/>
      <dgm:spPr/>
      <dgm:t>
        <a:bodyPr/>
        <a:lstStyle/>
        <a:p>
          <a:endParaRPr lang="en-US"/>
        </a:p>
      </dgm:t>
    </dgm:pt>
    <dgm:pt modelId="{68F427A4-CDA0-4D36-97D0-05EBDAE1D36F}">
      <dgm:prSet phldrT="[Text]"/>
      <dgm:spPr/>
      <dgm:t>
        <a:bodyPr/>
        <a:lstStyle/>
        <a:p>
          <a:pPr rtl="0"/>
          <a:r>
            <a:rPr lang="en-US"/>
            <a:t>NTSV C-Section Rate </a:t>
          </a:r>
          <a:r>
            <a:rPr lang="en-US" b="0" u="none"/>
            <a:t>≤</a:t>
          </a:r>
          <a:r>
            <a:rPr lang="en-US" b="1" u="sng"/>
            <a:t>23.6%</a:t>
          </a:r>
        </a:p>
      </dgm:t>
    </dgm:pt>
    <dgm:pt modelId="{F69659BD-856C-4791-B64B-E228A50E9CC3}" type="parTrans" cxnId="{22758760-EC2E-41A2-8C5D-F0B999A30125}">
      <dgm:prSet/>
      <dgm:spPr/>
      <dgm:t>
        <a:bodyPr/>
        <a:lstStyle/>
        <a:p>
          <a:endParaRPr lang="en-US"/>
        </a:p>
      </dgm:t>
    </dgm:pt>
    <dgm:pt modelId="{19B491E1-C02F-4FE4-9EB9-11DCBB23EE21}" type="sibTrans" cxnId="{22758760-EC2E-41A2-8C5D-F0B999A30125}">
      <dgm:prSet/>
      <dgm:spPr/>
      <dgm:t>
        <a:bodyPr/>
        <a:lstStyle/>
        <a:p>
          <a:endParaRPr lang="en-US"/>
        </a:p>
      </dgm:t>
    </dgm:pt>
    <dgm:pt modelId="{136BCD5D-FD57-4BE3-B3F9-23F3C98CD588}">
      <dgm:prSet phldrT="[Text]"/>
      <dgm:spPr/>
      <dgm:t>
        <a:bodyPr/>
        <a:lstStyle/>
        <a:p>
          <a:r>
            <a:rPr lang="en-US" b="1" u="sng"/>
            <a:t>80% </a:t>
          </a:r>
          <a:r>
            <a:rPr lang="en-US"/>
            <a:t>of Providers and Nurses educated on ACOG/SMFM Guidelines</a:t>
          </a:r>
          <a:endParaRPr lang="en-US" b="1" u="sng"/>
        </a:p>
      </dgm:t>
    </dgm:pt>
    <dgm:pt modelId="{3EFC0FA5-6C23-4664-977A-3A45B26187FA}" type="parTrans" cxnId="{243836A5-D2AA-4304-87E4-5BFC85298C53}">
      <dgm:prSet/>
      <dgm:spPr/>
      <dgm:t>
        <a:bodyPr/>
        <a:lstStyle/>
        <a:p>
          <a:endParaRPr lang="en-US"/>
        </a:p>
      </dgm:t>
    </dgm:pt>
    <dgm:pt modelId="{9A4C1403-E484-4C13-9D67-5BDF6C1D1FB8}" type="sibTrans" cxnId="{243836A5-D2AA-4304-87E4-5BFC85298C53}">
      <dgm:prSet/>
      <dgm:spPr/>
      <dgm:t>
        <a:bodyPr/>
        <a:lstStyle/>
        <a:p>
          <a:endParaRPr lang="en-US"/>
        </a:p>
      </dgm:t>
    </dgm:pt>
    <dgm:pt modelId="{78C79DF1-4455-4362-A02A-609B9A47C71E}">
      <dgm:prSet phldrT="[Text]"/>
      <dgm:spPr/>
      <dgm:t>
        <a:bodyPr/>
        <a:lstStyle/>
        <a:p>
          <a:pPr rtl="0"/>
          <a:r>
            <a:rPr lang="en-US" b="1" u="sng" dirty="0">
              <a:ea typeface="+mn-lt"/>
              <a:cs typeface="+mn-lt"/>
            </a:rPr>
            <a:t>70% </a:t>
          </a:r>
          <a:r>
            <a:rPr lang="en-US" dirty="0">
              <a:ea typeface="+mn-lt"/>
              <a:cs typeface="+mn-lt"/>
            </a:rPr>
            <a:t>of all NTSV C-Sections Meeting ACOG/SMFM Guidelines</a:t>
          </a:r>
          <a:r>
            <a:rPr lang="en-US" dirty="0">
              <a:latin typeface="Calibri" panose="020F0502020204030204"/>
              <a:ea typeface="+mn-lt"/>
              <a:cs typeface="+mn-lt"/>
            </a:rPr>
            <a:t> </a:t>
          </a:r>
          <a:endParaRPr lang="en-US" b="1" u="sng" dirty="0"/>
        </a:p>
      </dgm:t>
    </dgm:pt>
    <dgm:pt modelId="{8A523ED1-02B5-4E8E-AFED-B6C6FD7BF55D}" type="parTrans" cxnId="{8E621B33-DEC5-41A5-B888-D690878106EE}">
      <dgm:prSet/>
      <dgm:spPr/>
      <dgm:t>
        <a:bodyPr/>
        <a:lstStyle/>
        <a:p>
          <a:endParaRPr lang="en-US"/>
        </a:p>
      </dgm:t>
    </dgm:pt>
    <dgm:pt modelId="{CB5263F3-976E-4A1C-B48F-53519011D912}" type="sibTrans" cxnId="{8E621B33-DEC5-41A5-B888-D690878106EE}">
      <dgm:prSet/>
      <dgm:spPr/>
      <dgm:t>
        <a:bodyPr/>
        <a:lstStyle/>
        <a:p>
          <a:endParaRPr lang="en-US"/>
        </a:p>
      </dgm:t>
    </dgm:pt>
    <dgm:pt modelId="{CBF2718F-59A7-4A5B-81CC-1D63147AB168}" type="pres">
      <dgm:prSet presAssocID="{22F85713-5B19-49FD-BB42-4744E5A655E4}" presName="composite" presStyleCnt="0">
        <dgm:presLayoutVars>
          <dgm:chMax val="1"/>
          <dgm:dir/>
          <dgm:resizeHandles val="exact"/>
        </dgm:presLayoutVars>
      </dgm:prSet>
      <dgm:spPr/>
    </dgm:pt>
    <dgm:pt modelId="{1DF6E47F-41B6-4B49-9AB9-C4F53C51F631}" type="pres">
      <dgm:prSet presAssocID="{D3E827F6-C4BE-4472-8C5B-ED40317D2FBC}" presName="roof" presStyleLbl="dkBgShp" presStyleIdx="0" presStyleCnt="2"/>
      <dgm:spPr/>
    </dgm:pt>
    <dgm:pt modelId="{0113768C-FDEB-4E2E-B660-34D5D6549B44}" type="pres">
      <dgm:prSet presAssocID="{D3E827F6-C4BE-4472-8C5B-ED40317D2FBC}" presName="pillars" presStyleCnt="0"/>
      <dgm:spPr/>
    </dgm:pt>
    <dgm:pt modelId="{A5146FFA-5D72-4150-A4B0-92581BC433E9}" type="pres">
      <dgm:prSet presAssocID="{D3E827F6-C4BE-4472-8C5B-ED40317D2FBC}" presName="pillar1" presStyleLbl="node1" presStyleIdx="0" presStyleCnt="4">
        <dgm:presLayoutVars>
          <dgm:bulletEnabled val="1"/>
        </dgm:presLayoutVars>
      </dgm:prSet>
      <dgm:spPr/>
    </dgm:pt>
    <dgm:pt modelId="{30CB18CA-6184-4B31-8689-5ED885DAC293}" type="pres">
      <dgm:prSet presAssocID="{136BCD5D-FD57-4BE3-B3F9-23F3C98CD588}" presName="pillarX" presStyleLbl="node1" presStyleIdx="1" presStyleCnt="4">
        <dgm:presLayoutVars>
          <dgm:bulletEnabled val="1"/>
        </dgm:presLayoutVars>
      </dgm:prSet>
      <dgm:spPr/>
    </dgm:pt>
    <dgm:pt modelId="{A13BCFBA-5639-4275-9D30-DA41E66B4D95}" type="pres">
      <dgm:prSet presAssocID="{78C79DF1-4455-4362-A02A-609B9A47C71E}" presName="pillarX" presStyleLbl="node1" presStyleIdx="2" presStyleCnt="4">
        <dgm:presLayoutVars>
          <dgm:bulletEnabled val="1"/>
        </dgm:presLayoutVars>
      </dgm:prSet>
      <dgm:spPr/>
    </dgm:pt>
    <dgm:pt modelId="{33422456-B9A2-481F-A97B-DD1DEB2E620E}" type="pres">
      <dgm:prSet presAssocID="{68F427A4-CDA0-4D36-97D0-05EBDAE1D36F}" presName="pillarX" presStyleLbl="node1" presStyleIdx="3" presStyleCnt="4">
        <dgm:presLayoutVars>
          <dgm:bulletEnabled val="1"/>
        </dgm:presLayoutVars>
      </dgm:prSet>
      <dgm:spPr/>
    </dgm:pt>
    <dgm:pt modelId="{D0C257B7-398B-4816-9754-9EB0FA58D548}" type="pres">
      <dgm:prSet presAssocID="{D3E827F6-C4BE-4472-8C5B-ED40317D2FBC}" presName="base" presStyleLbl="dkBgShp" presStyleIdx="1" presStyleCnt="2"/>
      <dgm:spPr>
        <a:solidFill>
          <a:srgbClr val="1C498B"/>
        </a:solidFill>
      </dgm:spPr>
    </dgm:pt>
  </dgm:ptLst>
  <dgm:cxnLst>
    <dgm:cxn modelId="{EC686F08-B9E2-4E98-B75D-02874A517DF9}" type="presOf" srcId="{0062D2D8-2EA7-4318-B2A8-4C4672C2529C}" destId="{A5146FFA-5D72-4150-A4B0-92581BC433E9}" srcOrd="0" destOrd="0" presId="urn:microsoft.com/office/officeart/2005/8/layout/hList3"/>
    <dgm:cxn modelId="{7841181D-6CD8-4D9E-9AA4-60AF69599C36}" type="presOf" srcId="{78C79DF1-4455-4362-A02A-609B9A47C71E}" destId="{A13BCFBA-5639-4275-9D30-DA41E66B4D95}" srcOrd="0" destOrd="0" presId="urn:microsoft.com/office/officeart/2005/8/layout/hList3"/>
    <dgm:cxn modelId="{8E621B33-DEC5-41A5-B888-D690878106EE}" srcId="{D3E827F6-C4BE-4472-8C5B-ED40317D2FBC}" destId="{78C79DF1-4455-4362-A02A-609B9A47C71E}" srcOrd="2" destOrd="0" parTransId="{8A523ED1-02B5-4E8E-AFED-B6C6FD7BF55D}" sibTransId="{CB5263F3-976E-4A1C-B48F-53519011D912}"/>
    <dgm:cxn modelId="{24381334-BE33-4FDB-9F10-7B1F82BBD4D6}" type="presOf" srcId="{D3E827F6-C4BE-4472-8C5B-ED40317D2FBC}" destId="{1DF6E47F-41B6-4B49-9AB9-C4F53C51F631}" srcOrd="0" destOrd="0" presId="urn:microsoft.com/office/officeart/2005/8/layout/hList3"/>
    <dgm:cxn modelId="{22758760-EC2E-41A2-8C5D-F0B999A30125}" srcId="{D3E827F6-C4BE-4472-8C5B-ED40317D2FBC}" destId="{68F427A4-CDA0-4D36-97D0-05EBDAE1D36F}" srcOrd="3" destOrd="0" parTransId="{F69659BD-856C-4791-B64B-E228A50E9CC3}" sibTransId="{19B491E1-C02F-4FE4-9EB9-11DCBB23EE21}"/>
    <dgm:cxn modelId="{7BF13868-92CF-4E47-A13F-98EE80D6B7D9}" srcId="{22F85713-5B19-49FD-BB42-4744E5A655E4}" destId="{D3E827F6-C4BE-4472-8C5B-ED40317D2FBC}" srcOrd="0" destOrd="0" parTransId="{38EBA0CD-F712-46B9-B185-042DA184D99B}" sibTransId="{4CA0C7C1-87F7-4D64-B03D-0464566A29C4}"/>
    <dgm:cxn modelId="{B6E8239D-9EDD-464C-AC62-83CD90D02AEE}" type="presOf" srcId="{68F427A4-CDA0-4D36-97D0-05EBDAE1D36F}" destId="{33422456-B9A2-481F-A97B-DD1DEB2E620E}" srcOrd="0" destOrd="0" presId="urn:microsoft.com/office/officeart/2005/8/layout/hList3"/>
    <dgm:cxn modelId="{243836A5-D2AA-4304-87E4-5BFC85298C53}" srcId="{D3E827F6-C4BE-4472-8C5B-ED40317D2FBC}" destId="{136BCD5D-FD57-4BE3-B3F9-23F3C98CD588}" srcOrd="1" destOrd="0" parTransId="{3EFC0FA5-6C23-4664-977A-3A45B26187FA}" sibTransId="{9A4C1403-E484-4C13-9D67-5BDF6C1D1FB8}"/>
    <dgm:cxn modelId="{A7A882D3-712C-41BF-ACAC-1DD9B7DD8682}" srcId="{D3E827F6-C4BE-4472-8C5B-ED40317D2FBC}" destId="{0062D2D8-2EA7-4318-B2A8-4C4672C2529C}" srcOrd="0" destOrd="0" parTransId="{F0E2E2D6-1707-45F8-88A7-05944178C390}" sibTransId="{EEA87371-9291-4768-981D-F5AD491295C7}"/>
    <dgm:cxn modelId="{75BD47DE-6A72-4CC1-AFC5-50B6E01B5D40}" type="presOf" srcId="{136BCD5D-FD57-4BE3-B3F9-23F3C98CD588}" destId="{30CB18CA-6184-4B31-8689-5ED885DAC293}" srcOrd="0" destOrd="0" presId="urn:microsoft.com/office/officeart/2005/8/layout/hList3"/>
    <dgm:cxn modelId="{237096E5-770D-4AC7-9FD1-A924FD36E444}" type="presOf" srcId="{22F85713-5B19-49FD-BB42-4744E5A655E4}" destId="{CBF2718F-59A7-4A5B-81CC-1D63147AB168}" srcOrd="0" destOrd="0" presId="urn:microsoft.com/office/officeart/2005/8/layout/hList3"/>
    <dgm:cxn modelId="{FDCBCF5B-442A-4001-BFE0-76B99308F472}" type="presParOf" srcId="{CBF2718F-59A7-4A5B-81CC-1D63147AB168}" destId="{1DF6E47F-41B6-4B49-9AB9-C4F53C51F631}" srcOrd="0" destOrd="0" presId="urn:microsoft.com/office/officeart/2005/8/layout/hList3"/>
    <dgm:cxn modelId="{0D785A58-2382-472D-977D-04CFD6B7327E}" type="presParOf" srcId="{CBF2718F-59A7-4A5B-81CC-1D63147AB168}" destId="{0113768C-FDEB-4E2E-B660-34D5D6549B44}" srcOrd="1" destOrd="0" presId="urn:microsoft.com/office/officeart/2005/8/layout/hList3"/>
    <dgm:cxn modelId="{6E27FCB2-A9D0-4B66-B453-E24AD299707D}" type="presParOf" srcId="{0113768C-FDEB-4E2E-B660-34D5D6549B44}" destId="{A5146FFA-5D72-4150-A4B0-92581BC433E9}" srcOrd="0" destOrd="0" presId="urn:microsoft.com/office/officeart/2005/8/layout/hList3"/>
    <dgm:cxn modelId="{C244380D-9E84-479C-B9D7-607E79CC33E2}" type="presParOf" srcId="{0113768C-FDEB-4E2E-B660-34D5D6549B44}" destId="{30CB18CA-6184-4B31-8689-5ED885DAC293}" srcOrd="1" destOrd="0" presId="urn:microsoft.com/office/officeart/2005/8/layout/hList3"/>
    <dgm:cxn modelId="{40EC5CB9-20AC-4BCF-AC49-A4736FD52520}" type="presParOf" srcId="{0113768C-FDEB-4E2E-B660-34D5D6549B44}" destId="{A13BCFBA-5639-4275-9D30-DA41E66B4D95}" srcOrd="2" destOrd="0" presId="urn:microsoft.com/office/officeart/2005/8/layout/hList3"/>
    <dgm:cxn modelId="{140186BD-8E84-47F0-8211-EF6DC1E28E85}" type="presParOf" srcId="{0113768C-FDEB-4E2E-B660-34D5D6549B44}" destId="{33422456-B9A2-481F-A97B-DD1DEB2E620E}" srcOrd="3" destOrd="0" presId="urn:microsoft.com/office/officeart/2005/8/layout/hList3"/>
    <dgm:cxn modelId="{9916367B-C03F-4DC0-90C7-9EA1832D90E3}" type="presParOf" srcId="{CBF2718F-59A7-4A5B-81CC-1D63147AB168}" destId="{D0C257B7-398B-4816-9754-9EB0FA58D548}" srcOrd="2" destOrd="0" presId="urn:microsoft.com/office/officeart/2005/8/layout/hList3"/>
  </dgm:cxnLst>
  <dgm:bg>
    <a:solidFill>
      <a:srgbClr val="1C498B"/>
    </a:solidFill>
  </dgm:bg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2DD2E0E-F49E-4BE0-95A3-709CC9C0A47F}">
      <dsp:nvSpPr>
        <dsp:cNvPr id="0" name=""/>
        <dsp:cNvSpPr/>
      </dsp:nvSpPr>
      <dsp:spPr>
        <a:xfrm>
          <a:off x="0" y="298512"/>
          <a:ext cx="7101795" cy="1134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16560" rIns="551178" bIns="14224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Calibri" panose="020F0502020204030204"/>
            </a:rPr>
            <a:t>All data baseline-August 2023 </a:t>
          </a:r>
          <a:r>
            <a:rPr lang="en-US" sz="2000" b="0" kern="1200" dirty="0">
              <a:latin typeface="Calibri" panose="020F0502020204030204"/>
            </a:rPr>
            <a:t>was </a:t>
          </a:r>
          <a:r>
            <a:rPr lang="en-US" sz="2000" b="1" kern="1200" dirty="0">
              <a:latin typeface="Calibri" panose="020F0502020204030204"/>
            </a:rPr>
            <a:t>due on September 22nd, 2023,</a:t>
          </a:r>
          <a:r>
            <a:rPr lang="en-US" sz="2000" kern="1200" dirty="0">
              <a:latin typeface="Calibri" panose="020F0502020204030204"/>
            </a:rPr>
            <a:t> for award consideration.</a:t>
          </a:r>
          <a:endParaRPr lang="en-US" sz="2000" b="1" kern="1200" dirty="0"/>
        </a:p>
      </dsp:txBody>
      <dsp:txXfrm>
        <a:off x="0" y="298512"/>
        <a:ext cx="7101795" cy="1134000"/>
      </dsp:txXfrm>
    </dsp:sp>
    <dsp:sp modelId="{717BC3C2-DA22-4D51-A406-9086CACDDF9B}">
      <dsp:nvSpPr>
        <dsp:cNvPr id="0" name=""/>
        <dsp:cNvSpPr/>
      </dsp:nvSpPr>
      <dsp:spPr>
        <a:xfrm>
          <a:off x="355089" y="3312"/>
          <a:ext cx="4971256" cy="59040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>
              <a:latin typeface="Calibri" panose="020F0502020204030204"/>
            </a:rPr>
            <a:t> </a:t>
          </a:r>
          <a:r>
            <a:rPr lang="en-US" sz="2000" b="1" kern="1200" dirty="0">
              <a:solidFill>
                <a:schemeClr val="accent1"/>
              </a:solidFill>
              <a:latin typeface="Calibri" panose="020F0502020204030204"/>
            </a:rPr>
            <a:t>Submit your Data!</a:t>
          </a:r>
          <a:r>
            <a:rPr lang="en-US" sz="2000" b="1" kern="1200" dirty="0">
              <a:latin typeface="Calibri" panose="020F0502020204030204"/>
            </a:rPr>
            <a:t> </a:t>
          </a:r>
          <a:endParaRPr lang="en-US" sz="2000" b="1" kern="1200" dirty="0">
            <a:solidFill>
              <a:schemeClr val="accent1"/>
            </a:solidFill>
            <a:latin typeface="Calibri" panose="020F0502020204030204"/>
          </a:endParaRPr>
        </a:p>
      </dsp:txBody>
      <dsp:txXfrm>
        <a:off x="383910" y="32133"/>
        <a:ext cx="4913614" cy="532758"/>
      </dsp:txXfrm>
    </dsp:sp>
    <dsp:sp modelId="{6C17968B-3B40-4894-B40F-C49EEEEE87D3}">
      <dsp:nvSpPr>
        <dsp:cNvPr id="0" name=""/>
        <dsp:cNvSpPr/>
      </dsp:nvSpPr>
      <dsp:spPr>
        <a:xfrm>
          <a:off x="0" y="1835712"/>
          <a:ext cx="7101795" cy="17325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9918872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16560" rIns="551178" bIns="14224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Calibri" panose="020F0502020204030204"/>
            </a:rPr>
            <a:t> </a:t>
          </a:r>
          <a:r>
            <a:rPr lang="en-US" sz="2000" b="0" kern="1200" dirty="0">
              <a:latin typeface="Calibri" panose="020F0502020204030204"/>
            </a:rPr>
            <a:t>Details on the AC Webpage</a:t>
          </a:r>
          <a:r>
            <a:rPr lang="en-US" sz="2000" b="1" kern="1200" dirty="0">
              <a:latin typeface="Calibri" panose="020F0502020204030204"/>
            </a:rPr>
            <a:t>!</a:t>
          </a:r>
          <a:r>
            <a:rPr lang="en-US" sz="2000" kern="1200" dirty="0">
              <a:latin typeface="Calibri" panose="020F0502020204030204"/>
            </a:rPr>
            <a:t> All hospital teams are asked to submit an abstract on QI work (can be in progress).</a:t>
          </a:r>
          <a:endParaRPr lang="en-US" sz="2000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b="0" u="none" kern="1200" dirty="0">
              <a:latin typeface="Calibri" panose="020F0502020204030204"/>
            </a:rPr>
            <a:t>Now Due Wednesday 9/27</a:t>
          </a:r>
        </a:p>
      </dsp:txBody>
      <dsp:txXfrm>
        <a:off x="0" y="1835712"/>
        <a:ext cx="7101795" cy="1732500"/>
      </dsp:txXfrm>
    </dsp:sp>
    <dsp:sp modelId="{C8372599-BDA9-4E62-9184-ABA50695DEAE}">
      <dsp:nvSpPr>
        <dsp:cNvPr id="0" name=""/>
        <dsp:cNvSpPr/>
      </dsp:nvSpPr>
      <dsp:spPr>
        <a:xfrm>
          <a:off x="355089" y="1540512"/>
          <a:ext cx="4971256" cy="590400"/>
        </a:xfrm>
        <a:prstGeom prst="roundRect">
          <a:avLst/>
        </a:prstGeom>
        <a:solidFill>
          <a:schemeClr val="accent2">
            <a:hueOff val="-9918872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kern="1200" dirty="0">
              <a:solidFill>
                <a:schemeClr val="accent1"/>
              </a:solidFill>
              <a:latin typeface="Calibri" panose="020F0502020204030204"/>
            </a:rPr>
            <a:t>Call for Abstracts! </a:t>
          </a:r>
          <a:endParaRPr lang="en-US" sz="2000" b="1" kern="1200" dirty="0">
            <a:solidFill>
              <a:schemeClr val="accent1"/>
            </a:solidFill>
          </a:endParaRPr>
        </a:p>
      </dsp:txBody>
      <dsp:txXfrm>
        <a:off x="383910" y="1569333"/>
        <a:ext cx="4913614" cy="532758"/>
      </dsp:txXfrm>
    </dsp:sp>
    <dsp:sp modelId="{E42B4496-FBF8-4DC9-AF60-BFE77B144112}">
      <dsp:nvSpPr>
        <dsp:cNvPr id="0" name=""/>
        <dsp:cNvSpPr/>
      </dsp:nvSpPr>
      <dsp:spPr>
        <a:xfrm>
          <a:off x="0" y="3971412"/>
          <a:ext cx="7101795" cy="2079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hueOff val="-19837744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1178" tIns="416560" rIns="551178" bIns="142240" numCol="1" spcCol="1270" anchor="t" anchorCtr="0">
          <a:noAutofit/>
        </a:bodyPr>
        <a:lstStyle/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Calibri" panose="020F0502020204030204"/>
            </a:rPr>
            <a:t>We want to hear from you! </a:t>
          </a:r>
          <a:r>
            <a:rPr lang="en-US" sz="2000" b="1" kern="1200" dirty="0">
              <a:latin typeface="Calibri" panose="020F0502020204030204"/>
            </a:rPr>
            <a:t>Survey opening soon! </a:t>
          </a:r>
          <a:endParaRPr lang="en-US" sz="2000" b="1" kern="1200" dirty="0"/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Calibri" panose="020F0502020204030204"/>
            </a:rPr>
            <a:t>This is a great opportunity to share your teams' thoughts &amp; insights reflecting on 2023 and planning for 2024!</a:t>
          </a:r>
        </a:p>
        <a:p>
          <a:pPr marL="228600" lvl="1" indent="-228600" algn="l" defTabSz="8890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2000" kern="1200" dirty="0">
              <a:latin typeface="Calibri" panose="020F0502020204030204"/>
            </a:rPr>
            <a:t>Now Due Friday 9/29</a:t>
          </a:r>
        </a:p>
      </dsp:txBody>
      <dsp:txXfrm>
        <a:off x="0" y="3971412"/>
        <a:ext cx="7101795" cy="2079000"/>
      </dsp:txXfrm>
    </dsp:sp>
    <dsp:sp modelId="{ECEB8BDC-F220-41C1-B502-A535EC67DE59}">
      <dsp:nvSpPr>
        <dsp:cNvPr id="0" name=""/>
        <dsp:cNvSpPr/>
      </dsp:nvSpPr>
      <dsp:spPr>
        <a:xfrm>
          <a:off x="355089" y="3676212"/>
          <a:ext cx="4971256" cy="590400"/>
        </a:xfrm>
        <a:prstGeom prst="round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87902" tIns="0" rIns="187902" bIns="0" numCol="1" spcCol="1270" anchor="ctr" anchorCtr="0">
          <a:noAutofit/>
        </a:bodyPr>
        <a:lstStyle/>
        <a:p>
          <a:pPr marL="0" lvl="0" indent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b="1" u="none" kern="1200" dirty="0">
              <a:solidFill>
                <a:schemeClr val="accent1"/>
              </a:solidFill>
              <a:latin typeface="Calibri" panose="020F0502020204030204"/>
            </a:rPr>
            <a:t>ILPQC Annual Conference </a:t>
          </a:r>
          <a:r>
            <a:rPr lang="en-US" sz="2000" b="1" kern="1200" dirty="0">
              <a:solidFill>
                <a:schemeClr val="accent1"/>
              </a:solidFill>
              <a:latin typeface="Calibri" panose="020F0502020204030204"/>
            </a:rPr>
            <a:t>Survey! </a:t>
          </a:r>
        </a:p>
      </dsp:txBody>
      <dsp:txXfrm>
        <a:off x="383910" y="3705033"/>
        <a:ext cx="4913614" cy="53275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94C1895-6830-433C-8284-A812462C85F7}">
      <dsp:nvSpPr>
        <dsp:cNvPr id="0" name=""/>
        <dsp:cNvSpPr/>
      </dsp:nvSpPr>
      <dsp:spPr>
        <a:xfrm rot="10800000">
          <a:off x="2156295" y="1582"/>
          <a:ext cx="7176648" cy="1394575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4969" tIns="106680" rIns="199136" bIns="1066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latin typeface="Calibri" panose="020F0502020204030204"/>
            </a:rPr>
            <a:t>What Successes have you had with PVB?</a:t>
          </a:r>
        </a:p>
      </dsp:txBody>
      <dsp:txXfrm rot="10800000">
        <a:off x="2504939" y="1582"/>
        <a:ext cx="6828004" cy="1394575"/>
      </dsp:txXfrm>
    </dsp:sp>
    <dsp:sp modelId="{A2A3DEF2-ED41-403B-946F-609CCC40DA75}">
      <dsp:nvSpPr>
        <dsp:cNvPr id="0" name=""/>
        <dsp:cNvSpPr/>
      </dsp:nvSpPr>
      <dsp:spPr>
        <a:xfrm>
          <a:off x="1459008" y="1582"/>
          <a:ext cx="1394575" cy="1394575"/>
        </a:xfrm>
        <a:prstGeom prst="ellipse">
          <a:avLst/>
        </a:prstGeom>
        <a:solidFill>
          <a:schemeClr val="accent2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CD1F7F-A3CD-4CBC-840A-3BF4371A5641}">
      <dsp:nvSpPr>
        <dsp:cNvPr id="0" name=""/>
        <dsp:cNvSpPr/>
      </dsp:nvSpPr>
      <dsp:spPr>
        <a:xfrm rot="10800000">
          <a:off x="2156295" y="1812448"/>
          <a:ext cx="7176648" cy="1394575"/>
        </a:xfrm>
        <a:prstGeom prst="homePlat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4969" tIns="106680" rIns="199136" bIns="1066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latin typeface="Calibri" panose="020F0502020204030204"/>
            </a:rPr>
            <a:t>What challenges are you facing achieving PVB goals?</a:t>
          </a:r>
        </a:p>
      </dsp:txBody>
      <dsp:txXfrm rot="10800000">
        <a:off x="2504939" y="1812448"/>
        <a:ext cx="6828004" cy="1394575"/>
      </dsp:txXfrm>
    </dsp:sp>
    <dsp:sp modelId="{8229484D-4C6F-4FAA-A0DC-60437E2A6266}">
      <dsp:nvSpPr>
        <dsp:cNvPr id="0" name=""/>
        <dsp:cNvSpPr/>
      </dsp:nvSpPr>
      <dsp:spPr>
        <a:xfrm>
          <a:off x="1459008" y="1812448"/>
          <a:ext cx="1394575" cy="1394575"/>
        </a:xfrm>
        <a:prstGeom prst="ellipse">
          <a:avLst/>
        </a:prstGeom>
        <a:solidFill>
          <a:schemeClr val="accent3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3D99116-8C27-4BA5-95B3-E214CA81ABC0}">
      <dsp:nvSpPr>
        <dsp:cNvPr id="0" name=""/>
        <dsp:cNvSpPr/>
      </dsp:nvSpPr>
      <dsp:spPr>
        <a:xfrm rot="10800000">
          <a:off x="2156295" y="3623314"/>
          <a:ext cx="7176648" cy="1394575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14969" tIns="106680" rIns="199136" bIns="106680" numCol="1" spcCol="1270" anchor="ctr" anchorCtr="0">
          <a:noAutofit/>
        </a:bodyPr>
        <a:lstStyle/>
        <a:p>
          <a:pPr marL="0" lvl="0" indent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kern="1200" dirty="0">
              <a:latin typeface="Calibri" panose="020F0502020204030204"/>
            </a:rPr>
            <a:t>What key PVB Strategies are you using/could you use to address these challenges? What help do you need?</a:t>
          </a:r>
        </a:p>
      </dsp:txBody>
      <dsp:txXfrm rot="10800000">
        <a:off x="2504939" y="3623314"/>
        <a:ext cx="6828004" cy="1394575"/>
      </dsp:txXfrm>
    </dsp:sp>
    <dsp:sp modelId="{1F908206-0BB1-4350-A49C-B1F6915A7350}">
      <dsp:nvSpPr>
        <dsp:cNvPr id="0" name=""/>
        <dsp:cNvSpPr/>
      </dsp:nvSpPr>
      <dsp:spPr>
        <a:xfrm>
          <a:off x="1459008" y="3623314"/>
          <a:ext cx="1394575" cy="1394575"/>
        </a:xfrm>
        <a:prstGeom prst="ellipse">
          <a:avLst/>
        </a:prstGeom>
        <a:solidFill>
          <a:schemeClr val="accent4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A529FD-3952-49AF-9D69-FF99D49AA23D}">
      <dsp:nvSpPr>
        <dsp:cNvPr id="0" name=""/>
        <dsp:cNvSpPr/>
      </dsp:nvSpPr>
      <dsp:spPr>
        <a:xfrm>
          <a:off x="0" y="39088"/>
          <a:ext cx="7559504" cy="1471860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b="0" i="0" kern="1200" dirty="0"/>
            <a:t>On the next slide is a list of breakout session Assignments. </a:t>
          </a:r>
          <a:endParaRPr lang="en-US" sz="3700" kern="1200" dirty="0"/>
        </a:p>
      </dsp:txBody>
      <dsp:txXfrm>
        <a:off x="71850" y="110938"/>
        <a:ext cx="7415804" cy="1328160"/>
      </dsp:txXfrm>
    </dsp:sp>
    <dsp:sp modelId="{8581B78E-413D-43B5-AD61-4D01F5935CC9}">
      <dsp:nvSpPr>
        <dsp:cNvPr id="0" name=""/>
        <dsp:cNvSpPr/>
      </dsp:nvSpPr>
      <dsp:spPr>
        <a:xfrm>
          <a:off x="0" y="1617508"/>
          <a:ext cx="7559504" cy="1471860"/>
        </a:xfrm>
        <a:prstGeom prst="roundRect">
          <a:avLst/>
        </a:prstGeom>
        <a:solidFill>
          <a:schemeClr val="accent2">
            <a:hueOff val="-6612581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b="0" i="0" kern="1200" dirty="0"/>
            <a:t>Click on the breakout session your hospital is assigned to</a:t>
          </a:r>
          <a:endParaRPr lang="en-US" sz="3700" kern="1200" dirty="0"/>
        </a:p>
      </dsp:txBody>
      <dsp:txXfrm>
        <a:off x="71850" y="1689358"/>
        <a:ext cx="7415804" cy="1328160"/>
      </dsp:txXfrm>
    </dsp:sp>
    <dsp:sp modelId="{527E05EC-46C9-4F65-9D27-117D90B6DA02}">
      <dsp:nvSpPr>
        <dsp:cNvPr id="0" name=""/>
        <dsp:cNvSpPr/>
      </dsp:nvSpPr>
      <dsp:spPr>
        <a:xfrm>
          <a:off x="0" y="3195928"/>
          <a:ext cx="7559504" cy="1471860"/>
        </a:xfrm>
        <a:prstGeom prst="roundRect">
          <a:avLst/>
        </a:prstGeom>
        <a:solidFill>
          <a:schemeClr val="accent2">
            <a:hueOff val="-13225162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b="0" i="0" kern="1200" dirty="0"/>
            <a:t>If you have any trouble, let us know in the chat</a:t>
          </a:r>
          <a:endParaRPr lang="en-US" sz="3700" kern="1200" dirty="0"/>
        </a:p>
      </dsp:txBody>
      <dsp:txXfrm>
        <a:off x="71850" y="3267778"/>
        <a:ext cx="7415804" cy="1328160"/>
      </dsp:txXfrm>
    </dsp:sp>
    <dsp:sp modelId="{B6D52A95-267B-457F-AF5D-0D9E57E1AB49}">
      <dsp:nvSpPr>
        <dsp:cNvPr id="0" name=""/>
        <dsp:cNvSpPr/>
      </dsp:nvSpPr>
      <dsp:spPr>
        <a:xfrm>
          <a:off x="0" y="4774348"/>
          <a:ext cx="7559504" cy="1471860"/>
        </a:xfrm>
        <a:prstGeom prst="roundRect">
          <a:avLst/>
        </a:prstGeom>
        <a:solidFill>
          <a:schemeClr val="accent2">
            <a:hueOff val="-19837744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0970" tIns="140970" rIns="140970" bIns="140970" numCol="1" spcCol="1270" anchor="ctr" anchorCtr="0">
          <a:noAutofit/>
        </a:bodyPr>
        <a:lstStyle/>
        <a:p>
          <a:pPr marL="0" lvl="0" indent="0" algn="l" defTabSz="16446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700" kern="1200">
              <a:latin typeface="Calibri" panose="020F0502020204030204"/>
            </a:rPr>
            <a:t>Rejoin the Main</a:t>
          </a:r>
          <a:r>
            <a:rPr lang="en-US" sz="3700" kern="1200" dirty="0">
              <a:latin typeface="Calibri" panose="020F0502020204030204"/>
            </a:rPr>
            <a:t> room at 1:25 to debrief</a:t>
          </a:r>
        </a:p>
      </dsp:txBody>
      <dsp:txXfrm>
        <a:off x="71850" y="4846198"/>
        <a:ext cx="7415804" cy="132816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DF6E47F-41B6-4B49-9AB9-C4F53C51F631}">
      <dsp:nvSpPr>
        <dsp:cNvPr id="0" name=""/>
        <dsp:cNvSpPr/>
      </dsp:nvSpPr>
      <dsp:spPr>
        <a:xfrm>
          <a:off x="0" y="0"/>
          <a:ext cx="7929796" cy="1341031"/>
        </a:xfrm>
        <a:prstGeom prst="rect">
          <a:avLst/>
        </a:prstGeom>
        <a:solidFill>
          <a:srgbClr val="1C498B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82880" tIns="182880" rIns="182880" bIns="182880" numCol="1" spcCol="1270" anchor="ctr" anchorCtr="0">
          <a:noAutofit/>
        </a:bodyPr>
        <a:lstStyle/>
        <a:p>
          <a:pPr marL="0" lvl="0" indent="0" algn="ctr" defTabSz="2133600" rtl="0">
            <a:lnSpc>
              <a:spcPct val="90000"/>
            </a:lnSpc>
            <a:spcBef>
              <a:spcPct val="0"/>
            </a:spcBef>
            <a:spcAft>
              <a:spcPts val="600"/>
            </a:spcAft>
            <a:buNone/>
          </a:pPr>
          <a:r>
            <a:rPr lang="en-US" sz="4800" kern="1200"/>
            <a:t>PVB Finish Line Goals:</a:t>
          </a:r>
          <a:r>
            <a:rPr lang="en-US" sz="4800" kern="1200">
              <a:latin typeface="Calibri" panose="020F0502020204030204"/>
            </a:rPr>
            <a:t> </a:t>
          </a:r>
          <a:endParaRPr lang="en-US" sz="4800" kern="1200"/>
        </a:p>
        <a:p>
          <a:pPr marL="0" lvl="0" indent="0" algn="ctr" defTabSz="2133600">
            <a:lnSpc>
              <a:spcPct val="90000"/>
            </a:lnSpc>
            <a:spcBef>
              <a:spcPct val="0"/>
            </a:spcBef>
            <a:spcAft>
              <a:spcPts val="600"/>
            </a:spcAft>
            <a:buNone/>
          </a:pPr>
          <a:r>
            <a:rPr lang="en-US" sz="3600" kern="1200"/>
            <a:t>QI Excellence Award</a:t>
          </a:r>
        </a:p>
      </dsp:txBody>
      <dsp:txXfrm>
        <a:off x="0" y="0"/>
        <a:ext cx="7929796" cy="1341031"/>
      </dsp:txXfrm>
    </dsp:sp>
    <dsp:sp modelId="{A5146FFA-5D72-4150-A4B0-92581BC433E9}">
      <dsp:nvSpPr>
        <dsp:cNvPr id="0" name=""/>
        <dsp:cNvSpPr/>
      </dsp:nvSpPr>
      <dsp:spPr>
        <a:xfrm>
          <a:off x="0" y="1341031"/>
          <a:ext cx="1982449" cy="2816166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u="sng" kern="1200"/>
            <a:t>6</a:t>
          </a:r>
          <a:r>
            <a:rPr lang="en-US" sz="2600" kern="1200"/>
            <a:t> Key Structure Measures in Place</a:t>
          </a:r>
        </a:p>
      </dsp:txBody>
      <dsp:txXfrm>
        <a:off x="0" y="1341031"/>
        <a:ext cx="1982449" cy="2816166"/>
      </dsp:txXfrm>
    </dsp:sp>
    <dsp:sp modelId="{30CB18CA-6184-4B31-8689-5ED885DAC293}">
      <dsp:nvSpPr>
        <dsp:cNvPr id="0" name=""/>
        <dsp:cNvSpPr/>
      </dsp:nvSpPr>
      <dsp:spPr>
        <a:xfrm>
          <a:off x="1982449" y="1341031"/>
          <a:ext cx="1982449" cy="2816166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u="sng" kern="1200"/>
            <a:t>80% </a:t>
          </a:r>
          <a:r>
            <a:rPr lang="en-US" sz="2600" kern="1200"/>
            <a:t>of Providers and Nurses educated on ACOG/SMFM Guidelines</a:t>
          </a:r>
          <a:endParaRPr lang="en-US" sz="2600" b="1" u="sng" kern="1200"/>
        </a:p>
      </dsp:txBody>
      <dsp:txXfrm>
        <a:off x="1982449" y="1341031"/>
        <a:ext cx="1982449" cy="2816166"/>
      </dsp:txXfrm>
    </dsp:sp>
    <dsp:sp modelId="{A13BCFBA-5639-4275-9D30-DA41E66B4D95}">
      <dsp:nvSpPr>
        <dsp:cNvPr id="0" name=""/>
        <dsp:cNvSpPr/>
      </dsp:nvSpPr>
      <dsp:spPr>
        <a:xfrm>
          <a:off x="3964898" y="1341031"/>
          <a:ext cx="1982449" cy="2816166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b="1" u="sng" kern="1200" dirty="0">
              <a:ea typeface="+mn-lt"/>
              <a:cs typeface="+mn-lt"/>
            </a:rPr>
            <a:t>70% </a:t>
          </a:r>
          <a:r>
            <a:rPr lang="en-US" sz="2600" kern="1200" dirty="0">
              <a:ea typeface="+mn-lt"/>
              <a:cs typeface="+mn-lt"/>
            </a:rPr>
            <a:t>of all NTSV C-Sections Meeting ACOG/SMFM Guidelines</a:t>
          </a:r>
          <a:r>
            <a:rPr lang="en-US" sz="2600" kern="1200" dirty="0">
              <a:latin typeface="Calibri" panose="020F0502020204030204"/>
              <a:ea typeface="+mn-lt"/>
              <a:cs typeface="+mn-lt"/>
            </a:rPr>
            <a:t> </a:t>
          </a:r>
          <a:endParaRPr lang="en-US" sz="2600" b="1" u="sng" kern="1200" dirty="0"/>
        </a:p>
      </dsp:txBody>
      <dsp:txXfrm>
        <a:off x="3964898" y="1341031"/>
        <a:ext cx="1982449" cy="2816166"/>
      </dsp:txXfrm>
    </dsp:sp>
    <dsp:sp modelId="{33422456-B9A2-481F-A97B-DD1DEB2E620E}">
      <dsp:nvSpPr>
        <dsp:cNvPr id="0" name=""/>
        <dsp:cNvSpPr/>
      </dsp:nvSpPr>
      <dsp:spPr>
        <a:xfrm>
          <a:off x="5947347" y="1341031"/>
          <a:ext cx="1982449" cy="281616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marL="0" lvl="0" indent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600" kern="1200"/>
            <a:t>NTSV C-Section Rate </a:t>
          </a:r>
          <a:r>
            <a:rPr lang="en-US" sz="2600" b="0" u="none" kern="1200"/>
            <a:t>≤</a:t>
          </a:r>
          <a:r>
            <a:rPr lang="en-US" sz="2600" b="1" u="sng" kern="1200"/>
            <a:t>23.6%</a:t>
          </a:r>
        </a:p>
      </dsp:txBody>
      <dsp:txXfrm>
        <a:off x="5947347" y="1341031"/>
        <a:ext cx="1982449" cy="2816166"/>
      </dsp:txXfrm>
    </dsp:sp>
    <dsp:sp modelId="{D0C257B7-398B-4816-9754-9EB0FA58D548}">
      <dsp:nvSpPr>
        <dsp:cNvPr id="0" name=""/>
        <dsp:cNvSpPr/>
      </dsp:nvSpPr>
      <dsp:spPr>
        <a:xfrm>
          <a:off x="0" y="4157198"/>
          <a:ext cx="7929796" cy="312907"/>
        </a:xfrm>
        <a:prstGeom prst="rect">
          <a:avLst/>
        </a:prstGeom>
        <a:solidFill>
          <a:srgbClr val="1C498B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E7A80B-3D03-4EA0-9465-0DF0A9D99042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B47C4E-2555-48D5-B810-2EFF142F54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4649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ilpqc.org/2023-annual-conference/" TargetMode="External"/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>
                <a:hlinkClick r:id="rId3"/>
              </a:rPr>
              <a:t>https://ilpqc.org/2023-annual-conference/</a:t>
            </a:r>
            <a:endParaRPr lang="en-US" dirty="0"/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6540EB-5334-4296-967C-10B4D905E33B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50644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40654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1D98C9C-57D0-47E2-BD68-0A8BE9AB548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53803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8BD2D14-F0AA-2844-871F-19DB90E80350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940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Google Shape;68;g2255da36a79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9" name="Google Shape;69;g2255da36a79_0_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0" name="Google Shape;70;g2255da36a79_0_0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2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87330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BD2D14-F0AA-2844-871F-19DB90E8035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58390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6540EB-5334-4296-967C-10B4D905E33B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02290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2" name="Google Shape;3902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03" name="Google Shape;3903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On ACOG/SMFM </a:t>
            </a:r>
            <a:r>
              <a:rPr lang="en-US" err="1"/>
              <a:t>critera</a:t>
            </a:r>
          </a:p>
        </p:txBody>
      </p:sp>
      <p:sp>
        <p:nvSpPr>
          <p:cNvPr id="3904" name="Google Shape;3904;p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699955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8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5" name="Google Shape;3885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886" name="Google Shape;3886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3776925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1" name="Google Shape;3911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12" name="Google Shape;3912;p2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13" name="Google Shape;3913;p2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Calibri"/>
              <a:buNone/>
            </a:pPr>
            <a:fld id="{00000000-1234-1234-1234-123412341234}" type="slidenum">
              <a:rPr lang="en-US" sz="1200" b="0" i="0" u="none" strike="noStrike" cap="none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10</a:t>
            </a:fld>
            <a:endParaRPr sz="1200" b="0" i="0" u="none" strike="noStrike" cap="none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971933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4" name="Google Shape;3964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65" name="Google Shape;3965;p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r>
              <a:rPr lang="en-US"/>
              <a:t>If 7 more hospitals</a:t>
            </a:r>
            <a:r>
              <a:rPr lang="en-US">
                <a:latin typeface="Calibri"/>
                <a:ea typeface="Calibri"/>
                <a:cs typeface="Calibri"/>
                <a:sym typeface="Calibri"/>
              </a:rPr>
              <a:t> achieve &lt;23.6%,  we will achieve 70% of Illinois hospitals at goal  FIX THE 35% ARROW</a:t>
            </a:r>
            <a:endParaRPr/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66" name="Google Shape;3966;p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89009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39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0" name="Google Shape;3990;p2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3991" name="Google Shape;3991;p2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992" name="Google Shape;3992;p26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535996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35" name="Google Shape;4035;p2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036" name="Google Shape;4036;p2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37" name="Google Shape;4037;p29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7648857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48" name="Google Shape;4048;p3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049" name="Google Shape;4049;p3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400237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1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1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1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1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1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1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1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1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1.xml"/></Relationships>
</file>

<file path=ppt/slideLayouts/_rels/slideLayout2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1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1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1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Master" Target="../slideMasters/slideMaster1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1.xml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4.emf"/><Relationship Id="rId5" Type="http://schemas.openxmlformats.org/officeDocument/2006/relationships/image" Target="../media/image53.emf"/><Relationship Id="rId4" Type="http://schemas.openxmlformats.org/officeDocument/2006/relationships/image" Target="../media/image52.emf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5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2.bin"/></Relationships>
</file>

<file path=ppt/slideLayouts/_rels/slideLayout3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1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8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4.bin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1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1.xml"/></Relationships>
</file>

<file path=ppt/slideLayouts/_rels/slideLayout3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54.emf"/><Relationship Id="rId5" Type="http://schemas.openxmlformats.org/officeDocument/2006/relationships/image" Target="../media/image53.emf"/><Relationship Id="rId4" Type="http://schemas.openxmlformats.org/officeDocument/2006/relationships/image" Target="../media/image52.emf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0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7.bin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1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1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3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1.xml"/></Relationships>
</file>

<file path=ppt/slideLayouts/_rels/slideLayout3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1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3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1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1.xml"/></Relationships>
</file>

<file path=ppt/slideLayouts/_rels/slideLayout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1.xml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1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Layouts/_rels/slideLayout3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6" Type="http://schemas.openxmlformats.org/officeDocument/2006/relationships/image" Target="../media/image83.png"/><Relationship Id="rId5" Type="http://schemas.openxmlformats.org/officeDocument/2006/relationships/image" Target="../media/image82.png"/><Relationship Id="rId4" Type="http://schemas.openxmlformats.org/officeDocument/2006/relationships/image" Target="../media/image81.png"/></Relationships>
</file>

<file path=ppt/slideLayouts/_rels/slideLayout3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jpeg"/><Relationship Id="rId7" Type="http://schemas.microsoft.com/office/2007/relationships/hdphoto" Target="../media/hdphoto1.wdp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7.xml"/><Relationship Id="rId6" Type="http://schemas.openxmlformats.org/officeDocument/2006/relationships/image" Target="../media/image88.png"/><Relationship Id="rId5" Type="http://schemas.openxmlformats.org/officeDocument/2006/relationships/image" Target="../media/image87.png"/><Relationship Id="rId4" Type="http://schemas.openxmlformats.org/officeDocument/2006/relationships/image" Target="../media/image86.png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8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19.xml"/></Relationships>
</file>

<file path=ppt/slideLayouts/_rels/slideLayout3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0.xml"/></Relationships>
</file>

<file path=ppt/slideLayouts/_rels/slideLayout3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3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3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4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5.xml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6.xml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8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9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0.xml"/><Relationship Id="rId4" Type="http://schemas.microsoft.com/office/2007/relationships/hdphoto" Target="../media/hdphoto2.wdp"/></Relationships>
</file>

<file path=ppt/slideLayouts/_rels/slideLayout3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1.xml"/><Relationship Id="rId4" Type="http://schemas.microsoft.com/office/2007/relationships/hdphoto" Target="../media/hdphoto2.wdp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2.xml"/><Relationship Id="rId4" Type="http://schemas.microsoft.com/office/2007/relationships/hdphoto" Target="../media/hdphoto2.wdp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4.xml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35.xml"/></Relationships>
</file>

<file path=ppt/slideLayouts/_rels/slideLayout3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6.xml"/></Relationships>
</file>

<file path=ppt/slideLayouts/_rels/slideLayout3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7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8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39.xml"/></Relationships>
</file>

<file path=ppt/slideLayouts/_rels/slideLayout3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0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1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3.xml"/></Relationships>
</file>

<file path=ppt/slideLayouts/_rels/slideLayout3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44.xml"/><Relationship Id="rId4" Type="http://schemas.microsoft.com/office/2007/relationships/hdphoto" Target="../media/hdphoto2.wdp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6.xml"/></Relationships>
</file>

<file path=ppt/slideLayouts/_rels/slideLayout3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7.xml"/></Relationships>
</file>

<file path=ppt/slideLayouts/_rels/slideLayout3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8.xml"/></Relationships>
</file>

<file path=ppt/slideLayouts/_rels/slideLayout3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9.xml"/></Relationships>
</file>

<file path=ppt/slideLayouts/_rels/slideLayout3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0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1.xml"/></Relationships>
</file>

<file path=ppt/slideLayouts/_rels/slideLayout3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2.xml"/></Relationships>
</file>

<file path=ppt/slideLayouts/_rels/slideLayout3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4.xml"/></Relationships>
</file>

<file path=ppt/slideLayouts/_rels/slideLayout4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5.xml"/></Relationships>
</file>

<file path=ppt/slideLayouts/_rels/slideLayout4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.xml"/><Relationship Id="rId4" Type="http://schemas.microsoft.com/office/2007/relationships/hdphoto" Target="../media/hdphoto2.wdp"/></Relationships>
</file>

<file path=ppt/slideLayouts/_rels/slideLayout4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.xml"/><Relationship Id="rId4" Type="http://schemas.microsoft.com/office/2007/relationships/hdphoto" Target="../media/hdphoto2.wdp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4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9.svg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59.xml"/></Relationships>
</file>

<file path=ppt/slideLayouts/_rels/slideLayout4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4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9.svg"/></Relationships>
</file>

<file path=ppt/slideLayouts/_rels/slideLayout4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9.svg"/></Relationships>
</file>

<file path=ppt/slideLayouts/_rels/slideLayout4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4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.sv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7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7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7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4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4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7.xml"/></Relationships>
</file>

<file path=ppt/slideLayouts/_rels/slideLayout4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7.xml"/></Relationships>
</file>

<file path=ppt/slideLayouts/_rels/slideLayout4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4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7.xml"/></Relationships>
</file>

<file path=ppt/slideLayouts/_rels/slideLayout4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7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7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7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7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4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7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4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svg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5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60.xml"/><Relationship Id="rId6" Type="http://schemas.openxmlformats.org/officeDocument/2006/relationships/image" Target="../media/image54.emf"/><Relationship Id="rId5" Type="http://schemas.openxmlformats.org/officeDocument/2006/relationships/image" Target="../media/image53.emf"/><Relationship Id="rId4" Type="http://schemas.openxmlformats.org/officeDocument/2006/relationships/image" Target="../media/image52.emf"/></Relationships>
</file>

<file path=ppt/slideLayouts/_rels/slideLayout5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0.jpeg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0.bin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7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8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5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svg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8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8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8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8.xml"/></Relationships>
</file>

<file path=ppt/slideLayouts/_rels/slideLayout5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5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5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5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6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6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9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9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6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6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3.xml"/></Relationships>
</file>

<file path=ppt/slideLayouts/_rels/slideLayout6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4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9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7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7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9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9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9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9.xml"/></Relationships>
</file>

<file path=ppt/slideLayouts/_rels/slideLayout7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9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7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9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9.xml"/></Relationships>
</file>

<file path=ppt/slideLayouts/_rels/slideLayout7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9.xml"/></Relationships>
</file>

<file path=ppt/slideLayouts/_rels/slideLayout7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9.xml"/></Relationships>
</file>

<file path=ppt/slideLayouts/_rels/slideLayout7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9.xml"/></Relationships>
</file>

<file path=ppt/slideLayouts/_rels/slideLayout7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9.xml"/></Relationships>
</file>

<file path=ppt/slideLayouts/_rels/slideLayout7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7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9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7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5.xml"/><Relationship Id="rId6" Type="http://schemas.openxmlformats.org/officeDocument/2006/relationships/image" Target="../media/image54.emf"/><Relationship Id="rId5" Type="http://schemas.openxmlformats.org/officeDocument/2006/relationships/image" Target="../media/image53.emf"/><Relationship Id="rId4" Type="http://schemas.openxmlformats.org/officeDocument/2006/relationships/image" Target="../media/image52.emf"/></Relationships>
</file>

<file path=ppt/slideLayouts/_rels/slideLayout7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0.jpe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3.bin"/></Relationships>
</file>

<file path=ppt/slideLayouts/_rels/slideLayout7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7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slideMaster" Target="../slideMasters/slideMaster9.xml"/></Relationships>
</file>

<file path=ppt/slideLayouts/_rels/slideLayout7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9.xml"/></Relationships>
</file>

<file path=ppt/slideLayouts/_rels/slideLayout7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9.xml"/></Relationships>
</file>

<file path=ppt/slideLayouts/_rels/slideLayout7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65.png"/><Relationship Id="rId1" Type="http://schemas.openxmlformats.org/officeDocument/2006/relationships/slideMaster" Target="../slideMasters/slideMaster9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Master" Target="../slideMasters/slideMaster9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9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/Relationships>
</file>

<file path=ppt/slideLayouts/_rels/slideLayout7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Master" Target="../slideMasters/slideMaster9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9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9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9.xml"/></Relationships>
</file>

<file path=ppt/slideLayouts/_rels/slideLayout7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58.jpe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oleObject" Target="../embeddings/oleObject16.bin"/><Relationship Id="rId5" Type="http://schemas.openxmlformats.org/officeDocument/2006/relationships/image" Target="../media/image52.emf"/><Relationship Id="rId4" Type="http://schemas.openxmlformats.org/officeDocument/2006/relationships/oleObject" Target="../embeddings/oleObject15.bin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9.xml"/></Relationships>
</file>

<file path=ppt/slideLayouts/_rels/slideLayout7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7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7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7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7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7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9.xml"/></Relationships>
</file>

<file path=ppt/slideLayouts/_rels/slideLayout7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7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7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9.xml"/></Relationships>
</file>

<file path=ppt/slideLayouts/_rels/slideLayout7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70.xml"/></Relationships>
</file>

<file path=ppt/slideLayouts/_rels/slideLayout7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.svg"/></Relationships>
</file>

<file path=ppt/slideLayouts/_rels/slideLayout7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7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svg"/></Relationships>
</file>

<file path=ppt/slideLayouts/_rels/slideLayout7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/Relationships>
</file>

<file path=ppt/slideLayouts/_rels/slideLayout7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9.svg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25357221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54907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3929533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5854280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6742148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831436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0357277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69051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5116221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22338684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68831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2063742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71494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79889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0444802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7833896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9170012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51638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3078311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959957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833780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677583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68677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9/22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52602547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9/22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371996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353" t="41308" r="41308" b="44537"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68E7E05-5EEE-41D8-B522-A98D6D554E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1520" y="475249"/>
            <a:ext cx="10728960" cy="23876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 descr="Logo, company name&#10;&#10;Description automatically generated">
            <a:extLst>
              <a:ext uri="{FF2B5EF4-FFF2-40B4-BE49-F238E27FC236}">
                <a16:creationId xmlns:a16="http://schemas.microsoft.com/office/drawing/2014/main" id="{324B25E2-70EF-4C17-BC63-4624D9A0F2E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71"/>
            <a:ext cx="12192000" cy="685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60541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31520" y="475249"/>
            <a:ext cx="10728960" cy="2387600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0279" y="3250348"/>
            <a:ext cx="10691445" cy="1138775"/>
          </a:xfrm>
        </p:spPr>
        <p:txBody>
          <a:bodyPr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50000"/>
                  </a:schemeClr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4102178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1465" y="1575583"/>
            <a:ext cx="11163875" cy="4601381"/>
          </a:xfrm>
        </p:spPr>
        <p:txBody>
          <a:bodyPr/>
          <a:lstStyle>
            <a:lvl4pPr>
              <a:defRPr>
                <a:solidFill>
                  <a:schemeClr val="bg2">
                    <a:lumMod val="50000"/>
                  </a:schemeClr>
                </a:solidFill>
              </a:defRPr>
            </a:lvl4pPr>
            <a:lvl5pPr>
              <a:defRPr>
                <a:solidFill>
                  <a:schemeClr val="bg2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553549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1463" y="1574802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74802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492828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985792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B727E-5B2C-4310-AB66-CE5561C8F44D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Picture 4" descr="Logo, company name&#10;&#10;Description automatically generated">
            <a:extLst>
              <a:ext uri="{FF2B5EF4-FFF2-40B4-BE49-F238E27FC236}">
                <a16:creationId xmlns:a16="http://schemas.microsoft.com/office/drawing/2014/main" id="{943CB561-5AED-42CE-B21C-0F4C3E006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071"/>
            <a:ext cx="12192000" cy="6855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6747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A3686E6-74E2-FE49-AAC4-953D01F3F562}"/>
              </a:ext>
            </a:extLst>
          </p:cNvPr>
          <p:cNvCxnSpPr/>
          <p:nvPr userDrawn="1"/>
        </p:nvCxnSpPr>
        <p:spPr>
          <a:xfrm>
            <a:off x="1520055" y="350798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43370167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A9CB564A-C69C-944C-96FC-5B26C4A43C4A}"/>
              </a:ext>
            </a:extLst>
          </p:cNvPr>
          <p:cNvCxnSpPr/>
          <p:nvPr userDrawn="1"/>
        </p:nvCxnSpPr>
        <p:spPr>
          <a:xfrm>
            <a:off x="1520055" y="2811818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664284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03655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/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75467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977E4BD-558F-4F49-BCCC-8097ACDB395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04767307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854FD4E-2BB6-AE40-B89B-76CA55068800}"/>
              </a:ext>
            </a:extLst>
          </p:cNvPr>
          <p:cNvCxnSpPr/>
          <p:nvPr userDrawn="1"/>
        </p:nvCxnSpPr>
        <p:spPr>
          <a:xfrm>
            <a:off x="704314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78579581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rm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0686071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BD2A368-37B4-AE41-8927-00C94D6431A1}"/>
              </a:ext>
            </a:extLst>
          </p:cNvPr>
          <p:cNvCxnSpPr/>
          <p:nvPr userDrawn="1"/>
        </p:nvCxnSpPr>
        <p:spPr>
          <a:xfrm>
            <a:off x="707293" y="1425993"/>
            <a:ext cx="109728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151293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3A1B7DC-DAD7-F944-AC53-2FDB50DEA0A1}"/>
              </a:ext>
            </a:extLst>
          </p:cNvPr>
          <p:cNvCxnSpPr>
            <a:cxnSpLocks/>
          </p:cNvCxnSpPr>
          <p:nvPr userDrawn="1"/>
        </p:nvCxnSpPr>
        <p:spPr>
          <a:xfrm>
            <a:off x="1325946" y="3080084"/>
            <a:ext cx="685399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rm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/>
          </p:nvPr>
        </p:nvSpPr>
        <p:spPr>
          <a:xfrm>
            <a:off x="1219200" y="1887490"/>
            <a:ext cx="5582652" cy="1078262"/>
          </a:xfrm>
        </p:spPr>
        <p:txBody>
          <a:bodyPr>
            <a:norm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4585257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9032931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579775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rm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B9A3468E-DF1F-A142-9123-E9C41E669E14}"/>
              </a:ext>
            </a:extLst>
          </p:cNvPr>
          <p:cNvCxnSpPr/>
          <p:nvPr userDrawn="1"/>
        </p:nvCxnSpPr>
        <p:spPr>
          <a:xfrm>
            <a:off x="620093" y="5141451"/>
            <a:ext cx="2286000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342681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483427" y="0"/>
            <a:ext cx="8708572" cy="685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B30560D-B22A-C84C-AFB9-ABF9CC9929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92000" cy="6858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67A9D6-6AD3-1043-89D5-6EF03236EE7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2" y="6230112"/>
            <a:ext cx="4107180" cy="3200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94C27E-E772-436F-8230-475A034DAF1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1" y="515392"/>
            <a:ext cx="2745760" cy="391893"/>
          </a:xfrm>
          <a:prstGeom prst="rect">
            <a:avLst/>
          </a:prstGeom>
        </p:spPr>
      </p:pic>
      <p:sp>
        <p:nvSpPr>
          <p:cNvPr id="9" name="Title 16">
            <a:extLst>
              <a:ext uri="{FF2B5EF4-FFF2-40B4-BE49-F238E27FC236}">
                <a16:creationId xmlns:a16="http://schemas.microsoft.com/office/drawing/2014/main" id="{1CE71E58-18E9-49FF-95D7-75AA3860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2997501"/>
            <a:ext cx="5944640" cy="1168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288357E0-D976-46AD-BA13-D01AE336E1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232821"/>
            <a:ext cx="3740149" cy="5603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460134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62744" y="0"/>
            <a:ext cx="10929257" cy="6858000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9B30560D-B22A-C84C-AFB9-ABF9CC99295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F767A9D6-6AD3-1043-89D5-6EF03236EE7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2" y="6230112"/>
            <a:ext cx="4107180" cy="32004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F94C27E-E772-436F-8230-475A034DAF14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1" y="515392"/>
            <a:ext cx="2745760" cy="391893"/>
          </a:xfrm>
          <a:prstGeom prst="rect">
            <a:avLst/>
          </a:prstGeom>
        </p:spPr>
      </p:pic>
      <p:sp>
        <p:nvSpPr>
          <p:cNvPr id="9" name="Title 16">
            <a:extLst>
              <a:ext uri="{FF2B5EF4-FFF2-40B4-BE49-F238E27FC236}">
                <a16:creationId xmlns:a16="http://schemas.microsoft.com/office/drawing/2014/main" id="{1CE71E58-18E9-49FF-95D7-75AA3860AB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2997501"/>
            <a:ext cx="5944640" cy="116811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25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19">
            <a:extLst>
              <a:ext uri="{FF2B5EF4-FFF2-40B4-BE49-F238E27FC236}">
                <a16:creationId xmlns:a16="http://schemas.microsoft.com/office/drawing/2014/main" id="{288357E0-D976-46AD-BA13-D01AE336E1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232821"/>
            <a:ext cx="3740149" cy="560388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364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3396" y="0"/>
            <a:ext cx="6079113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B0DAA2-ED34-DD48-9888-1BBD9910A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393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6D2FC9-B51C-8E46-8330-3F5C573587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02" y="515244"/>
            <a:ext cx="2759796" cy="394514"/>
          </a:xfrm>
          <a:prstGeom prst="rect">
            <a:avLst/>
          </a:prstGeom>
        </p:spPr>
      </p:pic>
      <p:sp>
        <p:nvSpPr>
          <p:cNvPr id="13" name="Title 16">
            <a:extLst>
              <a:ext uri="{FF2B5EF4-FFF2-40B4-BE49-F238E27FC236}">
                <a16:creationId xmlns:a16="http://schemas.microsoft.com/office/drawing/2014/main" id="{A0F429E6-236C-C84C-8DE0-0603B26A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3003228"/>
            <a:ext cx="5944640" cy="116811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171459F2-521D-8649-BD87-CA1F69DC8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131582"/>
            <a:ext cx="3740149" cy="560388"/>
          </a:xfrm>
        </p:spPr>
        <p:txBody>
          <a:bodyPr anchor="t"/>
          <a:lstStyle>
            <a:lvl1pPr marL="0" indent="0">
              <a:buNone/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E528CD-87A3-7F4F-B8C5-8BA0536369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3" y="6230112"/>
            <a:ext cx="3684013" cy="287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95570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V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2B0DAA2-ED34-DD48-9888-1BBD9910AF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86D2FC9-B51C-8E46-8330-3F5C5735875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1802" y="515244"/>
            <a:ext cx="2759796" cy="394514"/>
          </a:xfrm>
          <a:prstGeom prst="rect">
            <a:avLst/>
          </a:prstGeom>
        </p:spPr>
      </p:pic>
      <p:sp>
        <p:nvSpPr>
          <p:cNvPr id="13" name="Title 16">
            <a:extLst>
              <a:ext uri="{FF2B5EF4-FFF2-40B4-BE49-F238E27FC236}">
                <a16:creationId xmlns:a16="http://schemas.microsoft.com/office/drawing/2014/main" id="{A0F429E6-236C-C84C-8DE0-0603B26A51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48" y="3003228"/>
            <a:ext cx="5944640" cy="1168110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250"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171459F2-521D-8649-BD87-CA1F69DC8F2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4448" y="4131582"/>
            <a:ext cx="3740149" cy="560388"/>
          </a:xfrm>
        </p:spPr>
        <p:txBody>
          <a:bodyPr anchor="t"/>
          <a:lstStyle>
            <a:lvl1pPr marL="0" indent="0">
              <a:buNone/>
              <a:defRPr>
                <a:solidFill>
                  <a:schemeClr val="bg2">
                    <a:lumMod val="10000"/>
                  </a:schemeClr>
                </a:solidFill>
              </a:defRPr>
            </a:lvl1pPr>
          </a:lstStyle>
          <a:p>
            <a:pPr lvl="0"/>
            <a:r>
              <a:rPr lang="en-US"/>
              <a:t>Sub Title/Dat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E528CD-87A3-7F4F-B8C5-8BA0536369B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biLevel thresh="75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-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8003" y="6230112"/>
            <a:ext cx="3684013" cy="2870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723782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pos="320">
          <p15:clr>
            <a:srgbClr val="FBAE40"/>
          </p15:clr>
        </p15:guide>
      </p15:sldGuideLst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088551848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3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3F78CE-3476-2443-BDB8-A5DC730980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18853" y="1312663"/>
            <a:ext cx="5043465" cy="4402338"/>
          </a:xfrm>
        </p:spPr>
        <p:txBody>
          <a:bodyPr/>
          <a:lstStyle>
            <a:lvl1pPr marL="257175" indent="-257175">
              <a:spcAft>
                <a:spcPts val="450"/>
              </a:spcAft>
              <a:buClr>
                <a:schemeClr val="accent1"/>
              </a:buClr>
              <a:buFont typeface="+mj-lt"/>
              <a:buAutoNum type="arabicPeriod"/>
              <a:defRPr/>
            </a:lvl1pPr>
            <a:lvl2pPr>
              <a:spcAft>
                <a:spcPts val="450"/>
              </a:spcAft>
              <a:buClr>
                <a:schemeClr val="accent1"/>
              </a:buClr>
              <a:defRPr/>
            </a:lvl2pPr>
            <a:lvl3pPr>
              <a:spcAft>
                <a:spcPts val="450"/>
              </a:spcAft>
              <a:buClr>
                <a:schemeClr val="accent1"/>
              </a:buClr>
              <a:defRPr/>
            </a:lvl3pPr>
            <a:lvl4pPr>
              <a:spcAft>
                <a:spcPts val="450"/>
              </a:spcAft>
              <a:buClr>
                <a:schemeClr val="accent1"/>
              </a:buClr>
              <a:defRPr/>
            </a:lvl4pPr>
            <a:lvl5pPr>
              <a:spcAft>
                <a:spcPts val="450"/>
              </a:spcAft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00582169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2" y="1707786"/>
            <a:ext cx="5587460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6C7CF-7824-E34B-9E97-6F3B67C700BD}"/>
              </a:ext>
            </a:extLst>
          </p:cNvPr>
          <p:cNvSpPr txBox="1"/>
          <p:nvPr/>
        </p:nvSpPr>
        <p:spPr>
          <a:xfrm>
            <a:off x="12987131" y="2623930"/>
            <a:ext cx="0" cy="0"/>
          </a:xfrm>
          <a:prstGeom prst="rect">
            <a:avLst/>
          </a:prstGeom>
        </p:spPr>
        <p:txBody>
          <a:bodyPr wrap="none" lIns="91402" tIns="45700" rIns="91402" bIns="45700" rtlCol="0" anchor="t">
            <a:noAutofit/>
          </a:bodyPr>
          <a:lstStyle/>
          <a:p>
            <a:pPr marL="0" indent="0" algn="l">
              <a:spcBef>
                <a:spcPts val="0"/>
              </a:spcBef>
            </a:pPr>
            <a:endParaRPr lang="en-US" sz="1050" err="1"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4746560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36974451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with Graphic withou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8540" y="1707786"/>
            <a:ext cx="11203664" cy="1367108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7" name="Content Placeholder 2"/>
          <p:cNvSpPr>
            <a:spLocks noGrp="1"/>
          </p:cNvSpPr>
          <p:nvPr>
            <p:ph idx="12"/>
          </p:nvPr>
        </p:nvSpPr>
        <p:spPr>
          <a:xfrm>
            <a:off x="508540" y="3272118"/>
            <a:ext cx="11203664" cy="2938182"/>
          </a:xfrm>
        </p:spPr>
        <p:txBody>
          <a:bodyPr>
            <a:normAutofit/>
          </a:bodyPr>
          <a:lstStyle>
            <a:lvl1pPr marL="0" indent="0">
              <a:buNone/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2764535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5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49528301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19E5391-D124-40A4-8075-7CC4DBBC44EB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84260" y="1746250"/>
            <a:ext cx="5249333" cy="4464050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251274" indent="0">
              <a:buNone/>
              <a:defRPr sz="1050"/>
            </a:lvl2pPr>
            <a:lvl3pPr marL="502547" indent="0">
              <a:buNone/>
              <a:defRPr sz="1050"/>
            </a:lvl3pPr>
            <a:lvl4pPr marL="753819" indent="0">
              <a:buNone/>
              <a:defRPr sz="1050"/>
            </a:lvl4pPr>
            <a:lvl5pPr marL="1005093" indent="0"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65807AD6-4C72-4732-8C27-63843CD1B357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58411" y="1746250"/>
            <a:ext cx="5249333" cy="4464050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251274" indent="0">
              <a:buNone/>
              <a:defRPr sz="1050"/>
            </a:lvl2pPr>
            <a:lvl3pPr marL="502547" indent="0">
              <a:buNone/>
              <a:defRPr sz="1050"/>
            </a:lvl3pPr>
            <a:lvl4pPr marL="753819" indent="0">
              <a:buNone/>
              <a:defRPr sz="1050"/>
            </a:lvl4pPr>
            <a:lvl5pPr marL="1005093" indent="0">
              <a:buNone/>
              <a:defRPr sz="105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78590103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1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9" y="4424558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1" y="4424558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25024563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1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1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8DB71-5DF2-C04E-AF83-DBF86D30767B}"/>
              </a:ext>
            </a:extLst>
          </p:cNvPr>
          <p:cNvGrpSpPr/>
          <p:nvPr/>
        </p:nvGrpSpPr>
        <p:grpSpPr>
          <a:xfrm>
            <a:off x="1634604" y="3895712"/>
            <a:ext cx="8922792" cy="0"/>
            <a:chOff x="1277233" y="3895712"/>
            <a:chExt cx="6692094" cy="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BE41B89-C55A-B946-AC8C-237DD1B55C0D}"/>
                </a:ext>
              </a:extLst>
            </p:cNvPr>
            <p:cNvCxnSpPr>
              <a:cxnSpLocks/>
            </p:cNvCxnSpPr>
            <p:nvPr/>
          </p:nvCxnSpPr>
          <p:spPr>
            <a:xfrm>
              <a:off x="1277233" y="3895712"/>
              <a:ext cx="2858406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2DCBAA8-2FE7-5E48-9235-4E3273ED62B1}"/>
                </a:ext>
              </a:extLst>
            </p:cNvPr>
            <p:cNvCxnSpPr>
              <a:cxnSpLocks/>
            </p:cNvCxnSpPr>
            <p:nvPr/>
          </p:nvCxnSpPr>
          <p:spPr>
            <a:xfrm>
              <a:off x="5064082" y="3895712"/>
              <a:ext cx="2905245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63F3587-18B6-9946-BD15-07078823973B}"/>
              </a:ext>
            </a:extLst>
          </p:cNvPr>
          <p:cNvCxnSpPr>
            <a:cxnSpLocks/>
          </p:cNvCxnSpPr>
          <p:nvPr/>
        </p:nvCxnSpPr>
        <p:spPr>
          <a:xfrm>
            <a:off x="6096000" y="1871356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EF27BE-3AF2-DF44-B04F-E2891E3A5DDC}"/>
              </a:ext>
            </a:extLst>
          </p:cNvPr>
          <p:cNvCxnSpPr>
            <a:cxnSpLocks/>
          </p:cNvCxnSpPr>
          <p:nvPr/>
        </p:nvCxnSpPr>
        <p:spPr>
          <a:xfrm>
            <a:off x="6096000" y="4313174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0B0D022-0F2D-7345-A71D-90A9D84D818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9" y="44223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43FF5A2-AC55-D742-8EBC-7DD6A02B517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1" y="4422316"/>
            <a:ext cx="5249332" cy="126728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64405481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1" y="2015790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9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1" y="2491916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8" y="4429203"/>
            <a:ext cx="5249332" cy="1678857"/>
          </a:xfrm>
        </p:spPr>
        <p:txBody>
          <a:bodyPr>
            <a:normAutofit/>
          </a:bodyPr>
          <a:lstStyle>
            <a:lvl1pPr marL="175022" indent="-175022">
              <a:defRPr sz="105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60529116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9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05050703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2" y="1707786"/>
            <a:ext cx="5278596" cy="4502514"/>
          </a:xfrm>
        </p:spPr>
        <p:txBody>
          <a:bodyPr>
            <a:normAutofit/>
          </a:bodyPr>
          <a:lstStyle>
            <a:lvl1pPr>
              <a:defRPr sz="1200">
                <a:solidFill>
                  <a:schemeClr val="tx1"/>
                </a:solidFill>
              </a:defRPr>
            </a:lvl1pPr>
            <a:lvl2pPr>
              <a:defRPr sz="1200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200">
                <a:solidFill>
                  <a:schemeClr val="tx1"/>
                </a:solidFill>
              </a:defRPr>
            </a:lvl4pPr>
            <a:lvl5pPr>
              <a:defRPr sz="12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9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8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05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50215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8231405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50" y="50241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888744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428D6A-B377-6F43-BA57-D036EAC6A5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0435" y="2925064"/>
            <a:ext cx="5273887" cy="3069336"/>
          </a:xfrm>
        </p:spPr>
        <p:txBody>
          <a:bodyPr>
            <a:noAutofit/>
          </a:bodyPr>
          <a:lstStyle>
            <a:lvl1pPr marL="90488" indent="-90488">
              <a:tabLst/>
              <a:defRPr sz="1050">
                <a:solidFill>
                  <a:schemeClr val="bg1"/>
                </a:solidFill>
              </a:defRPr>
            </a:lvl1pPr>
            <a:lvl2pPr>
              <a:defRPr sz="1050">
                <a:solidFill>
                  <a:schemeClr val="tx1"/>
                </a:solidFill>
              </a:defRPr>
            </a:lvl2pPr>
            <a:lvl3pPr>
              <a:defRPr sz="1050">
                <a:solidFill>
                  <a:schemeClr val="tx1"/>
                </a:solidFill>
              </a:defRPr>
            </a:lvl3pPr>
            <a:lvl4pPr>
              <a:defRPr sz="1050">
                <a:solidFill>
                  <a:schemeClr val="tx1"/>
                </a:solidFill>
              </a:defRPr>
            </a:lvl4pPr>
            <a:lvl5pPr>
              <a:defRPr sz="10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6608925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-1" y="4634895"/>
            <a:ext cx="12191993" cy="18585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24037463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</p:spTree>
    <p:extLst>
      <p:ext uri="{BB962C8B-B14F-4D97-AF65-F5344CB8AC3E}">
        <p14:creationId xmlns:p14="http://schemas.microsoft.com/office/powerpoint/2010/main" val="158374903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309566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144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" y="0"/>
            <a:ext cx="6095999" cy="685800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50" y="-245740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2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140592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014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027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039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053" indent="0">
              <a:buFontTx/>
              <a:buNone/>
              <a:defRPr sz="27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/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7097EC-1E36-4C71-9C58-09DB83CC70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0838" y="2322513"/>
            <a:ext cx="5272617" cy="306863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225"/>
              </a:spcBef>
              <a:spcAft>
                <a:spcPts val="450"/>
              </a:spcAft>
              <a:defRPr sz="900">
                <a:solidFill>
                  <a:schemeClr val="bg1"/>
                </a:solidFill>
              </a:defRPr>
            </a:lvl1pPr>
            <a:lvl2pPr marL="301229" indent="-129779"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2pPr>
            <a:lvl3pPr marL="471488" indent="-128588">
              <a:lnSpc>
                <a:spcPct val="120000"/>
              </a:lnSpc>
              <a:spcBef>
                <a:spcPts val="225"/>
              </a:spcBef>
              <a:spcAft>
                <a:spcPts val="0"/>
              </a:spcAft>
              <a:defRPr sz="9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4pPr>
            <a:lvl5pPr>
              <a:lnSpc>
                <a:spcPct val="120000"/>
              </a:lnSpc>
              <a:spcBef>
                <a:spcPts val="225"/>
              </a:spcBef>
              <a:spcAft>
                <a:spcPts val="225"/>
              </a:spcAft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71617044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1123C5F-E173-614D-A2E8-E7C6084BD9F1}"/>
              </a:ext>
            </a:extLst>
          </p:cNvPr>
          <p:cNvSpPr txBox="1"/>
          <p:nvPr userDrawn="1"/>
        </p:nvSpPr>
        <p:spPr>
          <a:xfrm>
            <a:off x="508000" y="2067340"/>
            <a:ext cx="5588000" cy="4084983"/>
          </a:xfrm>
          <a:prstGeom prst="rect">
            <a:avLst/>
          </a:prstGeom>
        </p:spPr>
        <p:txBody>
          <a:bodyPr wrap="square" lIns="121869" tIns="60933" rIns="121869" bIns="60933" rtlCol="0" anchor="t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2099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913816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2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idx="1" hasCustomPrompt="1"/>
          </p:nvPr>
        </p:nvSpPr>
        <p:spPr>
          <a:xfrm>
            <a:off x="6461761" y="1271016"/>
            <a:ext cx="5214907" cy="478306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514350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100000"/>
              <a:buFont typeface="+mj-lt"/>
              <a:buAutoNum type="arabicPeriod"/>
              <a:defRPr sz="2200"/>
            </a:lvl1pPr>
            <a:lvl2pPr marL="112370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2pPr>
            <a:lvl3pPr marL="173305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3pPr>
            <a:lvl4pPr marL="2342402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4pPr>
            <a:lvl5pPr marL="2951754" indent="-514350">
              <a:spcBef>
                <a:spcPts val="0"/>
              </a:spcBef>
              <a:spcAft>
                <a:spcPts val="4800"/>
              </a:spcAft>
              <a:buClr>
                <a:schemeClr val="accent1"/>
              </a:buClr>
              <a:buSzPct val="200000"/>
              <a:buFont typeface="+mj-lt"/>
              <a:buAutoNum type="arabicPeriod"/>
              <a:defRPr sz="30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 userDrawn="1"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 userDrawn="1"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 userDrawn="1"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67537446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587460" cy="4648568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 sz="1600"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56723920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64952117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3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40833288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6575E4A-952B-BF40-A8A1-224D89D3F30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418" y="1746753"/>
            <a:ext cx="5249333" cy="474612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96382302-7573-B641-AE92-16F61522852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93698" y="1746753"/>
            <a:ext cx="5249333" cy="4746122"/>
          </a:xfrm>
        </p:spPr>
        <p:txBody>
          <a:bodyPr/>
          <a:lstStyle/>
          <a:p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60542784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4998442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7" y="4429201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55006782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576516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278596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64820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90424752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49" y="50241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>
                <a:solidFill>
                  <a:srgbClr val="00A8E1"/>
                </a:solidFill>
                <a:latin typeface="+mj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888744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3">
            <a:extLst>
              <a:ext uri="{FF2B5EF4-FFF2-40B4-BE49-F238E27FC236}">
                <a16:creationId xmlns:a16="http://schemas.microsoft.com/office/drawing/2014/main" id="{0A428D6A-B377-6F43-BA57-D036EAC6A5C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430434" y="2925064"/>
            <a:ext cx="5273887" cy="3069336"/>
          </a:xfrm>
        </p:spPr>
        <p:txBody>
          <a:bodyPr>
            <a:noAutofit/>
          </a:bodyPr>
          <a:lstStyle>
            <a:lvl1pPr marL="120650" indent="-120650">
              <a:tabLst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tx1"/>
                </a:solidFill>
              </a:defRPr>
            </a:lvl2pPr>
            <a:lvl3pPr>
              <a:defRPr sz="14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47115818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IT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4C71BB1-9FDA-FD43-ABCF-0E1CBF9339E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:a16="http://schemas.microsoft.com/office/drawing/2014/main" id="{7956D00C-F9B1-A148-A629-18366F705E1D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B3B2E306-4BAC-E74F-AAF1-3A3FFDADD8C7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6" name="Shape">
            <a:extLst>
              <a:ext uri="{FF2B5EF4-FFF2-40B4-BE49-F238E27FC236}">
                <a16:creationId xmlns:a16="http://schemas.microsoft.com/office/drawing/2014/main" id="{5CE8CCFA-519E-854E-BAFF-171A193655DC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E45C6D3C-FD35-9740-BCC6-7F1FD78E63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Slide Number Placeholder 6">
            <a:extLst>
              <a:ext uri="{FF2B5EF4-FFF2-40B4-BE49-F238E27FC236}">
                <a16:creationId xmlns:a16="http://schemas.microsoft.com/office/drawing/2014/main" id="{72038E76-D90C-D142-9106-42EAF6B069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5B43793-C35B-B54E-ADE4-3AA97F5855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53695467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FFDA2CE-0174-7748-9A5A-EBA28137D1AF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2" y="1312662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334836" y="2839212"/>
            <a:ext cx="3803904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hape">
            <a:extLst>
              <a:ext uri="{FF2B5EF4-FFF2-40B4-BE49-F238E27FC236}">
                <a16:creationId xmlns:a16="http://schemas.microsoft.com/office/drawing/2014/main" id="{D320A928-0C1B-1F43-B7DD-5C839EC114FF}"/>
              </a:ext>
            </a:extLst>
          </p:cNvPr>
          <p:cNvSpPr/>
          <p:nvPr userDrawn="1"/>
        </p:nvSpPr>
        <p:spPr>
          <a:xfrm>
            <a:off x="0" y="4389120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2" name="Shape">
            <a:extLst>
              <a:ext uri="{FF2B5EF4-FFF2-40B4-BE49-F238E27FC236}">
                <a16:creationId xmlns:a16="http://schemas.microsoft.com/office/drawing/2014/main" id="{BEDE0841-3D72-FA4C-A1A7-2242BAFFE9DD}"/>
              </a:ext>
            </a:extLst>
          </p:cNvPr>
          <p:cNvSpPr/>
          <p:nvPr userDrawn="1"/>
        </p:nvSpPr>
        <p:spPr>
          <a:xfrm>
            <a:off x="0" y="4937638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3" name="Shape">
            <a:extLst>
              <a:ext uri="{FF2B5EF4-FFF2-40B4-BE49-F238E27FC236}">
                <a16:creationId xmlns:a16="http://schemas.microsoft.com/office/drawing/2014/main" id="{25CD84F4-8F1D-DD42-968A-B672E7F51961}"/>
              </a:ext>
            </a:extLst>
          </p:cNvPr>
          <p:cNvSpPr/>
          <p:nvPr userDrawn="1"/>
        </p:nvSpPr>
        <p:spPr>
          <a:xfrm>
            <a:off x="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CD377CDD-EAE2-9246-B70E-79B86CFA734C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0FA9D0E6-6028-A84B-AB32-68D8B21955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3F78CE-3476-2443-BDB8-A5DC7309804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18852" y="1312663"/>
            <a:ext cx="5043465" cy="4402338"/>
          </a:xfrm>
        </p:spPr>
        <p:txBody>
          <a:bodyPr>
            <a:noAutofit/>
          </a:bodyPr>
          <a:lstStyle>
            <a:lvl1pPr marL="342900" indent="-342900"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defRPr sz="2000"/>
            </a:lvl1pPr>
            <a:lvl2pPr>
              <a:spcAft>
                <a:spcPts val="600"/>
              </a:spcAft>
              <a:buClr>
                <a:schemeClr val="accent1"/>
              </a:buClr>
              <a:defRPr sz="2000"/>
            </a:lvl2pPr>
            <a:lvl3pPr>
              <a:spcAft>
                <a:spcPts val="600"/>
              </a:spcAft>
              <a:buClr>
                <a:schemeClr val="accent1"/>
              </a:buClr>
              <a:defRPr sz="2000"/>
            </a:lvl3pPr>
            <a:lvl4pPr>
              <a:spcAft>
                <a:spcPts val="600"/>
              </a:spcAft>
              <a:buClr>
                <a:schemeClr val="accent1"/>
              </a:buClr>
              <a:defRPr sz="2000"/>
            </a:lvl4pPr>
            <a:lvl5pPr>
              <a:spcAft>
                <a:spcPts val="600"/>
              </a:spcAft>
              <a:buClr>
                <a:schemeClr val="accent1"/>
              </a:buClr>
              <a:defRPr sz="2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31004439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5FDE93D0-CD47-FB4F-9C4D-1DDEF9A47153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FF4098C8-B27B-E742-AF2B-FAACE164FD8F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A4250A6A-5DB7-464A-85EB-7072B0934882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587460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1146"/>
            <a:ext cx="11430000" cy="1143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CAA86664-C997-D14C-B7C0-E61F5A648C1E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BD83AB6-A541-9442-AB6B-F50F88754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929B619-337D-A14C-B213-5A943A5F12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636C7CF-7824-E34B-9E97-6F3B67C700BD}"/>
              </a:ext>
            </a:extLst>
          </p:cNvPr>
          <p:cNvSpPr txBox="1"/>
          <p:nvPr userDrawn="1"/>
        </p:nvSpPr>
        <p:spPr>
          <a:xfrm>
            <a:off x="12987131" y="2623930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434443"/>
              </a:solidFill>
              <a:effectLst/>
              <a:uLnTx/>
              <a:uFillTx/>
              <a:latin typeface="Arial"/>
              <a:ea typeface="ヒラギノ角ゴ Pro W3" pitchFamily="116" charset="-128"/>
              <a:cs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94055716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37959019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VERYDAY - COMPARISS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1F47A73-2BE8-41B4-902F-DCDFA8A9A9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3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E184F6D6-CCC2-4F2B-9E4C-A982785D10B1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1125053-4680-DF45-BEF0-3F90988C5E8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41856552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OUBLE IM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6B104503-938D-4D1E-A43E-B3F81F888725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292852" y="1746250"/>
            <a:ext cx="5274733" cy="446405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369B80A-0F86-4400-9AA0-B5450211F8C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24418" y="1746250"/>
            <a:ext cx="5274733" cy="446405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99E4E5B-D651-7346-8745-F2B732325A2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A728A7FC-5A11-6D41-AD52-BFF68FBD057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95671118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9517CEC9-5F44-4399-A636-908D6B727EE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B0C878EC-937E-4122-9875-59BA786C238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4556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6847923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UBTITLE + 4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07403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47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02121CD1-D059-4749-9048-A950DAE4F40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300790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7584C210-7A6A-4E72-A342-49A9C6C91B1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BBF5066B-E6D2-49CE-BA01-EA21C96175F9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CEE2593-7D67-AC40-9D1F-A839338985C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8EF178F9-97EC-8F45-B9D0-BF5A7BF17B8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20B8DB71-5DF2-C04E-AF83-DBF86D30767B}"/>
              </a:ext>
            </a:extLst>
          </p:cNvPr>
          <p:cNvGrpSpPr/>
          <p:nvPr userDrawn="1"/>
        </p:nvGrpSpPr>
        <p:grpSpPr>
          <a:xfrm>
            <a:off x="1634604" y="3895712"/>
            <a:ext cx="8922792" cy="0"/>
            <a:chOff x="1277233" y="3895712"/>
            <a:chExt cx="6692094" cy="0"/>
          </a:xfrm>
        </p:grpSpPr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6BE41B89-C55A-B946-AC8C-237DD1B55C0D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277233" y="3895712"/>
              <a:ext cx="2858406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12DCBAA8-2FE7-5E48-9235-4E3273ED62B1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5064082" y="3895712"/>
              <a:ext cx="2905245" cy="0"/>
            </a:xfrm>
            <a:prstGeom prst="line">
              <a:avLst/>
            </a:prstGeom>
            <a:ln w="19050" cap="rnd">
              <a:solidFill>
                <a:schemeClr val="accent2"/>
              </a:solidFill>
              <a:prstDash val="solid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C63F3587-18B6-9946-BD15-07078823973B}"/>
              </a:ext>
            </a:extLst>
          </p:cNvPr>
          <p:cNvCxnSpPr>
            <a:cxnSpLocks/>
          </p:cNvCxnSpPr>
          <p:nvPr userDrawn="1"/>
        </p:nvCxnSpPr>
        <p:spPr>
          <a:xfrm>
            <a:off x="6096000" y="1871354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CEF27BE-3AF2-DF44-B04F-E2891E3A5DDC}"/>
              </a:ext>
            </a:extLst>
          </p:cNvPr>
          <p:cNvCxnSpPr>
            <a:cxnSpLocks/>
          </p:cNvCxnSpPr>
          <p:nvPr userDrawn="1"/>
        </p:nvCxnSpPr>
        <p:spPr>
          <a:xfrm>
            <a:off x="6096000" y="4313172"/>
            <a:ext cx="0" cy="1704515"/>
          </a:xfrm>
          <a:prstGeom prst="line">
            <a:avLst/>
          </a:prstGeom>
          <a:ln w="19050" cap="rnd">
            <a:solidFill>
              <a:schemeClr val="accent2"/>
            </a:solidFill>
            <a:prstDash val="solid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D0B0D022-0F2D-7345-A71D-90A9D84D818E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624738" y="44223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843FF5A2-AC55-D742-8EBC-7DD6A02B517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00790" y="4422314"/>
            <a:ext cx="5249332" cy="126728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157232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UBTITLE + 3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63E9D52-8822-41BE-A982-CD24D670D5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4736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0F06AD58-E70F-425E-A64E-7E93380CBC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300790" y="2015788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8D256943-8B0C-4F4E-800E-A120AD7F518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469536" y="3941383"/>
            <a:ext cx="5249333" cy="458633"/>
          </a:xfrm>
        </p:spPr>
        <p:txBody>
          <a:bodyPr/>
          <a:lstStyle>
            <a:lvl1pPr marL="0" indent="0">
              <a:buNone/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1FBFF86A-55FF-4667-A474-410A55DE5258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24738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C3628C1-6684-4037-A95B-E7C3A7E444A2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300790" y="2491914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F356DB6-8ABE-49EB-B67F-F69F8892596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3469537" y="4429201"/>
            <a:ext cx="5249332" cy="1678857"/>
          </a:xfrm>
        </p:spPr>
        <p:txBody>
          <a:bodyPr>
            <a:normAutofit/>
          </a:bodyPr>
          <a:lstStyle>
            <a:lvl1pPr marL="233363" indent="-233363"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18732566-D1B1-2646-BB74-04F2A6A6BF6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951157B3-F0D7-964E-A2D9-4D0068EAC7F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65689500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7967758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STITUTE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F1EA45C-2783-2141-B9EA-8DE9ACB93142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Shape">
            <a:extLst>
              <a:ext uri="{FF2B5EF4-FFF2-40B4-BE49-F238E27FC236}">
                <a16:creationId xmlns:a16="http://schemas.microsoft.com/office/drawing/2014/main" id="{D0E91E53-06E2-A945-98CC-250A99B4FEFB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14" name="Shape">
            <a:extLst>
              <a:ext uri="{FF2B5EF4-FFF2-40B4-BE49-F238E27FC236}">
                <a16:creationId xmlns:a16="http://schemas.microsoft.com/office/drawing/2014/main" id="{6C2C5490-DA83-8745-8D5D-138F02150CEF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1" y="1707786"/>
            <a:ext cx="5278596" cy="4502514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tx1"/>
                </a:solidFill>
              </a:defRPr>
            </a:lvl1pPr>
            <a:lvl2pPr>
              <a:defRPr sz="16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763161F4-DEBD-8549-BAC2-88340262F1F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9484240" y="170057"/>
            <a:ext cx="2250560" cy="1084521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sert logo her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F6621951-0364-634F-A285-95CF1365ECAD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1" name="Title 1">
            <a:extLst>
              <a:ext uri="{FF2B5EF4-FFF2-40B4-BE49-F238E27FC236}">
                <a16:creationId xmlns:a16="http://schemas.microsoft.com/office/drawing/2014/main" id="{AB097A5C-CAAA-6547-ADEE-1AA3EA35D4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010709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2FE030EF-B51F-8F47-8998-2EBE1EF5A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0D92D6F-2A8D-8746-9555-5FF0A14CF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646218A4-296A-7441-B063-616658B6F48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380016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E7B4B9-C2E5-584C-A6FD-1E6E7F8D1EB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24203" y="1708150"/>
            <a:ext cx="5588000" cy="4502150"/>
          </a:xfrm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1563496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6096000" y="5564185"/>
            <a:ext cx="6096000" cy="92929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5BC9E4E-DC08-F04A-907F-38011949DDF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6095999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C1575737-3A06-C042-B28A-86B83C3E21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12749" y="-245740"/>
            <a:ext cx="1806855" cy="311810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6000" b="0">
                <a:solidFill>
                  <a:srgbClr val="00A8E1"/>
                </a:solidFill>
                <a:latin typeface="+mn-lt"/>
              </a:defRPr>
            </a:lvl1pPr>
          </a:lstStyle>
          <a:p>
            <a:r>
              <a:rPr lang="en-US"/>
              <a:t>A</a:t>
            </a:r>
          </a:p>
        </p:txBody>
      </p:sp>
      <p:sp>
        <p:nvSpPr>
          <p:cNvPr id="16" name="Content Placeholder 18">
            <a:extLst>
              <a:ext uri="{FF2B5EF4-FFF2-40B4-BE49-F238E27FC236}">
                <a16:creationId xmlns:a16="http://schemas.microsoft.com/office/drawing/2014/main" id="{107172E8-0BD8-F544-908A-019163C1B5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430836" y="1140592"/>
            <a:ext cx="5273485" cy="914400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3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1870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828052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437404" indent="0">
              <a:buFontTx/>
              <a:buNone/>
              <a:defRPr sz="3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/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  <a:ea typeface="ヒラギノ角ゴ Pro W3" pitchFamily="116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A7097EC-1E36-4C71-9C58-09DB83CC70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30837" y="2322513"/>
            <a:ext cx="5272617" cy="3068637"/>
          </a:xfrm>
        </p:spPr>
        <p:txBody>
          <a:bodyPr>
            <a:noAutofit/>
          </a:bodyPr>
          <a:lstStyle>
            <a:lvl1pPr>
              <a:lnSpc>
                <a:spcPct val="120000"/>
              </a:lnSpc>
              <a:spcBef>
                <a:spcPts val="300"/>
              </a:spcBef>
              <a:spcAft>
                <a:spcPts val="600"/>
              </a:spcAft>
              <a:defRPr sz="1200">
                <a:solidFill>
                  <a:schemeClr val="bg1"/>
                </a:solidFill>
              </a:defRPr>
            </a:lvl1pPr>
            <a:lvl2pPr marL="401638" indent="-173038"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 marL="628650" indent="-171450">
              <a:lnSpc>
                <a:spcPct val="12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3pPr>
            <a:lvl4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ct val="120000"/>
              </a:lnSpc>
              <a:spcBef>
                <a:spcPts val="300"/>
              </a:spcBef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2923541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PT -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4B7CE0A-478C-934E-B0F2-25D6110333D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>
            <a:gsLst>
              <a:gs pos="100000">
                <a:schemeClr val="accent1"/>
              </a:gs>
              <a:gs pos="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Shape">
            <a:extLst>
              <a:ext uri="{FF2B5EF4-FFF2-40B4-BE49-F238E27FC236}">
                <a16:creationId xmlns:a16="http://schemas.microsoft.com/office/drawing/2014/main" id="{364FEA06-3D67-1140-B0E3-7F3BE884D5FB}"/>
              </a:ext>
            </a:extLst>
          </p:cNvPr>
          <p:cNvSpPr/>
          <p:nvPr userDrawn="1"/>
        </p:nvSpPr>
        <p:spPr>
          <a:xfrm>
            <a:off x="-1" y="4634893"/>
            <a:ext cx="12191993" cy="1858587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5800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4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kumimoji="0" sz="1525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C216FAC-B767-B347-8CC7-3DCA5840C23F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3" name="Slide Number Placeholder 6">
            <a:extLst>
              <a:ext uri="{FF2B5EF4-FFF2-40B4-BE49-F238E27FC236}">
                <a16:creationId xmlns:a16="http://schemas.microsoft.com/office/drawing/2014/main" id="{2A739097-FCBD-364F-9AFE-4D06F94CB9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/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/>
              </a:solidFill>
              <a:ea typeface="ヒラギノ角ゴ Pro W3" pitchFamily="116" charset="-128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F24160B-4D19-E943-87A4-783C2E21192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biLevel thresh="25000"/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89063762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7945861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00552292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1905607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839292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330605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4252761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68111017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917425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859751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8271877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129740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46161835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99763353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9906204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89371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839196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4263597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42334943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7776301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73780612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69085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577169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772999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04928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51656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85220189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40125896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058394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8831681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64405047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729977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92138345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67330745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884516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5668637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0196144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54654305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9555388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6423479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20961168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2466526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7406571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88725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079226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599586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5000280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718118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534680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13402278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0766573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3044822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3152329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8397692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476332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56400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0248823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44540002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28592740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3211831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6945288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48068056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6788733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488569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5365733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95564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385849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89309196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339400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81968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025272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885335670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564523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137928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3235103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0252132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0845964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664402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573249767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79102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4011789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412037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2439313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54979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19764124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563200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26156509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19378419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9019169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96475941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1208990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22582517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582609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685830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60505573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769676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4455436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79662267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0036100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88841762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666485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825022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295509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9/22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55219722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9/22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46639017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988817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53048151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429459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786669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58656829"/>
      </p:ext>
    </p:extLst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7933181"/>
      </p:ext>
    </p:extLst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511967"/>
      </p:ext>
    </p:extLst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7549558"/>
      </p:ext>
    </p:extLst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786625"/>
      </p:ext>
    </p:extLst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446015"/>
      </p:ext>
    </p:extLst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9367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784057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41905590"/>
      </p:ext>
    </p:extLst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404026"/>
      </p:ext>
    </p:extLst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85589"/>
      </p:ext>
    </p:extLst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02913737"/>
      </p:ext>
    </p:extLst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71072050"/>
      </p:ext>
    </p:extLst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7609151"/>
      </p:ext>
    </p:extLst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15962140"/>
      </p:ext>
    </p:extLst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03441"/>
      </p:ext>
    </p:extLst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6991494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83392529"/>
      </p:ext>
    </p:extLst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3477421"/>
      </p:ext>
    </p:extLst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555067"/>
      </p:ext>
    </p:extLst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3563745"/>
      </p:ext>
    </p:extLst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59653553"/>
      </p:ext>
    </p:extLst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732211"/>
      </p:ext>
    </p:extLst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80357275"/>
      </p:ext>
    </p:extLst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31620422"/>
      </p:ext>
    </p:extLst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302031"/>
      </p:ext>
    </p:extLst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097615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1504042"/>
      </p:ext>
    </p:extLst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376765"/>
      </p:ext>
    </p:extLst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521919"/>
      </p:ext>
    </p:extLst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099240456"/>
      </p:ext>
    </p:extLst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281681"/>
      </p:ext>
    </p:extLst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4181997"/>
      </p:ext>
    </p:extLst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06961407"/>
      </p:ext>
    </p:extLst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442027"/>
      </p:ext>
    </p:extLst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17746009"/>
      </p:ext>
    </p:extLst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4893951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891307"/>
      </p:ext>
    </p:extLst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8726497"/>
      </p:ext>
    </p:extLst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2279873"/>
      </p:ext>
    </p:extLst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45562902"/>
      </p:ext>
    </p:extLst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89002723"/>
      </p:ext>
    </p:extLst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33272347"/>
      </p:ext>
    </p:extLst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4588803"/>
      </p:ext>
    </p:extLst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80211776"/>
      </p:ext>
    </p:extLst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665424283"/>
      </p:ext>
    </p:extLst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2581836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5682025"/>
      </p:ext>
    </p:extLst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996536"/>
      </p:ext>
    </p:extLst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6273013"/>
      </p:ext>
    </p:extLst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6178103"/>
      </p:ext>
    </p:extLst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41865927"/>
      </p:ext>
    </p:extLst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2650295"/>
      </p:ext>
    </p:extLst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486669"/>
      </p:ext>
    </p:extLst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25714140"/>
      </p:ext>
    </p:extLst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1875731"/>
      </p:ext>
    </p:extLst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596156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55970654"/>
      </p:ext>
    </p:extLst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6303354"/>
      </p:ext>
    </p:extLst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406627"/>
      </p:ext>
    </p:extLst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10769816"/>
      </p:ext>
    </p:extLst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66180108"/>
      </p:ext>
    </p:extLst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76317991"/>
      </p:ext>
    </p:extLst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81736797"/>
      </p:ext>
    </p:extLst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801621"/>
      </p:ext>
    </p:extLst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19508990"/>
      </p:ext>
    </p:extLst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24350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55435854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6247880"/>
      </p:ext>
    </p:extLst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8605933"/>
      </p:ext>
    </p:extLst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73836234"/>
      </p:ext>
    </p:extLst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27580314"/>
      </p:ext>
    </p:extLst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69217150"/>
      </p:ext>
    </p:extLst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03815851"/>
      </p:ext>
    </p:extLst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6566578"/>
      </p:ext>
    </p:extLst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46664266"/>
      </p:ext>
    </p:extLst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520878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193848"/>
      </p:ext>
    </p:extLst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57370"/>
      </p:ext>
    </p:extLst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54412"/>
      </p:ext>
    </p:extLst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02387760"/>
      </p:ext>
    </p:extLst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94998246"/>
      </p:ext>
    </p:extLst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430601"/>
      </p:ext>
    </p:extLst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847817"/>
      </p:ext>
    </p:extLst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0023861"/>
      </p:ext>
    </p:extLst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0487229"/>
      </p:ext>
    </p:extLst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839689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60791583"/>
      </p:ext>
    </p:extLst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69154071"/>
      </p:ext>
    </p:extLst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69921023"/>
      </p:ext>
    </p:extLst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8393675"/>
      </p:ext>
    </p:extLst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99692006"/>
      </p:ext>
    </p:extLst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194286"/>
      </p:ext>
    </p:extLst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454746"/>
      </p:ext>
    </p:extLst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14167691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32649720"/>
      </p:ext>
    </p:extLst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0333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1272418"/>
      </p:ext>
    </p:extLst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93072254"/>
      </p:ext>
    </p:extLst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679292833"/>
      </p:ext>
    </p:extLst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02308513"/>
      </p:ext>
    </p:extLst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5161965"/>
      </p:ext>
    </p:extLst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765250"/>
      </p:ext>
    </p:extLst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75326797"/>
      </p:ext>
    </p:extLst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7401208"/>
      </p:ext>
    </p:extLst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41133926"/>
      </p:ext>
    </p:extLst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9695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1037056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312405"/>
      </p:ext>
    </p:extLst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61907989"/>
      </p:ext>
    </p:extLst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01814782"/>
      </p:ext>
    </p:extLst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35766241"/>
      </p:ext>
    </p:extLst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750091"/>
      </p:ext>
    </p:extLst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457782"/>
      </p:ext>
    </p:extLst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3286998"/>
      </p:ext>
    </p:extLst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1337797"/>
      </p:ext>
    </p:extLst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34356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132652"/>
      </p:ext>
    </p:extLst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59202650"/>
      </p:ext>
    </p:extLst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974932"/>
      </p:ext>
    </p:extLst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91514975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4622626"/>
      </p:ext>
    </p:extLst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672960"/>
      </p:ext>
    </p:extLst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89625986"/>
      </p:ext>
    </p:extLst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873406214"/>
      </p:ext>
    </p:extLst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91442400"/>
      </p:ext>
    </p:extLst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6427794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781326"/>
      </p:ext>
    </p:extLst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2806040"/>
      </p:ext>
    </p:extLst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768801"/>
      </p:ext>
    </p:extLst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87499949"/>
      </p:ext>
    </p:extLst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10919870"/>
      </p:ext>
    </p:extLst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57486424"/>
      </p:ext>
    </p:extLst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23496202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5915246"/>
      </p:ext>
    </p:extLst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74958637"/>
      </p:ext>
    </p:extLst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71911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936052"/>
      </p:ext>
    </p:extLst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998900"/>
      </p:ext>
    </p:extLst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7711961"/>
      </p:ext>
    </p:extLst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37426205"/>
      </p:ext>
    </p:extLst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14117009"/>
      </p:ext>
    </p:extLst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989404"/>
      </p:ext>
    </p:extLst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667582"/>
      </p:ext>
    </p:extLst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67461911"/>
      </p:ext>
    </p:extLst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68215510"/>
      </p:ext>
    </p:extLst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9347986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78288938"/>
      </p:ext>
    </p:extLst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467861"/>
      </p:ext>
    </p:extLst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9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38305983"/>
      </p:ext>
    </p:extLst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59417129"/>
      </p:ext>
    </p:extLst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08008879"/>
      </p:ext>
    </p:extLst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914290"/>
      </p:ext>
    </p:extLst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046014"/>
      </p:ext>
    </p:extLst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55924491"/>
      </p:ext>
    </p:extLst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1403802"/>
      </p:ext>
    </p:extLst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655410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44173426"/>
      </p:ext>
    </p:extLst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475408"/>
      </p:ext>
    </p:extLst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0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65405487"/>
      </p:ext>
    </p:extLst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202052"/>
      </p:ext>
    </p:extLst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689509"/>
      </p:ext>
    </p:extLst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89079568"/>
      </p:ext>
    </p:extLst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59101730"/>
      </p:ext>
    </p:extLst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4138466"/>
      </p:ext>
    </p:extLst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793406981"/>
      </p:ext>
    </p:extLst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99395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821559"/>
      </p:ext>
    </p:extLst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4986730"/>
      </p:ext>
    </p:extLst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40253108"/>
      </p:ext>
    </p:extLst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18056055"/>
      </p:ext>
    </p:extLst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17530168"/>
      </p:ext>
    </p:extLst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446302"/>
      </p:ext>
    </p:extLst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63546709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88494269"/>
      </p:ext>
    </p:extLst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977888558"/>
      </p:ext>
    </p:extLst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51847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0747982"/>
      </p:ext>
    </p:extLst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39454758"/>
      </p:ext>
    </p:extLst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58741675"/>
      </p:ext>
    </p:extLst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19656943"/>
      </p:ext>
    </p:extLst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22993520"/>
      </p:ext>
    </p:extLst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817857"/>
      </p:ext>
    </p:extLst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75611118"/>
      </p:ext>
    </p:extLst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020288"/>
      </p:ext>
    </p:extLst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196618"/>
      </p:ext>
    </p:extLst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8533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218432"/>
      </p:ext>
    </p:extLst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188070287"/>
      </p:ext>
    </p:extLst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613966"/>
      </p:ext>
    </p:extLst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203387"/>
      </p:ext>
    </p:extLst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048944"/>
      </p:ext>
    </p:extLst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312168158"/>
      </p:ext>
    </p:extLst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875799"/>
      </p:ext>
    </p:extLst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885179"/>
      </p:ext>
    </p:extLst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2728764"/>
      </p:ext>
    </p:extLst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43124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926850"/>
      </p:ext>
    </p:extLst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532073794"/>
      </p:ext>
    </p:extLst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44822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40737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915844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162446053"/>
      </p:ext>
    </p:extLst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466658"/>
      </p:ext>
    </p:extLst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77554"/>
      </p:ext>
    </p:extLst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471444469"/>
      </p:ext>
    </p:extLst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26147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95107200"/>
      </p:ext>
    </p:extLst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86235398"/>
      </p:ext>
    </p:extLst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5299818"/>
      </p:ext>
    </p:extLst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5497420"/>
      </p:ext>
    </p:extLst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07506520"/>
      </p:ext>
    </p:extLst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34900461"/>
      </p:ext>
    </p:extLst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34264774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110683072"/>
      </p:ext>
    </p:extLst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92207"/>
      </p:ext>
    </p:extLst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83638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0532286"/>
      </p:ext>
    </p:extLst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2464223"/>
      </p:ext>
    </p:extLst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99846289"/>
      </p:ext>
    </p:extLst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4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0055518"/>
      </p:ext>
    </p:extLst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Presentation </a:t>
            </a:r>
          </a:p>
          <a:p>
            <a:pPr lvl="0"/>
            <a:r>
              <a:rPr lang="en-US" dirty="0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Presentation Subtitle</a:t>
            </a:r>
          </a:p>
          <a:p>
            <a:pPr lvl="0"/>
            <a:r>
              <a:rPr lang="en-US" dirty="0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1708269591"/>
      </p:ext>
    </p:extLst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3025156"/>
      </p:ext>
    </p:extLst>
  </p:cSld>
  <p:clrMapOvr>
    <a:masterClrMapping/>
  </p:clrMapOvr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 dirty="0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87739094"/>
      </p:ext>
    </p:extLst>
  </p:cSld>
  <p:clrMapOvr>
    <a:masterClrMapping/>
  </p:clrMapOvr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ection </a:t>
            </a:r>
            <a:br>
              <a:rPr lang="en-US" dirty="0"/>
            </a:br>
            <a:r>
              <a:rPr lang="en-US" dirty="0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3045977769"/>
      </p:ext>
    </p:extLst>
  </p:cSld>
  <p:clrMapOvr>
    <a:masterClrMapping/>
  </p:clrMapOvr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2792696"/>
      </p:ext>
    </p:extLst>
  </p:cSld>
  <p:clrMapOvr>
    <a:masterClrMapping/>
  </p:clrMapOvr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592551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825581"/>
      </p:ext>
    </p:extLst>
  </p:cSld>
  <p:clrMapOvr>
    <a:masterClrMapping/>
  </p:clrMapOvr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350924"/>
      </p:ext>
    </p:extLst>
  </p:cSld>
  <p:clrMapOvr>
    <a:masterClrMapping/>
  </p:clrMapOvr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899720"/>
      </p:ext>
    </p:extLst>
  </p:cSld>
  <p:clrMapOvr>
    <a:masterClrMapping/>
  </p:clrMapOvr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738101791"/>
      </p:ext>
    </p:extLst>
  </p:cSld>
  <p:clrMapOvr>
    <a:masterClrMapping/>
  </p:clrMapOvr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617285"/>
      </p:ext>
    </p:extLst>
  </p:cSld>
  <p:clrMapOvr>
    <a:masterClrMapping/>
  </p:clrMapOvr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1612306"/>
      </p:ext>
    </p:extLst>
  </p:cSld>
  <p:clrMapOvr>
    <a:masterClrMapping/>
  </p:clrMapOvr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9/22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547609"/>
      </p:ext>
    </p:extLst>
  </p:cSld>
  <p:clrMapOvr>
    <a:masterClrMapping/>
  </p:clrMapOvr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70963"/>
      </p:ext>
    </p:extLst>
  </p:cSld>
  <p:clrMapOvr>
    <a:masterClrMapping/>
  </p:clrMapOvr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89790824"/>
      </p:ext>
    </p:extLst>
  </p:cSld>
  <p:clrMapOvr>
    <a:masterClrMapping/>
  </p:clrMapOvr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23982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9/22/2023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471095"/>
      </p:ext>
    </p:extLst>
  </p:cSld>
  <p:clrMapOvr>
    <a:masterClrMapping/>
  </p:clrMapOvr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9/22/2023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48747606"/>
      </p:ext>
    </p:extLst>
  </p:cSld>
  <p:clrMapOvr>
    <a:masterClrMapping/>
  </p:clrMapOvr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1816952"/>
      </p:ext>
    </p:extLst>
  </p:cSld>
  <p:clrMapOvr>
    <a:masterClrMapping/>
  </p:clrMapOvr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69183587"/>
      </p:ext>
    </p:extLst>
  </p:cSld>
  <p:clrMapOvr>
    <a:masterClrMapping/>
  </p:clrMapOvr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6383390"/>
      </p:ext>
    </p:extLst>
  </p:cSld>
  <p:clrMapOvr>
    <a:masterClrMapping/>
  </p:clrMapOvr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316166"/>
      </p:ext>
    </p:extLst>
  </p:cSld>
  <p:clrMapOvr>
    <a:masterClrMapping/>
  </p:clrMapOvr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781396056"/>
      </p:ext>
    </p:extLst>
  </p:cSld>
  <p:clrMapOvr>
    <a:masterClrMapping/>
  </p:clrMapOvr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775498"/>
      </p:ext>
    </p:extLst>
  </p:cSld>
  <p:clrMapOvr>
    <a:masterClrMapping/>
  </p:clrMapOvr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71711323"/>
      </p:ext>
    </p:extLst>
  </p:cSld>
  <p:clrMapOvr>
    <a:masterClrMapping/>
  </p:clrMapOvr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510748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319650"/>
      </p:ext>
    </p:extLst>
  </p:cSld>
  <p:clrMapOvr>
    <a:masterClrMapping/>
  </p:clrMapOvr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5467746"/>
      </p:ext>
    </p:extLst>
  </p:cSld>
  <p:clrMapOvr>
    <a:masterClrMapping/>
  </p:clrMapOvr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60366616"/>
      </p:ext>
    </p:extLst>
  </p:cSld>
  <p:clrMapOvr>
    <a:masterClrMapping/>
  </p:clrMapOvr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066374"/>
      </p:ext>
    </p:extLst>
  </p:cSld>
  <p:clrMapOvr>
    <a:masterClrMapping/>
  </p:clrMapOvr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9247090"/>
      </p:ext>
    </p:extLst>
  </p:cSld>
  <p:clrMapOvr>
    <a:masterClrMapping/>
  </p:clrMapOvr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3939330"/>
      </p:ext>
    </p:extLst>
  </p:cSld>
  <p:clrMapOvr>
    <a:masterClrMapping/>
  </p:clrMapOvr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046556817"/>
      </p:ext>
    </p:extLst>
  </p:cSld>
  <p:clrMapOvr>
    <a:masterClrMapping/>
  </p:clrMapOvr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45608327"/>
      </p:ext>
    </p:extLst>
  </p:cSld>
  <p:clrMapOvr>
    <a:masterClrMapping/>
  </p:clrMapOvr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07906071"/>
      </p:ext>
    </p:extLst>
  </p:cSld>
  <p:clrMapOvr>
    <a:masterClrMapping/>
  </p:clrMapOvr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378957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9200417"/>
      </p:ext>
    </p:extLst>
  </p:cSld>
  <p:clrMapOvr>
    <a:masterClrMapping/>
  </p:clrMapOvr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74686455"/>
      </p:ext>
    </p:extLst>
  </p:cSld>
  <p:clrMapOvr>
    <a:masterClrMapping/>
  </p:clrMapOvr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1151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17.xml"/><Relationship Id="rId299" Type="http://schemas.openxmlformats.org/officeDocument/2006/relationships/slideLayout" Target="../slideLayouts/slideLayout299.xml"/><Relationship Id="rId21" Type="http://schemas.openxmlformats.org/officeDocument/2006/relationships/slideLayout" Target="../slideLayouts/slideLayout21.xml"/><Relationship Id="rId63" Type="http://schemas.openxmlformats.org/officeDocument/2006/relationships/slideLayout" Target="../slideLayouts/slideLayout63.xml"/><Relationship Id="rId159" Type="http://schemas.openxmlformats.org/officeDocument/2006/relationships/slideLayout" Target="../slideLayouts/slideLayout159.xml"/><Relationship Id="rId324" Type="http://schemas.openxmlformats.org/officeDocument/2006/relationships/slideLayout" Target="../slideLayouts/slideLayout324.xml"/><Relationship Id="rId170" Type="http://schemas.openxmlformats.org/officeDocument/2006/relationships/slideLayout" Target="../slideLayouts/slideLayout170.xml"/><Relationship Id="rId226" Type="http://schemas.openxmlformats.org/officeDocument/2006/relationships/slideLayout" Target="../slideLayouts/slideLayout226.xml"/><Relationship Id="rId268" Type="http://schemas.openxmlformats.org/officeDocument/2006/relationships/slideLayout" Target="../slideLayouts/slideLayout268.xml"/><Relationship Id="rId32" Type="http://schemas.openxmlformats.org/officeDocument/2006/relationships/slideLayout" Target="../slideLayouts/slideLayout32.xml"/><Relationship Id="rId74" Type="http://schemas.openxmlformats.org/officeDocument/2006/relationships/slideLayout" Target="../slideLayouts/slideLayout74.xml"/><Relationship Id="rId128" Type="http://schemas.openxmlformats.org/officeDocument/2006/relationships/slideLayout" Target="../slideLayouts/slideLayout128.xml"/><Relationship Id="rId335" Type="http://schemas.openxmlformats.org/officeDocument/2006/relationships/slideLayout" Target="../slideLayouts/slideLayout335.xml"/><Relationship Id="rId5" Type="http://schemas.openxmlformats.org/officeDocument/2006/relationships/slideLayout" Target="../slideLayouts/slideLayout5.xml"/><Relationship Id="rId181" Type="http://schemas.openxmlformats.org/officeDocument/2006/relationships/slideLayout" Target="../slideLayouts/slideLayout181.xml"/><Relationship Id="rId237" Type="http://schemas.openxmlformats.org/officeDocument/2006/relationships/slideLayout" Target="../slideLayouts/slideLayout237.xml"/><Relationship Id="rId279" Type="http://schemas.openxmlformats.org/officeDocument/2006/relationships/slideLayout" Target="../slideLayouts/slideLayout279.xml"/><Relationship Id="rId43" Type="http://schemas.openxmlformats.org/officeDocument/2006/relationships/slideLayout" Target="../slideLayouts/slideLayout43.xml"/><Relationship Id="rId139" Type="http://schemas.openxmlformats.org/officeDocument/2006/relationships/slideLayout" Target="../slideLayouts/slideLayout139.xml"/><Relationship Id="rId290" Type="http://schemas.openxmlformats.org/officeDocument/2006/relationships/slideLayout" Target="../slideLayouts/slideLayout290.xml"/><Relationship Id="rId304" Type="http://schemas.openxmlformats.org/officeDocument/2006/relationships/slideLayout" Target="../slideLayouts/slideLayout304.xml"/><Relationship Id="rId85" Type="http://schemas.openxmlformats.org/officeDocument/2006/relationships/slideLayout" Target="../slideLayouts/slideLayout85.xml"/><Relationship Id="rId150" Type="http://schemas.openxmlformats.org/officeDocument/2006/relationships/slideLayout" Target="../slideLayouts/slideLayout150.xml"/><Relationship Id="rId192" Type="http://schemas.openxmlformats.org/officeDocument/2006/relationships/slideLayout" Target="../slideLayouts/slideLayout192.xml"/><Relationship Id="rId206" Type="http://schemas.openxmlformats.org/officeDocument/2006/relationships/slideLayout" Target="../slideLayouts/slideLayout206.xml"/><Relationship Id="rId248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12.xml"/><Relationship Id="rId108" Type="http://schemas.openxmlformats.org/officeDocument/2006/relationships/slideLayout" Target="../slideLayouts/slideLayout108.xml"/><Relationship Id="rId315" Type="http://schemas.openxmlformats.org/officeDocument/2006/relationships/slideLayout" Target="../slideLayouts/slideLayout315.xml"/><Relationship Id="rId54" Type="http://schemas.openxmlformats.org/officeDocument/2006/relationships/slideLayout" Target="../slideLayouts/slideLayout54.xml"/><Relationship Id="rId96" Type="http://schemas.openxmlformats.org/officeDocument/2006/relationships/slideLayout" Target="../slideLayouts/slideLayout96.xml"/><Relationship Id="rId161" Type="http://schemas.openxmlformats.org/officeDocument/2006/relationships/slideLayout" Target="../slideLayouts/slideLayout161.xml"/><Relationship Id="rId217" Type="http://schemas.openxmlformats.org/officeDocument/2006/relationships/slideLayout" Target="../slideLayouts/slideLayout217.xml"/><Relationship Id="rId259" Type="http://schemas.openxmlformats.org/officeDocument/2006/relationships/slideLayout" Target="../slideLayouts/slideLayout259.xml"/><Relationship Id="rId23" Type="http://schemas.openxmlformats.org/officeDocument/2006/relationships/slideLayout" Target="../slideLayouts/slideLayout23.xml"/><Relationship Id="rId119" Type="http://schemas.openxmlformats.org/officeDocument/2006/relationships/slideLayout" Target="../slideLayouts/slideLayout119.xml"/><Relationship Id="rId270" Type="http://schemas.openxmlformats.org/officeDocument/2006/relationships/slideLayout" Target="../slideLayouts/slideLayout270.xml"/><Relationship Id="rId326" Type="http://schemas.openxmlformats.org/officeDocument/2006/relationships/slideLayout" Target="../slideLayouts/slideLayout326.xml"/><Relationship Id="rId65" Type="http://schemas.openxmlformats.org/officeDocument/2006/relationships/slideLayout" Target="../slideLayouts/slideLayout65.xml"/><Relationship Id="rId130" Type="http://schemas.openxmlformats.org/officeDocument/2006/relationships/slideLayout" Target="../slideLayouts/slideLayout130.xml"/><Relationship Id="rId172" Type="http://schemas.openxmlformats.org/officeDocument/2006/relationships/slideLayout" Target="../slideLayouts/slideLayout172.xml"/><Relationship Id="rId228" Type="http://schemas.openxmlformats.org/officeDocument/2006/relationships/slideLayout" Target="../slideLayouts/slideLayout228.xml"/><Relationship Id="rId281" Type="http://schemas.openxmlformats.org/officeDocument/2006/relationships/slideLayout" Target="../slideLayouts/slideLayout281.xml"/><Relationship Id="rId337" Type="http://schemas.openxmlformats.org/officeDocument/2006/relationships/slideLayout" Target="../slideLayouts/slideLayout337.xml"/><Relationship Id="rId34" Type="http://schemas.openxmlformats.org/officeDocument/2006/relationships/slideLayout" Target="../slideLayouts/slideLayout34.xml"/><Relationship Id="rId76" Type="http://schemas.openxmlformats.org/officeDocument/2006/relationships/slideLayout" Target="../slideLayouts/slideLayout76.xml"/><Relationship Id="rId141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7.xml"/><Relationship Id="rId183" Type="http://schemas.openxmlformats.org/officeDocument/2006/relationships/slideLayout" Target="../slideLayouts/slideLayout183.xml"/><Relationship Id="rId239" Type="http://schemas.openxmlformats.org/officeDocument/2006/relationships/slideLayout" Target="../slideLayouts/slideLayout239.xml"/><Relationship Id="rId250" Type="http://schemas.openxmlformats.org/officeDocument/2006/relationships/slideLayout" Target="../slideLayouts/slideLayout250.xml"/><Relationship Id="rId292" Type="http://schemas.openxmlformats.org/officeDocument/2006/relationships/slideLayout" Target="../slideLayouts/slideLayout292.xml"/><Relationship Id="rId306" Type="http://schemas.openxmlformats.org/officeDocument/2006/relationships/slideLayout" Target="../slideLayouts/slideLayout306.xml"/><Relationship Id="rId45" Type="http://schemas.openxmlformats.org/officeDocument/2006/relationships/slideLayout" Target="../slideLayouts/slideLayout45.xml"/><Relationship Id="rId87" Type="http://schemas.openxmlformats.org/officeDocument/2006/relationships/slideLayout" Target="../slideLayouts/slideLayout87.xml"/><Relationship Id="rId110" Type="http://schemas.openxmlformats.org/officeDocument/2006/relationships/slideLayout" Target="../slideLayouts/slideLayout110.xml"/><Relationship Id="rId152" Type="http://schemas.openxmlformats.org/officeDocument/2006/relationships/slideLayout" Target="../slideLayouts/slideLayout152.xml"/><Relationship Id="rId194" Type="http://schemas.openxmlformats.org/officeDocument/2006/relationships/slideLayout" Target="../slideLayouts/slideLayout194.xml"/><Relationship Id="rId208" Type="http://schemas.openxmlformats.org/officeDocument/2006/relationships/slideLayout" Target="../slideLayouts/slideLayout208.xml"/><Relationship Id="rId240" Type="http://schemas.openxmlformats.org/officeDocument/2006/relationships/slideLayout" Target="../slideLayouts/slideLayout240.xml"/><Relationship Id="rId261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14.xml"/><Relationship Id="rId35" Type="http://schemas.openxmlformats.org/officeDocument/2006/relationships/slideLayout" Target="../slideLayouts/slideLayout35.xml"/><Relationship Id="rId56" Type="http://schemas.openxmlformats.org/officeDocument/2006/relationships/slideLayout" Target="../slideLayouts/slideLayout56.xml"/><Relationship Id="rId77" Type="http://schemas.openxmlformats.org/officeDocument/2006/relationships/slideLayout" Target="../slideLayouts/slideLayout77.xml"/><Relationship Id="rId100" Type="http://schemas.openxmlformats.org/officeDocument/2006/relationships/slideLayout" Target="../slideLayouts/slideLayout100.xml"/><Relationship Id="rId282" Type="http://schemas.openxmlformats.org/officeDocument/2006/relationships/slideLayout" Target="../slideLayouts/slideLayout282.xml"/><Relationship Id="rId317" Type="http://schemas.openxmlformats.org/officeDocument/2006/relationships/slideLayout" Target="../slideLayouts/slideLayout317.xml"/><Relationship Id="rId338" Type="http://schemas.openxmlformats.org/officeDocument/2006/relationships/slideLayout" Target="../slideLayouts/slideLayout338.xml"/><Relationship Id="rId8" Type="http://schemas.openxmlformats.org/officeDocument/2006/relationships/slideLayout" Target="../slideLayouts/slideLayout8.xml"/><Relationship Id="rId98" Type="http://schemas.openxmlformats.org/officeDocument/2006/relationships/slideLayout" Target="../slideLayouts/slideLayout98.xml"/><Relationship Id="rId121" Type="http://schemas.openxmlformats.org/officeDocument/2006/relationships/slideLayout" Target="../slideLayouts/slideLayout121.xml"/><Relationship Id="rId142" Type="http://schemas.openxmlformats.org/officeDocument/2006/relationships/slideLayout" Target="../slideLayouts/slideLayout142.xml"/><Relationship Id="rId163" Type="http://schemas.openxmlformats.org/officeDocument/2006/relationships/slideLayout" Target="../slideLayouts/slideLayout163.xml"/><Relationship Id="rId184" Type="http://schemas.openxmlformats.org/officeDocument/2006/relationships/slideLayout" Target="../slideLayouts/slideLayout184.xml"/><Relationship Id="rId219" Type="http://schemas.openxmlformats.org/officeDocument/2006/relationships/slideLayout" Target="../slideLayouts/slideLayout219.xml"/><Relationship Id="rId230" Type="http://schemas.openxmlformats.org/officeDocument/2006/relationships/slideLayout" Target="../slideLayouts/slideLayout230.xml"/><Relationship Id="rId251" Type="http://schemas.openxmlformats.org/officeDocument/2006/relationships/slideLayout" Target="../slideLayouts/slideLayout251.xml"/><Relationship Id="rId25" Type="http://schemas.openxmlformats.org/officeDocument/2006/relationships/slideLayout" Target="../slideLayouts/slideLayout25.xml"/><Relationship Id="rId46" Type="http://schemas.openxmlformats.org/officeDocument/2006/relationships/slideLayout" Target="../slideLayouts/slideLayout46.xml"/><Relationship Id="rId67" Type="http://schemas.openxmlformats.org/officeDocument/2006/relationships/slideLayout" Target="../slideLayouts/slideLayout67.xml"/><Relationship Id="rId272" Type="http://schemas.openxmlformats.org/officeDocument/2006/relationships/slideLayout" Target="../slideLayouts/slideLayout272.xml"/><Relationship Id="rId293" Type="http://schemas.openxmlformats.org/officeDocument/2006/relationships/slideLayout" Target="../slideLayouts/slideLayout293.xml"/><Relationship Id="rId307" Type="http://schemas.openxmlformats.org/officeDocument/2006/relationships/slideLayout" Target="../slideLayouts/slideLayout307.xml"/><Relationship Id="rId328" Type="http://schemas.openxmlformats.org/officeDocument/2006/relationships/slideLayout" Target="../slideLayouts/slideLayout328.xml"/><Relationship Id="rId88" Type="http://schemas.openxmlformats.org/officeDocument/2006/relationships/slideLayout" Target="../slideLayouts/slideLayout88.xml"/><Relationship Id="rId111" Type="http://schemas.openxmlformats.org/officeDocument/2006/relationships/slideLayout" Target="../slideLayouts/slideLayout111.xml"/><Relationship Id="rId132" Type="http://schemas.openxmlformats.org/officeDocument/2006/relationships/slideLayout" Target="../slideLayouts/slideLayout132.xml"/><Relationship Id="rId153" Type="http://schemas.openxmlformats.org/officeDocument/2006/relationships/slideLayout" Target="../slideLayouts/slideLayout153.xml"/><Relationship Id="rId174" Type="http://schemas.openxmlformats.org/officeDocument/2006/relationships/slideLayout" Target="../slideLayouts/slideLayout174.xml"/><Relationship Id="rId195" Type="http://schemas.openxmlformats.org/officeDocument/2006/relationships/slideLayout" Target="../slideLayouts/slideLayout195.xml"/><Relationship Id="rId209" Type="http://schemas.openxmlformats.org/officeDocument/2006/relationships/slideLayout" Target="../slideLayouts/slideLayout209.xml"/><Relationship Id="rId220" Type="http://schemas.openxmlformats.org/officeDocument/2006/relationships/slideLayout" Target="../slideLayouts/slideLayout220.xml"/><Relationship Id="rId241" Type="http://schemas.openxmlformats.org/officeDocument/2006/relationships/slideLayout" Target="../slideLayouts/slideLayout241.xml"/><Relationship Id="rId15" Type="http://schemas.openxmlformats.org/officeDocument/2006/relationships/slideLayout" Target="../slideLayouts/slideLayout15.xml"/><Relationship Id="rId36" Type="http://schemas.openxmlformats.org/officeDocument/2006/relationships/slideLayout" Target="../slideLayouts/slideLayout36.xml"/><Relationship Id="rId57" Type="http://schemas.openxmlformats.org/officeDocument/2006/relationships/slideLayout" Target="../slideLayouts/slideLayout57.xml"/><Relationship Id="rId262" Type="http://schemas.openxmlformats.org/officeDocument/2006/relationships/slideLayout" Target="../slideLayouts/slideLayout262.xml"/><Relationship Id="rId283" Type="http://schemas.openxmlformats.org/officeDocument/2006/relationships/slideLayout" Target="../slideLayouts/slideLayout283.xml"/><Relationship Id="rId318" Type="http://schemas.openxmlformats.org/officeDocument/2006/relationships/slideLayout" Target="../slideLayouts/slideLayout318.xml"/><Relationship Id="rId339" Type="http://schemas.openxmlformats.org/officeDocument/2006/relationships/slideLayout" Target="../slideLayouts/slideLayout339.xml"/><Relationship Id="rId78" Type="http://schemas.openxmlformats.org/officeDocument/2006/relationships/slideLayout" Target="../slideLayouts/slideLayout78.xml"/><Relationship Id="rId99" Type="http://schemas.openxmlformats.org/officeDocument/2006/relationships/slideLayout" Target="../slideLayouts/slideLayout99.xml"/><Relationship Id="rId101" Type="http://schemas.openxmlformats.org/officeDocument/2006/relationships/slideLayout" Target="../slideLayouts/slideLayout101.xml"/><Relationship Id="rId122" Type="http://schemas.openxmlformats.org/officeDocument/2006/relationships/slideLayout" Target="../slideLayouts/slideLayout122.xml"/><Relationship Id="rId143" Type="http://schemas.openxmlformats.org/officeDocument/2006/relationships/slideLayout" Target="../slideLayouts/slideLayout143.xml"/><Relationship Id="rId164" Type="http://schemas.openxmlformats.org/officeDocument/2006/relationships/slideLayout" Target="../slideLayouts/slideLayout164.xml"/><Relationship Id="rId185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9.xml"/><Relationship Id="rId210" Type="http://schemas.openxmlformats.org/officeDocument/2006/relationships/slideLayout" Target="../slideLayouts/slideLayout210.xml"/><Relationship Id="rId26" Type="http://schemas.openxmlformats.org/officeDocument/2006/relationships/slideLayout" Target="../slideLayouts/slideLayout26.xml"/><Relationship Id="rId231" Type="http://schemas.openxmlformats.org/officeDocument/2006/relationships/slideLayout" Target="../slideLayouts/slideLayout231.xml"/><Relationship Id="rId252" Type="http://schemas.openxmlformats.org/officeDocument/2006/relationships/slideLayout" Target="../slideLayouts/slideLayout252.xml"/><Relationship Id="rId273" Type="http://schemas.openxmlformats.org/officeDocument/2006/relationships/slideLayout" Target="../slideLayouts/slideLayout273.xml"/><Relationship Id="rId294" Type="http://schemas.openxmlformats.org/officeDocument/2006/relationships/slideLayout" Target="../slideLayouts/slideLayout294.xml"/><Relationship Id="rId308" Type="http://schemas.openxmlformats.org/officeDocument/2006/relationships/slideLayout" Target="../slideLayouts/slideLayout308.xml"/><Relationship Id="rId329" Type="http://schemas.openxmlformats.org/officeDocument/2006/relationships/slideLayout" Target="../slideLayouts/slideLayout329.xml"/><Relationship Id="rId47" Type="http://schemas.openxmlformats.org/officeDocument/2006/relationships/slideLayout" Target="../slideLayouts/slideLayout47.xml"/><Relationship Id="rId68" Type="http://schemas.openxmlformats.org/officeDocument/2006/relationships/slideLayout" Target="../slideLayouts/slideLayout68.xml"/><Relationship Id="rId89" Type="http://schemas.openxmlformats.org/officeDocument/2006/relationships/slideLayout" Target="../slideLayouts/slideLayout89.xml"/><Relationship Id="rId112" Type="http://schemas.openxmlformats.org/officeDocument/2006/relationships/slideLayout" Target="../slideLayouts/slideLayout112.xml"/><Relationship Id="rId133" Type="http://schemas.openxmlformats.org/officeDocument/2006/relationships/slideLayout" Target="../slideLayouts/slideLayout133.xml"/><Relationship Id="rId154" Type="http://schemas.openxmlformats.org/officeDocument/2006/relationships/slideLayout" Target="../slideLayouts/slideLayout154.xml"/><Relationship Id="rId175" Type="http://schemas.openxmlformats.org/officeDocument/2006/relationships/slideLayout" Target="../slideLayouts/slideLayout175.xml"/><Relationship Id="rId340" Type="http://schemas.openxmlformats.org/officeDocument/2006/relationships/slideLayout" Target="../slideLayouts/slideLayout340.xml"/><Relationship Id="rId196" Type="http://schemas.openxmlformats.org/officeDocument/2006/relationships/slideLayout" Target="../slideLayouts/slideLayout196.xml"/><Relationship Id="rId200" Type="http://schemas.openxmlformats.org/officeDocument/2006/relationships/slideLayout" Target="../slideLayouts/slideLayout200.xml"/><Relationship Id="rId16" Type="http://schemas.openxmlformats.org/officeDocument/2006/relationships/slideLayout" Target="../slideLayouts/slideLayout16.xml"/><Relationship Id="rId221" Type="http://schemas.openxmlformats.org/officeDocument/2006/relationships/slideLayout" Target="../slideLayouts/slideLayout221.xml"/><Relationship Id="rId242" Type="http://schemas.openxmlformats.org/officeDocument/2006/relationships/slideLayout" Target="../slideLayouts/slideLayout242.xml"/><Relationship Id="rId263" Type="http://schemas.openxmlformats.org/officeDocument/2006/relationships/slideLayout" Target="../slideLayouts/slideLayout263.xml"/><Relationship Id="rId284" Type="http://schemas.openxmlformats.org/officeDocument/2006/relationships/slideLayout" Target="../slideLayouts/slideLayout284.xml"/><Relationship Id="rId319" Type="http://schemas.openxmlformats.org/officeDocument/2006/relationships/slideLayout" Target="../slideLayouts/slideLayout319.xml"/><Relationship Id="rId37" Type="http://schemas.openxmlformats.org/officeDocument/2006/relationships/slideLayout" Target="../slideLayouts/slideLayout37.xml"/><Relationship Id="rId58" Type="http://schemas.openxmlformats.org/officeDocument/2006/relationships/slideLayout" Target="../slideLayouts/slideLayout58.xml"/><Relationship Id="rId79" Type="http://schemas.openxmlformats.org/officeDocument/2006/relationships/slideLayout" Target="../slideLayouts/slideLayout79.xml"/><Relationship Id="rId102" Type="http://schemas.openxmlformats.org/officeDocument/2006/relationships/slideLayout" Target="../slideLayouts/slideLayout102.xml"/><Relationship Id="rId123" Type="http://schemas.openxmlformats.org/officeDocument/2006/relationships/slideLayout" Target="../slideLayouts/slideLayout123.xml"/><Relationship Id="rId144" Type="http://schemas.openxmlformats.org/officeDocument/2006/relationships/slideLayout" Target="../slideLayouts/slideLayout144.xml"/><Relationship Id="rId330" Type="http://schemas.openxmlformats.org/officeDocument/2006/relationships/slideLayout" Target="../slideLayouts/slideLayout330.xml"/><Relationship Id="rId90" Type="http://schemas.openxmlformats.org/officeDocument/2006/relationships/slideLayout" Target="../slideLayouts/slideLayout90.xml"/><Relationship Id="rId165" Type="http://schemas.openxmlformats.org/officeDocument/2006/relationships/slideLayout" Target="../slideLayouts/slideLayout165.xml"/><Relationship Id="rId186" Type="http://schemas.openxmlformats.org/officeDocument/2006/relationships/slideLayout" Target="../slideLayouts/slideLayout186.xml"/><Relationship Id="rId211" Type="http://schemas.openxmlformats.org/officeDocument/2006/relationships/slideLayout" Target="../slideLayouts/slideLayout211.xml"/><Relationship Id="rId232" Type="http://schemas.openxmlformats.org/officeDocument/2006/relationships/slideLayout" Target="../slideLayouts/slideLayout232.xml"/><Relationship Id="rId253" Type="http://schemas.openxmlformats.org/officeDocument/2006/relationships/slideLayout" Target="../slideLayouts/slideLayout253.xml"/><Relationship Id="rId274" Type="http://schemas.openxmlformats.org/officeDocument/2006/relationships/slideLayout" Target="../slideLayouts/slideLayout274.xml"/><Relationship Id="rId295" Type="http://schemas.openxmlformats.org/officeDocument/2006/relationships/slideLayout" Target="../slideLayouts/slideLayout295.xml"/><Relationship Id="rId309" Type="http://schemas.openxmlformats.org/officeDocument/2006/relationships/slideLayout" Target="../slideLayouts/slideLayout309.xml"/><Relationship Id="rId27" Type="http://schemas.openxmlformats.org/officeDocument/2006/relationships/slideLayout" Target="../slideLayouts/slideLayout27.xml"/><Relationship Id="rId48" Type="http://schemas.openxmlformats.org/officeDocument/2006/relationships/slideLayout" Target="../slideLayouts/slideLayout48.xml"/><Relationship Id="rId69" Type="http://schemas.openxmlformats.org/officeDocument/2006/relationships/slideLayout" Target="../slideLayouts/slideLayout69.xml"/><Relationship Id="rId113" Type="http://schemas.openxmlformats.org/officeDocument/2006/relationships/slideLayout" Target="../slideLayouts/slideLayout113.xml"/><Relationship Id="rId134" Type="http://schemas.openxmlformats.org/officeDocument/2006/relationships/slideLayout" Target="../slideLayouts/slideLayout134.xml"/><Relationship Id="rId320" Type="http://schemas.openxmlformats.org/officeDocument/2006/relationships/slideLayout" Target="../slideLayouts/slideLayout320.xml"/><Relationship Id="rId80" Type="http://schemas.openxmlformats.org/officeDocument/2006/relationships/slideLayout" Target="../slideLayouts/slideLayout80.xml"/><Relationship Id="rId155" Type="http://schemas.openxmlformats.org/officeDocument/2006/relationships/slideLayout" Target="../slideLayouts/slideLayout155.xml"/><Relationship Id="rId176" Type="http://schemas.openxmlformats.org/officeDocument/2006/relationships/slideLayout" Target="../slideLayouts/slideLayout176.xml"/><Relationship Id="rId197" Type="http://schemas.openxmlformats.org/officeDocument/2006/relationships/slideLayout" Target="../slideLayouts/slideLayout197.xml"/><Relationship Id="rId341" Type="http://schemas.openxmlformats.org/officeDocument/2006/relationships/slideLayout" Target="../slideLayouts/slideLayout341.xml"/><Relationship Id="rId201" Type="http://schemas.openxmlformats.org/officeDocument/2006/relationships/slideLayout" Target="../slideLayouts/slideLayout201.xml"/><Relationship Id="rId222" Type="http://schemas.openxmlformats.org/officeDocument/2006/relationships/slideLayout" Target="../slideLayouts/slideLayout222.xml"/><Relationship Id="rId243" Type="http://schemas.openxmlformats.org/officeDocument/2006/relationships/slideLayout" Target="../slideLayouts/slideLayout243.xml"/><Relationship Id="rId264" Type="http://schemas.openxmlformats.org/officeDocument/2006/relationships/slideLayout" Target="../slideLayouts/slideLayout264.xml"/><Relationship Id="rId285" Type="http://schemas.openxmlformats.org/officeDocument/2006/relationships/slideLayout" Target="../slideLayouts/slideLayout285.xml"/><Relationship Id="rId17" Type="http://schemas.openxmlformats.org/officeDocument/2006/relationships/slideLayout" Target="../slideLayouts/slideLayout17.xml"/><Relationship Id="rId38" Type="http://schemas.openxmlformats.org/officeDocument/2006/relationships/slideLayout" Target="../slideLayouts/slideLayout38.xml"/><Relationship Id="rId59" Type="http://schemas.openxmlformats.org/officeDocument/2006/relationships/slideLayout" Target="../slideLayouts/slideLayout59.xml"/><Relationship Id="rId103" Type="http://schemas.openxmlformats.org/officeDocument/2006/relationships/slideLayout" Target="../slideLayouts/slideLayout103.xml"/><Relationship Id="rId124" Type="http://schemas.openxmlformats.org/officeDocument/2006/relationships/slideLayout" Target="../slideLayouts/slideLayout124.xml"/><Relationship Id="rId310" Type="http://schemas.openxmlformats.org/officeDocument/2006/relationships/slideLayout" Target="../slideLayouts/slideLayout310.xml"/><Relationship Id="rId70" Type="http://schemas.openxmlformats.org/officeDocument/2006/relationships/slideLayout" Target="../slideLayouts/slideLayout70.xml"/><Relationship Id="rId91" Type="http://schemas.openxmlformats.org/officeDocument/2006/relationships/slideLayout" Target="../slideLayouts/slideLayout91.xml"/><Relationship Id="rId145" Type="http://schemas.openxmlformats.org/officeDocument/2006/relationships/slideLayout" Target="../slideLayouts/slideLayout145.xml"/><Relationship Id="rId166" Type="http://schemas.openxmlformats.org/officeDocument/2006/relationships/slideLayout" Target="../slideLayouts/slideLayout166.xml"/><Relationship Id="rId187" Type="http://schemas.openxmlformats.org/officeDocument/2006/relationships/slideLayout" Target="../slideLayouts/slideLayout187.xml"/><Relationship Id="rId331" Type="http://schemas.openxmlformats.org/officeDocument/2006/relationships/slideLayout" Target="../slideLayouts/slideLayout331.xml"/><Relationship Id="rId1" Type="http://schemas.openxmlformats.org/officeDocument/2006/relationships/slideLayout" Target="../slideLayouts/slideLayout1.xml"/><Relationship Id="rId212" Type="http://schemas.openxmlformats.org/officeDocument/2006/relationships/slideLayout" Target="../slideLayouts/slideLayout212.xml"/><Relationship Id="rId233" Type="http://schemas.openxmlformats.org/officeDocument/2006/relationships/slideLayout" Target="../slideLayouts/slideLayout233.xml"/><Relationship Id="rId254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8.xml"/><Relationship Id="rId49" Type="http://schemas.openxmlformats.org/officeDocument/2006/relationships/slideLayout" Target="../slideLayouts/slideLayout49.xml"/><Relationship Id="rId114" Type="http://schemas.openxmlformats.org/officeDocument/2006/relationships/slideLayout" Target="../slideLayouts/slideLayout114.xml"/><Relationship Id="rId275" Type="http://schemas.openxmlformats.org/officeDocument/2006/relationships/slideLayout" Target="../slideLayouts/slideLayout275.xml"/><Relationship Id="rId296" Type="http://schemas.openxmlformats.org/officeDocument/2006/relationships/slideLayout" Target="../slideLayouts/slideLayout296.xml"/><Relationship Id="rId300" Type="http://schemas.openxmlformats.org/officeDocument/2006/relationships/slideLayout" Target="../slideLayouts/slideLayout300.xml"/><Relationship Id="rId60" Type="http://schemas.openxmlformats.org/officeDocument/2006/relationships/slideLayout" Target="../slideLayouts/slideLayout60.xml"/><Relationship Id="rId81" Type="http://schemas.openxmlformats.org/officeDocument/2006/relationships/slideLayout" Target="../slideLayouts/slideLayout81.xml"/><Relationship Id="rId135" Type="http://schemas.openxmlformats.org/officeDocument/2006/relationships/slideLayout" Target="../slideLayouts/slideLayout135.xml"/><Relationship Id="rId156" Type="http://schemas.openxmlformats.org/officeDocument/2006/relationships/slideLayout" Target="../slideLayouts/slideLayout156.xml"/><Relationship Id="rId177" Type="http://schemas.openxmlformats.org/officeDocument/2006/relationships/slideLayout" Target="../slideLayouts/slideLayout177.xml"/><Relationship Id="rId198" Type="http://schemas.openxmlformats.org/officeDocument/2006/relationships/slideLayout" Target="../slideLayouts/slideLayout198.xml"/><Relationship Id="rId321" Type="http://schemas.openxmlformats.org/officeDocument/2006/relationships/slideLayout" Target="../slideLayouts/slideLayout321.xml"/><Relationship Id="rId342" Type="http://schemas.openxmlformats.org/officeDocument/2006/relationships/slideLayout" Target="../slideLayouts/slideLayout342.xml"/><Relationship Id="rId202" Type="http://schemas.openxmlformats.org/officeDocument/2006/relationships/slideLayout" Target="../slideLayouts/slideLayout202.xml"/><Relationship Id="rId223" Type="http://schemas.openxmlformats.org/officeDocument/2006/relationships/slideLayout" Target="../slideLayouts/slideLayout223.xml"/><Relationship Id="rId244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265" Type="http://schemas.openxmlformats.org/officeDocument/2006/relationships/slideLayout" Target="../slideLayouts/slideLayout265.xml"/><Relationship Id="rId286" Type="http://schemas.openxmlformats.org/officeDocument/2006/relationships/slideLayout" Target="../slideLayouts/slideLayout286.xml"/><Relationship Id="rId50" Type="http://schemas.openxmlformats.org/officeDocument/2006/relationships/slideLayout" Target="../slideLayouts/slideLayout50.xml"/><Relationship Id="rId104" Type="http://schemas.openxmlformats.org/officeDocument/2006/relationships/slideLayout" Target="../slideLayouts/slideLayout104.xml"/><Relationship Id="rId125" Type="http://schemas.openxmlformats.org/officeDocument/2006/relationships/slideLayout" Target="../slideLayouts/slideLayout125.xml"/><Relationship Id="rId146" Type="http://schemas.openxmlformats.org/officeDocument/2006/relationships/slideLayout" Target="../slideLayouts/slideLayout146.xml"/><Relationship Id="rId167" Type="http://schemas.openxmlformats.org/officeDocument/2006/relationships/slideLayout" Target="../slideLayouts/slideLayout167.xml"/><Relationship Id="rId188" Type="http://schemas.openxmlformats.org/officeDocument/2006/relationships/slideLayout" Target="../slideLayouts/slideLayout188.xml"/><Relationship Id="rId311" Type="http://schemas.openxmlformats.org/officeDocument/2006/relationships/slideLayout" Target="../slideLayouts/slideLayout311.xml"/><Relationship Id="rId332" Type="http://schemas.openxmlformats.org/officeDocument/2006/relationships/slideLayout" Target="../slideLayouts/slideLayout332.xml"/><Relationship Id="rId71" Type="http://schemas.openxmlformats.org/officeDocument/2006/relationships/slideLayout" Target="../slideLayouts/slideLayout71.xml"/><Relationship Id="rId92" Type="http://schemas.openxmlformats.org/officeDocument/2006/relationships/slideLayout" Target="../slideLayouts/slideLayout92.xml"/><Relationship Id="rId213" Type="http://schemas.openxmlformats.org/officeDocument/2006/relationships/slideLayout" Target="../slideLayouts/slideLayout213.xml"/><Relationship Id="rId234" Type="http://schemas.openxmlformats.org/officeDocument/2006/relationships/slideLayout" Target="../slideLayouts/slideLayout234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55" Type="http://schemas.openxmlformats.org/officeDocument/2006/relationships/slideLayout" Target="../slideLayouts/slideLayout255.xml"/><Relationship Id="rId276" Type="http://schemas.openxmlformats.org/officeDocument/2006/relationships/slideLayout" Target="../slideLayouts/slideLayout276.xml"/><Relationship Id="rId297" Type="http://schemas.openxmlformats.org/officeDocument/2006/relationships/slideLayout" Target="../slideLayouts/slideLayout297.xml"/><Relationship Id="rId40" Type="http://schemas.openxmlformats.org/officeDocument/2006/relationships/slideLayout" Target="../slideLayouts/slideLayout40.xml"/><Relationship Id="rId115" Type="http://schemas.openxmlformats.org/officeDocument/2006/relationships/slideLayout" Target="../slideLayouts/slideLayout115.xml"/><Relationship Id="rId136" Type="http://schemas.openxmlformats.org/officeDocument/2006/relationships/slideLayout" Target="../slideLayouts/slideLayout136.xml"/><Relationship Id="rId157" Type="http://schemas.openxmlformats.org/officeDocument/2006/relationships/slideLayout" Target="../slideLayouts/slideLayout157.xml"/><Relationship Id="rId178" Type="http://schemas.openxmlformats.org/officeDocument/2006/relationships/slideLayout" Target="../slideLayouts/slideLayout178.xml"/><Relationship Id="rId301" Type="http://schemas.openxmlformats.org/officeDocument/2006/relationships/slideLayout" Target="../slideLayouts/slideLayout301.xml"/><Relationship Id="rId322" Type="http://schemas.openxmlformats.org/officeDocument/2006/relationships/slideLayout" Target="../slideLayouts/slideLayout322.xml"/><Relationship Id="rId343" Type="http://schemas.openxmlformats.org/officeDocument/2006/relationships/slideLayout" Target="../slideLayouts/slideLayout343.xml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Relationship Id="rId199" Type="http://schemas.openxmlformats.org/officeDocument/2006/relationships/slideLayout" Target="../slideLayouts/slideLayout199.xml"/><Relationship Id="rId203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19.xml"/><Relationship Id="rId224" Type="http://schemas.openxmlformats.org/officeDocument/2006/relationships/slideLayout" Target="../slideLayouts/slideLayout224.xml"/><Relationship Id="rId245" Type="http://schemas.openxmlformats.org/officeDocument/2006/relationships/slideLayout" Target="../slideLayouts/slideLayout245.xml"/><Relationship Id="rId266" Type="http://schemas.openxmlformats.org/officeDocument/2006/relationships/slideLayout" Target="../slideLayouts/slideLayout266.xml"/><Relationship Id="rId287" Type="http://schemas.openxmlformats.org/officeDocument/2006/relationships/slideLayout" Target="../slideLayouts/slideLayout287.xml"/><Relationship Id="rId30" Type="http://schemas.openxmlformats.org/officeDocument/2006/relationships/slideLayout" Target="../slideLayouts/slideLayout30.xml"/><Relationship Id="rId105" Type="http://schemas.openxmlformats.org/officeDocument/2006/relationships/slideLayout" Target="../slideLayouts/slideLayout105.xml"/><Relationship Id="rId126" Type="http://schemas.openxmlformats.org/officeDocument/2006/relationships/slideLayout" Target="../slideLayouts/slideLayout126.xml"/><Relationship Id="rId147" Type="http://schemas.openxmlformats.org/officeDocument/2006/relationships/slideLayout" Target="../slideLayouts/slideLayout147.xml"/><Relationship Id="rId168" Type="http://schemas.openxmlformats.org/officeDocument/2006/relationships/slideLayout" Target="../slideLayouts/slideLayout168.xml"/><Relationship Id="rId312" Type="http://schemas.openxmlformats.org/officeDocument/2006/relationships/slideLayout" Target="../slideLayouts/slideLayout312.xml"/><Relationship Id="rId333" Type="http://schemas.openxmlformats.org/officeDocument/2006/relationships/slideLayout" Target="../slideLayouts/slideLayout333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93" Type="http://schemas.openxmlformats.org/officeDocument/2006/relationships/slideLayout" Target="../slideLayouts/slideLayout93.xml"/><Relationship Id="rId189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3.xml"/><Relationship Id="rId214" Type="http://schemas.openxmlformats.org/officeDocument/2006/relationships/slideLayout" Target="../slideLayouts/slideLayout214.xml"/><Relationship Id="rId235" Type="http://schemas.openxmlformats.org/officeDocument/2006/relationships/slideLayout" Target="../slideLayouts/slideLayout235.xml"/><Relationship Id="rId256" Type="http://schemas.openxmlformats.org/officeDocument/2006/relationships/slideLayout" Target="../slideLayouts/slideLayout256.xml"/><Relationship Id="rId277" Type="http://schemas.openxmlformats.org/officeDocument/2006/relationships/slideLayout" Target="../slideLayouts/slideLayout277.xml"/><Relationship Id="rId298" Type="http://schemas.openxmlformats.org/officeDocument/2006/relationships/slideLayout" Target="../slideLayouts/slideLayout298.xml"/><Relationship Id="rId116" Type="http://schemas.openxmlformats.org/officeDocument/2006/relationships/slideLayout" Target="../slideLayouts/slideLayout116.xml"/><Relationship Id="rId137" Type="http://schemas.openxmlformats.org/officeDocument/2006/relationships/slideLayout" Target="../slideLayouts/slideLayout137.xml"/><Relationship Id="rId158" Type="http://schemas.openxmlformats.org/officeDocument/2006/relationships/slideLayout" Target="../slideLayouts/slideLayout158.xml"/><Relationship Id="rId302" Type="http://schemas.openxmlformats.org/officeDocument/2006/relationships/slideLayout" Target="../slideLayouts/slideLayout302.xml"/><Relationship Id="rId323" Type="http://schemas.openxmlformats.org/officeDocument/2006/relationships/slideLayout" Target="../slideLayouts/slideLayout323.xml"/><Relationship Id="rId344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62" Type="http://schemas.openxmlformats.org/officeDocument/2006/relationships/slideLayout" Target="../slideLayouts/slideLayout62.xml"/><Relationship Id="rId83" Type="http://schemas.openxmlformats.org/officeDocument/2006/relationships/slideLayout" Target="../slideLayouts/slideLayout83.xml"/><Relationship Id="rId179" Type="http://schemas.openxmlformats.org/officeDocument/2006/relationships/slideLayout" Target="../slideLayouts/slideLayout179.xml"/><Relationship Id="rId190" Type="http://schemas.openxmlformats.org/officeDocument/2006/relationships/slideLayout" Target="../slideLayouts/slideLayout190.xml"/><Relationship Id="rId204" Type="http://schemas.openxmlformats.org/officeDocument/2006/relationships/slideLayout" Target="../slideLayouts/slideLayout204.xml"/><Relationship Id="rId225" Type="http://schemas.openxmlformats.org/officeDocument/2006/relationships/slideLayout" Target="../slideLayouts/slideLayout225.xml"/><Relationship Id="rId246" Type="http://schemas.openxmlformats.org/officeDocument/2006/relationships/slideLayout" Target="../slideLayouts/slideLayout246.xml"/><Relationship Id="rId267" Type="http://schemas.openxmlformats.org/officeDocument/2006/relationships/slideLayout" Target="../slideLayouts/slideLayout267.xml"/><Relationship Id="rId288" Type="http://schemas.openxmlformats.org/officeDocument/2006/relationships/slideLayout" Target="../slideLayouts/slideLayout288.xml"/><Relationship Id="rId106" Type="http://schemas.openxmlformats.org/officeDocument/2006/relationships/slideLayout" Target="../slideLayouts/slideLayout106.xml"/><Relationship Id="rId127" Type="http://schemas.openxmlformats.org/officeDocument/2006/relationships/slideLayout" Target="../slideLayouts/slideLayout127.xml"/><Relationship Id="rId313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52" Type="http://schemas.openxmlformats.org/officeDocument/2006/relationships/slideLayout" Target="../slideLayouts/slideLayout52.xml"/><Relationship Id="rId73" Type="http://schemas.openxmlformats.org/officeDocument/2006/relationships/slideLayout" Target="../slideLayouts/slideLayout73.xml"/><Relationship Id="rId94" Type="http://schemas.openxmlformats.org/officeDocument/2006/relationships/slideLayout" Target="../slideLayouts/slideLayout94.xml"/><Relationship Id="rId148" Type="http://schemas.openxmlformats.org/officeDocument/2006/relationships/slideLayout" Target="../slideLayouts/slideLayout148.xml"/><Relationship Id="rId169" Type="http://schemas.openxmlformats.org/officeDocument/2006/relationships/slideLayout" Target="../slideLayouts/slideLayout169.xml"/><Relationship Id="rId334" Type="http://schemas.openxmlformats.org/officeDocument/2006/relationships/slideLayout" Target="../slideLayouts/slideLayout334.xml"/><Relationship Id="rId4" Type="http://schemas.openxmlformats.org/officeDocument/2006/relationships/slideLayout" Target="../slideLayouts/slideLayout4.xml"/><Relationship Id="rId180" Type="http://schemas.openxmlformats.org/officeDocument/2006/relationships/slideLayout" Target="../slideLayouts/slideLayout180.xml"/><Relationship Id="rId215" Type="http://schemas.openxmlformats.org/officeDocument/2006/relationships/slideLayout" Target="../slideLayouts/slideLayout215.xml"/><Relationship Id="rId236" Type="http://schemas.openxmlformats.org/officeDocument/2006/relationships/slideLayout" Target="../slideLayouts/slideLayout236.xml"/><Relationship Id="rId257" Type="http://schemas.openxmlformats.org/officeDocument/2006/relationships/slideLayout" Target="../slideLayouts/slideLayout257.xml"/><Relationship Id="rId278" Type="http://schemas.openxmlformats.org/officeDocument/2006/relationships/slideLayout" Target="../slideLayouts/slideLayout278.xml"/><Relationship Id="rId303" Type="http://schemas.openxmlformats.org/officeDocument/2006/relationships/slideLayout" Target="../slideLayouts/slideLayout303.xml"/><Relationship Id="rId42" Type="http://schemas.openxmlformats.org/officeDocument/2006/relationships/slideLayout" Target="../slideLayouts/slideLayout42.xml"/><Relationship Id="rId84" Type="http://schemas.openxmlformats.org/officeDocument/2006/relationships/slideLayout" Target="../slideLayouts/slideLayout84.xml"/><Relationship Id="rId138" Type="http://schemas.openxmlformats.org/officeDocument/2006/relationships/slideLayout" Target="../slideLayouts/slideLayout138.xml"/><Relationship Id="rId191" Type="http://schemas.openxmlformats.org/officeDocument/2006/relationships/slideLayout" Target="../slideLayouts/slideLayout191.xml"/><Relationship Id="rId205" Type="http://schemas.openxmlformats.org/officeDocument/2006/relationships/slideLayout" Target="../slideLayouts/slideLayout205.xml"/><Relationship Id="rId247" Type="http://schemas.openxmlformats.org/officeDocument/2006/relationships/slideLayout" Target="../slideLayouts/slideLayout247.xml"/><Relationship Id="rId107" Type="http://schemas.openxmlformats.org/officeDocument/2006/relationships/slideLayout" Target="../slideLayouts/slideLayout107.xml"/><Relationship Id="rId289" Type="http://schemas.openxmlformats.org/officeDocument/2006/relationships/slideLayout" Target="../slideLayouts/slideLayout289.xml"/><Relationship Id="rId11" Type="http://schemas.openxmlformats.org/officeDocument/2006/relationships/slideLayout" Target="../slideLayouts/slideLayout11.xml"/><Relationship Id="rId53" Type="http://schemas.openxmlformats.org/officeDocument/2006/relationships/slideLayout" Target="../slideLayouts/slideLayout53.xml"/><Relationship Id="rId149" Type="http://schemas.openxmlformats.org/officeDocument/2006/relationships/slideLayout" Target="../slideLayouts/slideLayout149.xml"/><Relationship Id="rId314" Type="http://schemas.openxmlformats.org/officeDocument/2006/relationships/slideLayout" Target="../slideLayouts/slideLayout314.xml"/><Relationship Id="rId95" Type="http://schemas.openxmlformats.org/officeDocument/2006/relationships/slideLayout" Target="../slideLayouts/slideLayout95.xml"/><Relationship Id="rId160" Type="http://schemas.openxmlformats.org/officeDocument/2006/relationships/slideLayout" Target="../slideLayouts/slideLayout160.xml"/><Relationship Id="rId216" Type="http://schemas.openxmlformats.org/officeDocument/2006/relationships/slideLayout" Target="../slideLayouts/slideLayout216.xml"/><Relationship Id="rId258" Type="http://schemas.openxmlformats.org/officeDocument/2006/relationships/slideLayout" Target="../slideLayouts/slideLayout258.xml"/><Relationship Id="rId22" Type="http://schemas.openxmlformats.org/officeDocument/2006/relationships/slideLayout" Target="../slideLayouts/slideLayout22.xml"/><Relationship Id="rId64" Type="http://schemas.openxmlformats.org/officeDocument/2006/relationships/slideLayout" Target="../slideLayouts/slideLayout64.xml"/><Relationship Id="rId118" Type="http://schemas.openxmlformats.org/officeDocument/2006/relationships/slideLayout" Target="../slideLayouts/slideLayout118.xml"/><Relationship Id="rId325" Type="http://schemas.openxmlformats.org/officeDocument/2006/relationships/slideLayout" Target="../slideLayouts/slideLayout325.xml"/><Relationship Id="rId171" Type="http://schemas.openxmlformats.org/officeDocument/2006/relationships/slideLayout" Target="../slideLayouts/slideLayout171.xml"/><Relationship Id="rId227" Type="http://schemas.openxmlformats.org/officeDocument/2006/relationships/slideLayout" Target="../slideLayouts/slideLayout227.xml"/><Relationship Id="rId269" Type="http://schemas.openxmlformats.org/officeDocument/2006/relationships/slideLayout" Target="../slideLayouts/slideLayout269.xml"/><Relationship Id="rId33" Type="http://schemas.openxmlformats.org/officeDocument/2006/relationships/slideLayout" Target="../slideLayouts/slideLayout33.xml"/><Relationship Id="rId129" Type="http://schemas.openxmlformats.org/officeDocument/2006/relationships/slideLayout" Target="../slideLayouts/slideLayout129.xml"/><Relationship Id="rId280" Type="http://schemas.openxmlformats.org/officeDocument/2006/relationships/slideLayout" Target="../slideLayouts/slideLayout280.xml"/><Relationship Id="rId336" Type="http://schemas.openxmlformats.org/officeDocument/2006/relationships/slideLayout" Target="../slideLayouts/slideLayout336.xml"/><Relationship Id="rId75" Type="http://schemas.openxmlformats.org/officeDocument/2006/relationships/slideLayout" Target="../slideLayouts/slideLayout75.xml"/><Relationship Id="rId140" Type="http://schemas.openxmlformats.org/officeDocument/2006/relationships/slideLayout" Target="../slideLayouts/slideLayout140.xml"/><Relationship Id="rId182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6.xml"/><Relationship Id="rId238" Type="http://schemas.openxmlformats.org/officeDocument/2006/relationships/slideLayout" Target="../slideLayouts/slideLayout238.xml"/><Relationship Id="rId291" Type="http://schemas.openxmlformats.org/officeDocument/2006/relationships/slideLayout" Target="../slideLayouts/slideLayout291.xml"/><Relationship Id="rId305" Type="http://schemas.openxmlformats.org/officeDocument/2006/relationships/slideLayout" Target="../slideLayouts/slideLayout305.xml"/><Relationship Id="rId44" Type="http://schemas.openxmlformats.org/officeDocument/2006/relationships/slideLayout" Target="../slideLayouts/slideLayout44.xml"/><Relationship Id="rId86" Type="http://schemas.openxmlformats.org/officeDocument/2006/relationships/slideLayout" Target="../slideLayouts/slideLayout86.xml"/><Relationship Id="rId151" Type="http://schemas.openxmlformats.org/officeDocument/2006/relationships/slideLayout" Target="../slideLayouts/slideLayout151.xml"/><Relationship Id="rId193" Type="http://schemas.openxmlformats.org/officeDocument/2006/relationships/slideLayout" Target="../slideLayouts/slideLayout193.xml"/><Relationship Id="rId207" Type="http://schemas.openxmlformats.org/officeDocument/2006/relationships/slideLayout" Target="../slideLayouts/slideLayout207.xml"/><Relationship Id="rId249" Type="http://schemas.openxmlformats.org/officeDocument/2006/relationships/slideLayout" Target="../slideLayouts/slideLayout249.xml"/><Relationship Id="rId13" Type="http://schemas.openxmlformats.org/officeDocument/2006/relationships/slideLayout" Target="../slideLayouts/slideLayout13.xml"/><Relationship Id="rId109" Type="http://schemas.openxmlformats.org/officeDocument/2006/relationships/slideLayout" Target="../slideLayouts/slideLayout109.xml"/><Relationship Id="rId260" Type="http://schemas.openxmlformats.org/officeDocument/2006/relationships/slideLayout" Target="../slideLayouts/slideLayout260.xml"/><Relationship Id="rId316" Type="http://schemas.openxmlformats.org/officeDocument/2006/relationships/slideLayout" Target="../slideLayouts/slideLayout316.xml"/><Relationship Id="rId55" Type="http://schemas.openxmlformats.org/officeDocument/2006/relationships/slideLayout" Target="../slideLayouts/slideLayout55.xml"/><Relationship Id="rId97" Type="http://schemas.openxmlformats.org/officeDocument/2006/relationships/slideLayout" Target="../slideLayouts/slideLayout97.xml"/><Relationship Id="rId120" Type="http://schemas.openxmlformats.org/officeDocument/2006/relationships/slideLayout" Target="../slideLayouts/slideLayout120.xml"/><Relationship Id="rId162" Type="http://schemas.openxmlformats.org/officeDocument/2006/relationships/slideLayout" Target="../slideLayouts/slideLayout162.xml"/><Relationship Id="rId218" Type="http://schemas.openxmlformats.org/officeDocument/2006/relationships/slideLayout" Target="../slideLayouts/slideLayout218.xml"/><Relationship Id="rId271" Type="http://schemas.openxmlformats.org/officeDocument/2006/relationships/slideLayout" Target="../slideLayouts/slideLayout271.xml"/><Relationship Id="rId24" Type="http://schemas.openxmlformats.org/officeDocument/2006/relationships/slideLayout" Target="../slideLayouts/slideLayout24.xml"/><Relationship Id="rId66" Type="http://schemas.openxmlformats.org/officeDocument/2006/relationships/slideLayout" Target="../slideLayouts/slideLayout66.xml"/><Relationship Id="rId131" Type="http://schemas.openxmlformats.org/officeDocument/2006/relationships/slideLayout" Target="../slideLayouts/slideLayout131.xml"/><Relationship Id="rId327" Type="http://schemas.openxmlformats.org/officeDocument/2006/relationships/slideLayout" Target="../slideLayouts/slideLayout327.xml"/><Relationship Id="rId173" Type="http://schemas.openxmlformats.org/officeDocument/2006/relationships/slideLayout" Target="../slideLayouts/slideLayout173.xml"/><Relationship Id="rId229" Type="http://schemas.openxmlformats.org/officeDocument/2006/relationships/slideLayout" Target="../slideLayouts/slideLayout22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slideLayout" Target="../slideLayouts/slideLayout34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345.xml"/><Relationship Id="rId1" Type="http://schemas.openxmlformats.org/officeDocument/2006/relationships/slideLayout" Target="../slideLayouts/slideLayout344.xml"/><Relationship Id="rId6" Type="http://schemas.openxmlformats.org/officeDocument/2006/relationships/slideLayout" Target="../slideLayouts/slideLayout349.xml"/><Relationship Id="rId5" Type="http://schemas.openxmlformats.org/officeDocument/2006/relationships/slideLayout" Target="../slideLayouts/slideLayout348.xml"/><Relationship Id="rId4" Type="http://schemas.openxmlformats.org/officeDocument/2006/relationships/slideLayout" Target="../slideLayouts/slideLayout34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3" Type="http://schemas.openxmlformats.org/officeDocument/2006/relationships/slideLayout" Target="../slideLayouts/slideLayout352.xml"/><Relationship Id="rId7" Type="http://schemas.openxmlformats.org/officeDocument/2006/relationships/slideLayout" Target="../slideLayouts/slideLayout35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51.xml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slideLayout" Target="../slideLayouts/slideLayout360.xml"/><Relationship Id="rId5" Type="http://schemas.openxmlformats.org/officeDocument/2006/relationships/slideLayout" Target="../slideLayouts/slideLayout354.xml"/><Relationship Id="rId10" Type="http://schemas.openxmlformats.org/officeDocument/2006/relationships/slideLayout" Target="../slideLayouts/slideLayout359.xml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8.xml"/><Relationship Id="rId13" Type="http://schemas.openxmlformats.org/officeDocument/2006/relationships/slideLayout" Target="../slideLayouts/slideLayout373.xml"/><Relationship Id="rId18" Type="http://schemas.openxmlformats.org/officeDocument/2006/relationships/slideLayout" Target="../slideLayouts/slideLayout378.xml"/><Relationship Id="rId3" Type="http://schemas.openxmlformats.org/officeDocument/2006/relationships/slideLayout" Target="../slideLayouts/slideLayout363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367.xml"/><Relationship Id="rId12" Type="http://schemas.openxmlformats.org/officeDocument/2006/relationships/slideLayout" Target="../slideLayouts/slideLayout372.xml"/><Relationship Id="rId17" Type="http://schemas.openxmlformats.org/officeDocument/2006/relationships/slideLayout" Target="../slideLayouts/slideLayout377.xml"/><Relationship Id="rId2" Type="http://schemas.openxmlformats.org/officeDocument/2006/relationships/slideLayout" Target="../slideLayouts/slideLayout362.xml"/><Relationship Id="rId16" Type="http://schemas.openxmlformats.org/officeDocument/2006/relationships/slideLayout" Target="../slideLayouts/slideLayout376.xml"/><Relationship Id="rId20" Type="http://schemas.openxmlformats.org/officeDocument/2006/relationships/slideLayout" Target="../slideLayouts/slideLayout380.xml"/><Relationship Id="rId1" Type="http://schemas.openxmlformats.org/officeDocument/2006/relationships/slideLayout" Target="../slideLayouts/slideLayout361.xml"/><Relationship Id="rId6" Type="http://schemas.openxmlformats.org/officeDocument/2006/relationships/slideLayout" Target="../slideLayouts/slideLayout366.xml"/><Relationship Id="rId11" Type="http://schemas.openxmlformats.org/officeDocument/2006/relationships/slideLayout" Target="../slideLayouts/slideLayout371.xml"/><Relationship Id="rId5" Type="http://schemas.openxmlformats.org/officeDocument/2006/relationships/slideLayout" Target="../slideLayouts/slideLayout365.xml"/><Relationship Id="rId15" Type="http://schemas.openxmlformats.org/officeDocument/2006/relationships/slideLayout" Target="../slideLayouts/slideLayout375.xml"/><Relationship Id="rId23" Type="http://schemas.openxmlformats.org/officeDocument/2006/relationships/image" Target="../media/image46.png"/><Relationship Id="rId10" Type="http://schemas.openxmlformats.org/officeDocument/2006/relationships/slideLayout" Target="../slideLayouts/slideLayout370.xml"/><Relationship Id="rId19" Type="http://schemas.openxmlformats.org/officeDocument/2006/relationships/slideLayout" Target="../slideLayouts/slideLayout379.xml"/><Relationship Id="rId4" Type="http://schemas.openxmlformats.org/officeDocument/2006/relationships/slideLayout" Target="../slideLayouts/slideLayout364.xml"/><Relationship Id="rId9" Type="http://schemas.openxmlformats.org/officeDocument/2006/relationships/slideLayout" Target="../slideLayouts/slideLayout369.xml"/><Relationship Id="rId14" Type="http://schemas.openxmlformats.org/officeDocument/2006/relationships/slideLayout" Target="../slideLayouts/slideLayout374.xml"/><Relationship Id="rId22" Type="http://schemas.openxmlformats.org/officeDocument/2006/relationships/tags" Target="../tags/tag1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8.xml"/><Relationship Id="rId13" Type="http://schemas.openxmlformats.org/officeDocument/2006/relationships/customXml" Target="../../customXml/item2.xml"/><Relationship Id="rId3" Type="http://schemas.openxmlformats.org/officeDocument/2006/relationships/slideLayout" Target="../slideLayouts/slideLayout383.xml"/><Relationship Id="rId7" Type="http://schemas.openxmlformats.org/officeDocument/2006/relationships/slideLayout" Target="../slideLayouts/slideLayout38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2.xml"/><Relationship Id="rId1" Type="http://schemas.openxmlformats.org/officeDocument/2006/relationships/slideLayout" Target="../slideLayouts/slideLayout381.xml"/><Relationship Id="rId6" Type="http://schemas.openxmlformats.org/officeDocument/2006/relationships/slideLayout" Target="../slideLayouts/slideLayout386.xml"/><Relationship Id="rId11" Type="http://schemas.openxmlformats.org/officeDocument/2006/relationships/slideLayout" Target="../slideLayouts/slideLayout391.xml"/><Relationship Id="rId5" Type="http://schemas.openxmlformats.org/officeDocument/2006/relationships/slideLayout" Target="../slideLayouts/slideLayout385.xml"/><Relationship Id="rId15" Type="http://schemas.openxmlformats.org/officeDocument/2006/relationships/image" Target="../media/image46.png"/><Relationship Id="rId10" Type="http://schemas.openxmlformats.org/officeDocument/2006/relationships/slideLayout" Target="../slideLayouts/slideLayout390.xml"/><Relationship Id="rId4" Type="http://schemas.openxmlformats.org/officeDocument/2006/relationships/slideLayout" Target="../slideLayouts/slideLayout384.xml"/><Relationship Id="rId9" Type="http://schemas.openxmlformats.org/officeDocument/2006/relationships/slideLayout" Target="../slideLayouts/slideLayout389.xml"/><Relationship Id="rId14" Type="http://schemas.openxmlformats.org/officeDocument/2006/relationships/tags" Target="../tags/tag3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9.xml"/><Relationship Id="rId13" Type="http://schemas.openxmlformats.org/officeDocument/2006/relationships/slideLayout" Target="../slideLayouts/slideLayout404.xml"/><Relationship Id="rId3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398.xml"/><Relationship Id="rId12" Type="http://schemas.openxmlformats.org/officeDocument/2006/relationships/slideLayout" Target="../slideLayouts/slideLayout403.xml"/><Relationship Id="rId17" Type="http://schemas.openxmlformats.org/officeDocument/2006/relationships/image" Target="../media/image46.png"/><Relationship Id="rId2" Type="http://schemas.openxmlformats.org/officeDocument/2006/relationships/slideLayout" Target="../slideLayouts/slideLayout393.xml"/><Relationship Id="rId16" Type="http://schemas.openxmlformats.org/officeDocument/2006/relationships/tags" Target="../tags/tag45.xml"/><Relationship Id="rId1" Type="http://schemas.openxmlformats.org/officeDocument/2006/relationships/slideLayout" Target="../slideLayouts/slideLayout392.xml"/><Relationship Id="rId6" Type="http://schemas.openxmlformats.org/officeDocument/2006/relationships/slideLayout" Target="../slideLayouts/slideLayout397.xml"/><Relationship Id="rId11" Type="http://schemas.openxmlformats.org/officeDocument/2006/relationships/slideLayout" Target="../slideLayouts/slideLayout402.xml"/><Relationship Id="rId5" Type="http://schemas.openxmlformats.org/officeDocument/2006/relationships/slideLayout" Target="../slideLayouts/slideLayout396.xml"/><Relationship Id="rId15" Type="http://schemas.openxmlformats.org/officeDocument/2006/relationships/customXml" Target="../../customXml/item1.xml"/><Relationship Id="rId10" Type="http://schemas.openxmlformats.org/officeDocument/2006/relationships/slideLayout" Target="../slideLayouts/slideLayout401.xml"/><Relationship Id="rId4" Type="http://schemas.openxmlformats.org/officeDocument/2006/relationships/slideLayout" Target="../slideLayouts/slideLayout395.xml"/><Relationship Id="rId9" Type="http://schemas.openxmlformats.org/officeDocument/2006/relationships/slideLayout" Target="../slideLayouts/slideLayout400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430.xml"/><Relationship Id="rId21" Type="http://schemas.openxmlformats.org/officeDocument/2006/relationships/slideLayout" Target="../slideLayouts/slideLayout425.xml"/><Relationship Id="rId42" Type="http://schemas.openxmlformats.org/officeDocument/2006/relationships/slideLayout" Target="../slideLayouts/slideLayout446.xml"/><Relationship Id="rId47" Type="http://schemas.openxmlformats.org/officeDocument/2006/relationships/slideLayout" Target="../slideLayouts/slideLayout451.xml"/><Relationship Id="rId63" Type="http://schemas.openxmlformats.org/officeDocument/2006/relationships/slideLayout" Target="../slideLayouts/slideLayout467.xml"/><Relationship Id="rId68" Type="http://schemas.openxmlformats.org/officeDocument/2006/relationships/slideLayout" Target="../slideLayouts/slideLayout472.xml"/><Relationship Id="rId84" Type="http://schemas.openxmlformats.org/officeDocument/2006/relationships/slideLayout" Target="../slideLayouts/slideLayout488.xml"/><Relationship Id="rId89" Type="http://schemas.openxmlformats.org/officeDocument/2006/relationships/slideLayout" Target="../slideLayouts/slideLayout493.xml"/><Relationship Id="rId16" Type="http://schemas.openxmlformats.org/officeDocument/2006/relationships/slideLayout" Target="../slideLayouts/slideLayout420.xml"/><Relationship Id="rId11" Type="http://schemas.openxmlformats.org/officeDocument/2006/relationships/slideLayout" Target="../slideLayouts/slideLayout415.xml"/><Relationship Id="rId32" Type="http://schemas.openxmlformats.org/officeDocument/2006/relationships/slideLayout" Target="../slideLayouts/slideLayout436.xml"/><Relationship Id="rId37" Type="http://schemas.openxmlformats.org/officeDocument/2006/relationships/slideLayout" Target="../slideLayouts/slideLayout441.xml"/><Relationship Id="rId53" Type="http://schemas.openxmlformats.org/officeDocument/2006/relationships/slideLayout" Target="../slideLayouts/slideLayout457.xml"/><Relationship Id="rId58" Type="http://schemas.openxmlformats.org/officeDocument/2006/relationships/slideLayout" Target="../slideLayouts/slideLayout462.xml"/><Relationship Id="rId74" Type="http://schemas.openxmlformats.org/officeDocument/2006/relationships/slideLayout" Target="../slideLayouts/slideLayout478.xml"/><Relationship Id="rId79" Type="http://schemas.openxmlformats.org/officeDocument/2006/relationships/slideLayout" Target="../slideLayouts/slideLayout483.xml"/><Relationship Id="rId102" Type="http://schemas.openxmlformats.org/officeDocument/2006/relationships/slideLayout" Target="../slideLayouts/slideLayout506.xml"/><Relationship Id="rId5" Type="http://schemas.openxmlformats.org/officeDocument/2006/relationships/slideLayout" Target="../slideLayouts/slideLayout409.xml"/><Relationship Id="rId90" Type="http://schemas.openxmlformats.org/officeDocument/2006/relationships/slideLayout" Target="../slideLayouts/slideLayout494.xml"/><Relationship Id="rId95" Type="http://schemas.openxmlformats.org/officeDocument/2006/relationships/slideLayout" Target="../slideLayouts/slideLayout499.xml"/><Relationship Id="rId22" Type="http://schemas.openxmlformats.org/officeDocument/2006/relationships/slideLayout" Target="../slideLayouts/slideLayout426.xml"/><Relationship Id="rId27" Type="http://schemas.openxmlformats.org/officeDocument/2006/relationships/slideLayout" Target="../slideLayouts/slideLayout431.xml"/><Relationship Id="rId43" Type="http://schemas.openxmlformats.org/officeDocument/2006/relationships/slideLayout" Target="../slideLayouts/slideLayout447.xml"/><Relationship Id="rId48" Type="http://schemas.openxmlformats.org/officeDocument/2006/relationships/slideLayout" Target="../slideLayouts/slideLayout452.xml"/><Relationship Id="rId64" Type="http://schemas.openxmlformats.org/officeDocument/2006/relationships/slideLayout" Target="../slideLayouts/slideLayout468.xml"/><Relationship Id="rId69" Type="http://schemas.openxmlformats.org/officeDocument/2006/relationships/slideLayout" Target="../slideLayouts/slideLayout473.xml"/><Relationship Id="rId80" Type="http://schemas.openxmlformats.org/officeDocument/2006/relationships/slideLayout" Target="../slideLayouts/slideLayout484.xml"/><Relationship Id="rId85" Type="http://schemas.openxmlformats.org/officeDocument/2006/relationships/slideLayout" Target="../slideLayouts/slideLayout489.xml"/><Relationship Id="rId12" Type="http://schemas.openxmlformats.org/officeDocument/2006/relationships/slideLayout" Target="../slideLayouts/slideLayout416.xml"/><Relationship Id="rId17" Type="http://schemas.openxmlformats.org/officeDocument/2006/relationships/slideLayout" Target="../slideLayouts/slideLayout421.xml"/><Relationship Id="rId33" Type="http://schemas.openxmlformats.org/officeDocument/2006/relationships/slideLayout" Target="../slideLayouts/slideLayout437.xml"/><Relationship Id="rId38" Type="http://schemas.openxmlformats.org/officeDocument/2006/relationships/slideLayout" Target="../slideLayouts/slideLayout442.xml"/><Relationship Id="rId59" Type="http://schemas.openxmlformats.org/officeDocument/2006/relationships/slideLayout" Target="../slideLayouts/slideLayout463.xml"/><Relationship Id="rId103" Type="http://schemas.openxmlformats.org/officeDocument/2006/relationships/slideLayout" Target="../slideLayouts/slideLayout507.xml"/><Relationship Id="rId20" Type="http://schemas.openxmlformats.org/officeDocument/2006/relationships/slideLayout" Target="../slideLayouts/slideLayout424.xml"/><Relationship Id="rId41" Type="http://schemas.openxmlformats.org/officeDocument/2006/relationships/slideLayout" Target="../slideLayouts/slideLayout445.xml"/><Relationship Id="rId54" Type="http://schemas.openxmlformats.org/officeDocument/2006/relationships/slideLayout" Target="../slideLayouts/slideLayout458.xml"/><Relationship Id="rId62" Type="http://schemas.openxmlformats.org/officeDocument/2006/relationships/slideLayout" Target="../slideLayouts/slideLayout466.xml"/><Relationship Id="rId70" Type="http://schemas.openxmlformats.org/officeDocument/2006/relationships/slideLayout" Target="../slideLayouts/slideLayout474.xml"/><Relationship Id="rId75" Type="http://schemas.openxmlformats.org/officeDocument/2006/relationships/slideLayout" Target="../slideLayouts/slideLayout479.xml"/><Relationship Id="rId83" Type="http://schemas.openxmlformats.org/officeDocument/2006/relationships/slideLayout" Target="../slideLayouts/slideLayout487.xml"/><Relationship Id="rId88" Type="http://schemas.openxmlformats.org/officeDocument/2006/relationships/slideLayout" Target="../slideLayouts/slideLayout492.xml"/><Relationship Id="rId91" Type="http://schemas.openxmlformats.org/officeDocument/2006/relationships/slideLayout" Target="../slideLayouts/slideLayout495.xml"/><Relationship Id="rId96" Type="http://schemas.openxmlformats.org/officeDocument/2006/relationships/slideLayout" Target="../slideLayouts/slideLayout500.xml"/><Relationship Id="rId1" Type="http://schemas.openxmlformats.org/officeDocument/2006/relationships/slideLayout" Target="../slideLayouts/slideLayout405.xml"/><Relationship Id="rId6" Type="http://schemas.openxmlformats.org/officeDocument/2006/relationships/slideLayout" Target="../slideLayouts/slideLayout410.xml"/><Relationship Id="rId15" Type="http://schemas.openxmlformats.org/officeDocument/2006/relationships/slideLayout" Target="../slideLayouts/slideLayout419.xml"/><Relationship Id="rId23" Type="http://schemas.openxmlformats.org/officeDocument/2006/relationships/slideLayout" Target="../slideLayouts/slideLayout427.xml"/><Relationship Id="rId28" Type="http://schemas.openxmlformats.org/officeDocument/2006/relationships/slideLayout" Target="../slideLayouts/slideLayout432.xml"/><Relationship Id="rId36" Type="http://schemas.openxmlformats.org/officeDocument/2006/relationships/slideLayout" Target="../slideLayouts/slideLayout440.xml"/><Relationship Id="rId49" Type="http://schemas.openxmlformats.org/officeDocument/2006/relationships/slideLayout" Target="../slideLayouts/slideLayout453.xml"/><Relationship Id="rId57" Type="http://schemas.openxmlformats.org/officeDocument/2006/relationships/slideLayout" Target="../slideLayouts/slideLayout461.xml"/><Relationship Id="rId10" Type="http://schemas.openxmlformats.org/officeDocument/2006/relationships/slideLayout" Target="../slideLayouts/slideLayout414.xml"/><Relationship Id="rId31" Type="http://schemas.openxmlformats.org/officeDocument/2006/relationships/slideLayout" Target="../slideLayouts/slideLayout435.xml"/><Relationship Id="rId44" Type="http://schemas.openxmlformats.org/officeDocument/2006/relationships/slideLayout" Target="../slideLayouts/slideLayout448.xml"/><Relationship Id="rId52" Type="http://schemas.openxmlformats.org/officeDocument/2006/relationships/slideLayout" Target="../slideLayouts/slideLayout456.xml"/><Relationship Id="rId60" Type="http://schemas.openxmlformats.org/officeDocument/2006/relationships/slideLayout" Target="../slideLayouts/slideLayout464.xml"/><Relationship Id="rId65" Type="http://schemas.openxmlformats.org/officeDocument/2006/relationships/slideLayout" Target="../slideLayouts/slideLayout469.xml"/><Relationship Id="rId73" Type="http://schemas.openxmlformats.org/officeDocument/2006/relationships/slideLayout" Target="../slideLayouts/slideLayout477.xml"/><Relationship Id="rId78" Type="http://schemas.openxmlformats.org/officeDocument/2006/relationships/slideLayout" Target="../slideLayouts/slideLayout482.xml"/><Relationship Id="rId81" Type="http://schemas.openxmlformats.org/officeDocument/2006/relationships/slideLayout" Target="../slideLayouts/slideLayout485.xml"/><Relationship Id="rId86" Type="http://schemas.openxmlformats.org/officeDocument/2006/relationships/slideLayout" Target="../slideLayouts/slideLayout490.xml"/><Relationship Id="rId94" Type="http://schemas.openxmlformats.org/officeDocument/2006/relationships/slideLayout" Target="../slideLayouts/slideLayout498.xml"/><Relationship Id="rId99" Type="http://schemas.openxmlformats.org/officeDocument/2006/relationships/slideLayout" Target="../slideLayouts/slideLayout503.xml"/><Relationship Id="rId101" Type="http://schemas.openxmlformats.org/officeDocument/2006/relationships/slideLayout" Target="../slideLayouts/slideLayout505.xml"/><Relationship Id="rId4" Type="http://schemas.openxmlformats.org/officeDocument/2006/relationships/slideLayout" Target="../slideLayouts/slideLayout408.xml"/><Relationship Id="rId9" Type="http://schemas.openxmlformats.org/officeDocument/2006/relationships/slideLayout" Target="../slideLayouts/slideLayout413.xml"/><Relationship Id="rId13" Type="http://schemas.openxmlformats.org/officeDocument/2006/relationships/slideLayout" Target="../slideLayouts/slideLayout417.xml"/><Relationship Id="rId18" Type="http://schemas.openxmlformats.org/officeDocument/2006/relationships/slideLayout" Target="../slideLayouts/slideLayout422.xml"/><Relationship Id="rId39" Type="http://schemas.openxmlformats.org/officeDocument/2006/relationships/slideLayout" Target="../slideLayouts/slideLayout443.xml"/><Relationship Id="rId34" Type="http://schemas.openxmlformats.org/officeDocument/2006/relationships/slideLayout" Target="../slideLayouts/slideLayout438.xml"/><Relationship Id="rId50" Type="http://schemas.openxmlformats.org/officeDocument/2006/relationships/slideLayout" Target="../slideLayouts/slideLayout454.xml"/><Relationship Id="rId55" Type="http://schemas.openxmlformats.org/officeDocument/2006/relationships/slideLayout" Target="../slideLayouts/slideLayout459.xml"/><Relationship Id="rId76" Type="http://schemas.openxmlformats.org/officeDocument/2006/relationships/slideLayout" Target="../slideLayouts/slideLayout480.xml"/><Relationship Id="rId97" Type="http://schemas.openxmlformats.org/officeDocument/2006/relationships/slideLayout" Target="../slideLayouts/slideLayout501.xml"/><Relationship Id="rId104" Type="http://schemas.openxmlformats.org/officeDocument/2006/relationships/slideLayout" Target="../slideLayouts/slideLayout508.xml"/><Relationship Id="rId7" Type="http://schemas.openxmlformats.org/officeDocument/2006/relationships/slideLayout" Target="../slideLayouts/slideLayout411.xml"/><Relationship Id="rId71" Type="http://schemas.openxmlformats.org/officeDocument/2006/relationships/slideLayout" Target="../slideLayouts/slideLayout475.xml"/><Relationship Id="rId92" Type="http://schemas.openxmlformats.org/officeDocument/2006/relationships/slideLayout" Target="../slideLayouts/slideLayout496.xml"/><Relationship Id="rId2" Type="http://schemas.openxmlformats.org/officeDocument/2006/relationships/slideLayout" Target="../slideLayouts/slideLayout406.xml"/><Relationship Id="rId29" Type="http://schemas.openxmlformats.org/officeDocument/2006/relationships/slideLayout" Target="../slideLayouts/slideLayout433.xml"/><Relationship Id="rId24" Type="http://schemas.openxmlformats.org/officeDocument/2006/relationships/slideLayout" Target="../slideLayouts/slideLayout428.xml"/><Relationship Id="rId40" Type="http://schemas.openxmlformats.org/officeDocument/2006/relationships/slideLayout" Target="../slideLayouts/slideLayout444.xml"/><Relationship Id="rId45" Type="http://schemas.openxmlformats.org/officeDocument/2006/relationships/slideLayout" Target="../slideLayouts/slideLayout449.xml"/><Relationship Id="rId66" Type="http://schemas.openxmlformats.org/officeDocument/2006/relationships/slideLayout" Target="../slideLayouts/slideLayout470.xml"/><Relationship Id="rId87" Type="http://schemas.openxmlformats.org/officeDocument/2006/relationships/slideLayout" Target="../slideLayouts/slideLayout491.xml"/><Relationship Id="rId61" Type="http://schemas.openxmlformats.org/officeDocument/2006/relationships/slideLayout" Target="../slideLayouts/slideLayout465.xml"/><Relationship Id="rId82" Type="http://schemas.openxmlformats.org/officeDocument/2006/relationships/slideLayout" Target="../slideLayouts/slideLayout486.xml"/><Relationship Id="rId19" Type="http://schemas.openxmlformats.org/officeDocument/2006/relationships/slideLayout" Target="../slideLayouts/slideLayout423.xml"/><Relationship Id="rId14" Type="http://schemas.openxmlformats.org/officeDocument/2006/relationships/slideLayout" Target="../slideLayouts/slideLayout418.xml"/><Relationship Id="rId30" Type="http://schemas.openxmlformats.org/officeDocument/2006/relationships/slideLayout" Target="../slideLayouts/slideLayout434.xml"/><Relationship Id="rId35" Type="http://schemas.openxmlformats.org/officeDocument/2006/relationships/slideLayout" Target="../slideLayouts/slideLayout439.xml"/><Relationship Id="rId56" Type="http://schemas.openxmlformats.org/officeDocument/2006/relationships/slideLayout" Target="../slideLayouts/slideLayout460.xml"/><Relationship Id="rId77" Type="http://schemas.openxmlformats.org/officeDocument/2006/relationships/slideLayout" Target="../slideLayouts/slideLayout481.xml"/><Relationship Id="rId100" Type="http://schemas.openxmlformats.org/officeDocument/2006/relationships/slideLayout" Target="../slideLayouts/slideLayout504.xml"/><Relationship Id="rId105" Type="http://schemas.openxmlformats.org/officeDocument/2006/relationships/theme" Target="../theme/theme7.xml"/><Relationship Id="rId8" Type="http://schemas.openxmlformats.org/officeDocument/2006/relationships/slideLayout" Target="../slideLayouts/slideLayout412.xml"/><Relationship Id="rId51" Type="http://schemas.openxmlformats.org/officeDocument/2006/relationships/slideLayout" Target="../slideLayouts/slideLayout455.xml"/><Relationship Id="rId72" Type="http://schemas.openxmlformats.org/officeDocument/2006/relationships/slideLayout" Target="../slideLayouts/slideLayout476.xml"/><Relationship Id="rId93" Type="http://schemas.openxmlformats.org/officeDocument/2006/relationships/slideLayout" Target="../slideLayouts/slideLayout497.xml"/><Relationship Id="rId98" Type="http://schemas.openxmlformats.org/officeDocument/2006/relationships/slideLayout" Target="../slideLayouts/slideLayout502.xml"/><Relationship Id="rId3" Type="http://schemas.openxmlformats.org/officeDocument/2006/relationships/slideLayout" Target="../slideLayouts/slideLayout407.xml"/><Relationship Id="rId25" Type="http://schemas.openxmlformats.org/officeDocument/2006/relationships/slideLayout" Target="../slideLayouts/slideLayout429.xml"/><Relationship Id="rId46" Type="http://schemas.openxmlformats.org/officeDocument/2006/relationships/slideLayout" Target="../slideLayouts/slideLayout450.xml"/><Relationship Id="rId67" Type="http://schemas.openxmlformats.org/officeDocument/2006/relationships/slideLayout" Target="../slideLayouts/slideLayout471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1.xml"/><Relationship Id="rId18" Type="http://schemas.openxmlformats.org/officeDocument/2006/relationships/slideLayout" Target="../slideLayouts/slideLayout526.xml"/><Relationship Id="rId26" Type="http://schemas.openxmlformats.org/officeDocument/2006/relationships/slideLayout" Target="../slideLayouts/slideLayout534.xml"/><Relationship Id="rId39" Type="http://schemas.openxmlformats.org/officeDocument/2006/relationships/slideLayout" Target="../slideLayouts/slideLayout547.xml"/><Relationship Id="rId21" Type="http://schemas.openxmlformats.org/officeDocument/2006/relationships/slideLayout" Target="../slideLayouts/slideLayout529.xml"/><Relationship Id="rId34" Type="http://schemas.openxmlformats.org/officeDocument/2006/relationships/slideLayout" Target="../slideLayouts/slideLayout542.xml"/><Relationship Id="rId7" Type="http://schemas.openxmlformats.org/officeDocument/2006/relationships/slideLayout" Target="../slideLayouts/slideLayout515.xml"/><Relationship Id="rId12" Type="http://schemas.openxmlformats.org/officeDocument/2006/relationships/slideLayout" Target="../slideLayouts/slideLayout520.xml"/><Relationship Id="rId17" Type="http://schemas.openxmlformats.org/officeDocument/2006/relationships/slideLayout" Target="../slideLayouts/slideLayout525.xml"/><Relationship Id="rId25" Type="http://schemas.openxmlformats.org/officeDocument/2006/relationships/slideLayout" Target="../slideLayouts/slideLayout533.xml"/><Relationship Id="rId33" Type="http://schemas.openxmlformats.org/officeDocument/2006/relationships/slideLayout" Target="../slideLayouts/slideLayout541.xml"/><Relationship Id="rId38" Type="http://schemas.openxmlformats.org/officeDocument/2006/relationships/slideLayout" Target="../slideLayouts/slideLayout546.xml"/><Relationship Id="rId2" Type="http://schemas.openxmlformats.org/officeDocument/2006/relationships/slideLayout" Target="../slideLayouts/slideLayout510.xml"/><Relationship Id="rId16" Type="http://schemas.openxmlformats.org/officeDocument/2006/relationships/slideLayout" Target="../slideLayouts/slideLayout524.xml"/><Relationship Id="rId20" Type="http://schemas.openxmlformats.org/officeDocument/2006/relationships/slideLayout" Target="../slideLayouts/slideLayout528.xml"/><Relationship Id="rId29" Type="http://schemas.openxmlformats.org/officeDocument/2006/relationships/slideLayout" Target="../slideLayouts/slideLayout537.xml"/><Relationship Id="rId1" Type="http://schemas.openxmlformats.org/officeDocument/2006/relationships/slideLayout" Target="../slideLayouts/slideLayout509.xml"/><Relationship Id="rId6" Type="http://schemas.openxmlformats.org/officeDocument/2006/relationships/slideLayout" Target="../slideLayouts/slideLayout514.xml"/><Relationship Id="rId11" Type="http://schemas.openxmlformats.org/officeDocument/2006/relationships/slideLayout" Target="../slideLayouts/slideLayout519.xml"/><Relationship Id="rId24" Type="http://schemas.openxmlformats.org/officeDocument/2006/relationships/slideLayout" Target="../slideLayouts/slideLayout532.xml"/><Relationship Id="rId32" Type="http://schemas.openxmlformats.org/officeDocument/2006/relationships/slideLayout" Target="../slideLayouts/slideLayout540.xml"/><Relationship Id="rId37" Type="http://schemas.openxmlformats.org/officeDocument/2006/relationships/slideLayout" Target="../slideLayouts/slideLayout545.xml"/><Relationship Id="rId40" Type="http://schemas.openxmlformats.org/officeDocument/2006/relationships/theme" Target="../theme/theme8.xml"/><Relationship Id="rId5" Type="http://schemas.openxmlformats.org/officeDocument/2006/relationships/slideLayout" Target="../slideLayouts/slideLayout513.xml"/><Relationship Id="rId15" Type="http://schemas.openxmlformats.org/officeDocument/2006/relationships/slideLayout" Target="../slideLayouts/slideLayout523.xml"/><Relationship Id="rId23" Type="http://schemas.openxmlformats.org/officeDocument/2006/relationships/slideLayout" Target="../slideLayouts/slideLayout531.xml"/><Relationship Id="rId28" Type="http://schemas.openxmlformats.org/officeDocument/2006/relationships/slideLayout" Target="../slideLayouts/slideLayout536.xml"/><Relationship Id="rId36" Type="http://schemas.openxmlformats.org/officeDocument/2006/relationships/slideLayout" Target="../slideLayouts/slideLayout544.xml"/><Relationship Id="rId10" Type="http://schemas.openxmlformats.org/officeDocument/2006/relationships/slideLayout" Target="../slideLayouts/slideLayout518.xml"/><Relationship Id="rId19" Type="http://schemas.openxmlformats.org/officeDocument/2006/relationships/slideLayout" Target="../slideLayouts/slideLayout527.xml"/><Relationship Id="rId31" Type="http://schemas.openxmlformats.org/officeDocument/2006/relationships/slideLayout" Target="../slideLayouts/slideLayout539.xml"/><Relationship Id="rId4" Type="http://schemas.openxmlformats.org/officeDocument/2006/relationships/slideLayout" Target="../slideLayouts/slideLayout512.xml"/><Relationship Id="rId9" Type="http://schemas.openxmlformats.org/officeDocument/2006/relationships/slideLayout" Target="../slideLayouts/slideLayout517.xml"/><Relationship Id="rId14" Type="http://schemas.openxmlformats.org/officeDocument/2006/relationships/slideLayout" Target="../slideLayouts/slideLayout522.xml"/><Relationship Id="rId22" Type="http://schemas.openxmlformats.org/officeDocument/2006/relationships/slideLayout" Target="../slideLayouts/slideLayout530.xml"/><Relationship Id="rId27" Type="http://schemas.openxmlformats.org/officeDocument/2006/relationships/slideLayout" Target="../slideLayouts/slideLayout535.xml"/><Relationship Id="rId30" Type="http://schemas.openxmlformats.org/officeDocument/2006/relationships/slideLayout" Target="../slideLayouts/slideLayout538.xml"/><Relationship Id="rId35" Type="http://schemas.openxmlformats.org/officeDocument/2006/relationships/slideLayout" Target="../slideLayouts/slideLayout543.xml"/><Relationship Id="rId8" Type="http://schemas.openxmlformats.org/officeDocument/2006/relationships/slideLayout" Target="../slideLayouts/slideLayout516.xml"/><Relationship Id="rId3" Type="http://schemas.openxmlformats.org/officeDocument/2006/relationships/slideLayout" Target="../slideLayouts/slideLayout511.xml"/></Relationships>
</file>

<file path=ppt/slideMasters/_rels/slideMaster9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664.xml"/><Relationship Id="rId21" Type="http://schemas.openxmlformats.org/officeDocument/2006/relationships/slideLayout" Target="../slideLayouts/slideLayout568.xml"/><Relationship Id="rId42" Type="http://schemas.openxmlformats.org/officeDocument/2006/relationships/slideLayout" Target="../slideLayouts/slideLayout589.xml"/><Relationship Id="rId63" Type="http://schemas.openxmlformats.org/officeDocument/2006/relationships/slideLayout" Target="../slideLayouts/slideLayout610.xml"/><Relationship Id="rId84" Type="http://schemas.openxmlformats.org/officeDocument/2006/relationships/slideLayout" Target="../slideLayouts/slideLayout631.xml"/><Relationship Id="rId138" Type="http://schemas.openxmlformats.org/officeDocument/2006/relationships/slideLayout" Target="../slideLayouts/slideLayout685.xml"/><Relationship Id="rId159" Type="http://schemas.openxmlformats.org/officeDocument/2006/relationships/slideLayout" Target="../slideLayouts/slideLayout706.xml"/><Relationship Id="rId170" Type="http://schemas.openxmlformats.org/officeDocument/2006/relationships/slideLayout" Target="../slideLayouts/slideLayout717.xml"/><Relationship Id="rId191" Type="http://schemas.openxmlformats.org/officeDocument/2006/relationships/slideLayout" Target="../slideLayouts/slideLayout738.xml"/><Relationship Id="rId205" Type="http://schemas.openxmlformats.org/officeDocument/2006/relationships/slideLayout" Target="../slideLayouts/slideLayout752.xml"/><Relationship Id="rId226" Type="http://schemas.openxmlformats.org/officeDocument/2006/relationships/theme" Target="../theme/theme9.xml"/><Relationship Id="rId107" Type="http://schemas.openxmlformats.org/officeDocument/2006/relationships/slideLayout" Target="../slideLayouts/slideLayout654.xml"/><Relationship Id="rId11" Type="http://schemas.openxmlformats.org/officeDocument/2006/relationships/slideLayout" Target="../slideLayouts/slideLayout558.xml"/><Relationship Id="rId32" Type="http://schemas.openxmlformats.org/officeDocument/2006/relationships/slideLayout" Target="../slideLayouts/slideLayout579.xml"/><Relationship Id="rId53" Type="http://schemas.openxmlformats.org/officeDocument/2006/relationships/slideLayout" Target="../slideLayouts/slideLayout600.xml"/><Relationship Id="rId74" Type="http://schemas.openxmlformats.org/officeDocument/2006/relationships/slideLayout" Target="../slideLayouts/slideLayout621.xml"/><Relationship Id="rId128" Type="http://schemas.openxmlformats.org/officeDocument/2006/relationships/slideLayout" Target="../slideLayouts/slideLayout675.xml"/><Relationship Id="rId149" Type="http://schemas.openxmlformats.org/officeDocument/2006/relationships/slideLayout" Target="../slideLayouts/slideLayout696.xml"/><Relationship Id="rId5" Type="http://schemas.openxmlformats.org/officeDocument/2006/relationships/slideLayout" Target="../slideLayouts/slideLayout552.xml"/><Relationship Id="rId95" Type="http://schemas.openxmlformats.org/officeDocument/2006/relationships/slideLayout" Target="../slideLayouts/slideLayout642.xml"/><Relationship Id="rId160" Type="http://schemas.openxmlformats.org/officeDocument/2006/relationships/slideLayout" Target="../slideLayouts/slideLayout707.xml"/><Relationship Id="rId181" Type="http://schemas.openxmlformats.org/officeDocument/2006/relationships/slideLayout" Target="../slideLayouts/slideLayout728.xml"/><Relationship Id="rId216" Type="http://schemas.openxmlformats.org/officeDocument/2006/relationships/slideLayout" Target="../slideLayouts/slideLayout763.xml"/><Relationship Id="rId22" Type="http://schemas.openxmlformats.org/officeDocument/2006/relationships/slideLayout" Target="../slideLayouts/slideLayout569.xml"/><Relationship Id="rId43" Type="http://schemas.openxmlformats.org/officeDocument/2006/relationships/slideLayout" Target="../slideLayouts/slideLayout590.xml"/><Relationship Id="rId64" Type="http://schemas.openxmlformats.org/officeDocument/2006/relationships/slideLayout" Target="../slideLayouts/slideLayout611.xml"/><Relationship Id="rId118" Type="http://schemas.openxmlformats.org/officeDocument/2006/relationships/slideLayout" Target="../slideLayouts/slideLayout665.xml"/><Relationship Id="rId139" Type="http://schemas.openxmlformats.org/officeDocument/2006/relationships/slideLayout" Target="../slideLayouts/slideLayout686.xml"/><Relationship Id="rId85" Type="http://schemas.openxmlformats.org/officeDocument/2006/relationships/slideLayout" Target="../slideLayouts/slideLayout632.xml"/><Relationship Id="rId150" Type="http://schemas.openxmlformats.org/officeDocument/2006/relationships/slideLayout" Target="../slideLayouts/slideLayout697.xml"/><Relationship Id="rId171" Type="http://schemas.openxmlformats.org/officeDocument/2006/relationships/slideLayout" Target="../slideLayouts/slideLayout718.xml"/><Relationship Id="rId192" Type="http://schemas.openxmlformats.org/officeDocument/2006/relationships/slideLayout" Target="../slideLayouts/slideLayout739.xml"/><Relationship Id="rId206" Type="http://schemas.openxmlformats.org/officeDocument/2006/relationships/slideLayout" Target="../slideLayouts/slideLayout753.xml"/><Relationship Id="rId12" Type="http://schemas.openxmlformats.org/officeDocument/2006/relationships/slideLayout" Target="../slideLayouts/slideLayout559.xml"/><Relationship Id="rId33" Type="http://schemas.openxmlformats.org/officeDocument/2006/relationships/slideLayout" Target="../slideLayouts/slideLayout580.xml"/><Relationship Id="rId108" Type="http://schemas.openxmlformats.org/officeDocument/2006/relationships/slideLayout" Target="../slideLayouts/slideLayout655.xml"/><Relationship Id="rId129" Type="http://schemas.openxmlformats.org/officeDocument/2006/relationships/slideLayout" Target="../slideLayouts/slideLayout676.xml"/><Relationship Id="rId54" Type="http://schemas.openxmlformats.org/officeDocument/2006/relationships/slideLayout" Target="../slideLayouts/slideLayout601.xml"/><Relationship Id="rId75" Type="http://schemas.openxmlformats.org/officeDocument/2006/relationships/slideLayout" Target="../slideLayouts/slideLayout622.xml"/><Relationship Id="rId96" Type="http://schemas.openxmlformats.org/officeDocument/2006/relationships/slideLayout" Target="../slideLayouts/slideLayout643.xml"/><Relationship Id="rId140" Type="http://schemas.openxmlformats.org/officeDocument/2006/relationships/slideLayout" Target="../slideLayouts/slideLayout687.xml"/><Relationship Id="rId161" Type="http://schemas.openxmlformats.org/officeDocument/2006/relationships/slideLayout" Target="../slideLayouts/slideLayout708.xml"/><Relationship Id="rId182" Type="http://schemas.openxmlformats.org/officeDocument/2006/relationships/slideLayout" Target="../slideLayouts/slideLayout729.xml"/><Relationship Id="rId217" Type="http://schemas.openxmlformats.org/officeDocument/2006/relationships/slideLayout" Target="../slideLayouts/slideLayout764.xml"/><Relationship Id="rId6" Type="http://schemas.openxmlformats.org/officeDocument/2006/relationships/slideLayout" Target="../slideLayouts/slideLayout553.xml"/><Relationship Id="rId23" Type="http://schemas.openxmlformats.org/officeDocument/2006/relationships/slideLayout" Target="../slideLayouts/slideLayout570.xml"/><Relationship Id="rId119" Type="http://schemas.openxmlformats.org/officeDocument/2006/relationships/slideLayout" Target="../slideLayouts/slideLayout666.xml"/><Relationship Id="rId44" Type="http://schemas.openxmlformats.org/officeDocument/2006/relationships/slideLayout" Target="../slideLayouts/slideLayout591.xml"/><Relationship Id="rId65" Type="http://schemas.openxmlformats.org/officeDocument/2006/relationships/slideLayout" Target="../slideLayouts/slideLayout612.xml"/><Relationship Id="rId86" Type="http://schemas.openxmlformats.org/officeDocument/2006/relationships/slideLayout" Target="../slideLayouts/slideLayout633.xml"/><Relationship Id="rId130" Type="http://schemas.openxmlformats.org/officeDocument/2006/relationships/slideLayout" Target="../slideLayouts/slideLayout677.xml"/><Relationship Id="rId151" Type="http://schemas.openxmlformats.org/officeDocument/2006/relationships/slideLayout" Target="../slideLayouts/slideLayout698.xml"/><Relationship Id="rId172" Type="http://schemas.openxmlformats.org/officeDocument/2006/relationships/slideLayout" Target="../slideLayouts/slideLayout719.xml"/><Relationship Id="rId193" Type="http://schemas.openxmlformats.org/officeDocument/2006/relationships/slideLayout" Target="../slideLayouts/slideLayout740.xml"/><Relationship Id="rId207" Type="http://schemas.openxmlformats.org/officeDocument/2006/relationships/slideLayout" Target="../slideLayouts/slideLayout754.xml"/><Relationship Id="rId13" Type="http://schemas.openxmlformats.org/officeDocument/2006/relationships/slideLayout" Target="../slideLayouts/slideLayout560.xml"/><Relationship Id="rId109" Type="http://schemas.openxmlformats.org/officeDocument/2006/relationships/slideLayout" Target="../slideLayouts/slideLayout656.xml"/><Relationship Id="rId34" Type="http://schemas.openxmlformats.org/officeDocument/2006/relationships/slideLayout" Target="../slideLayouts/slideLayout581.xml"/><Relationship Id="rId55" Type="http://schemas.openxmlformats.org/officeDocument/2006/relationships/slideLayout" Target="../slideLayouts/slideLayout602.xml"/><Relationship Id="rId76" Type="http://schemas.openxmlformats.org/officeDocument/2006/relationships/slideLayout" Target="../slideLayouts/slideLayout623.xml"/><Relationship Id="rId97" Type="http://schemas.openxmlformats.org/officeDocument/2006/relationships/slideLayout" Target="../slideLayouts/slideLayout644.xml"/><Relationship Id="rId120" Type="http://schemas.openxmlformats.org/officeDocument/2006/relationships/slideLayout" Target="../slideLayouts/slideLayout667.xml"/><Relationship Id="rId141" Type="http://schemas.openxmlformats.org/officeDocument/2006/relationships/slideLayout" Target="../slideLayouts/slideLayout688.xml"/><Relationship Id="rId7" Type="http://schemas.openxmlformats.org/officeDocument/2006/relationships/slideLayout" Target="../slideLayouts/slideLayout554.xml"/><Relationship Id="rId162" Type="http://schemas.openxmlformats.org/officeDocument/2006/relationships/slideLayout" Target="../slideLayouts/slideLayout709.xml"/><Relationship Id="rId183" Type="http://schemas.openxmlformats.org/officeDocument/2006/relationships/slideLayout" Target="../slideLayouts/slideLayout730.xml"/><Relationship Id="rId218" Type="http://schemas.openxmlformats.org/officeDocument/2006/relationships/slideLayout" Target="../slideLayouts/slideLayout765.xml"/><Relationship Id="rId24" Type="http://schemas.openxmlformats.org/officeDocument/2006/relationships/slideLayout" Target="../slideLayouts/slideLayout571.xml"/><Relationship Id="rId45" Type="http://schemas.openxmlformats.org/officeDocument/2006/relationships/slideLayout" Target="../slideLayouts/slideLayout592.xml"/><Relationship Id="rId66" Type="http://schemas.openxmlformats.org/officeDocument/2006/relationships/slideLayout" Target="../slideLayouts/slideLayout613.xml"/><Relationship Id="rId87" Type="http://schemas.openxmlformats.org/officeDocument/2006/relationships/slideLayout" Target="../slideLayouts/slideLayout634.xml"/><Relationship Id="rId110" Type="http://schemas.openxmlformats.org/officeDocument/2006/relationships/slideLayout" Target="../slideLayouts/slideLayout657.xml"/><Relationship Id="rId131" Type="http://schemas.openxmlformats.org/officeDocument/2006/relationships/slideLayout" Target="../slideLayouts/slideLayout678.xml"/><Relationship Id="rId152" Type="http://schemas.openxmlformats.org/officeDocument/2006/relationships/slideLayout" Target="../slideLayouts/slideLayout699.xml"/><Relationship Id="rId173" Type="http://schemas.openxmlformats.org/officeDocument/2006/relationships/slideLayout" Target="../slideLayouts/slideLayout720.xml"/><Relationship Id="rId194" Type="http://schemas.openxmlformats.org/officeDocument/2006/relationships/slideLayout" Target="../slideLayouts/slideLayout741.xml"/><Relationship Id="rId208" Type="http://schemas.openxmlformats.org/officeDocument/2006/relationships/slideLayout" Target="../slideLayouts/slideLayout755.xml"/><Relationship Id="rId14" Type="http://schemas.openxmlformats.org/officeDocument/2006/relationships/slideLayout" Target="../slideLayouts/slideLayout561.xml"/><Relationship Id="rId35" Type="http://schemas.openxmlformats.org/officeDocument/2006/relationships/slideLayout" Target="../slideLayouts/slideLayout582.xml"/><Relationship Id="rId56" Type="http://schemas.openxmlformats.org/officeDocument/2006/relationships/slideLayout" Target="../slideLayouts/slideLayout603.xml"/><Relationship Id="rId77" Type="http://schemas.openxmlformats.org/officeDocument/2006/relationships/slideLayout" Target="../slideLayouts/slideLayout624.xml"/><Relationship Id="rId100" Type="http://schemas.openxmlformats.org/officeDocument/2006/relationships/slideLayout" Target="../slideLayouts/slideLayout647.xml"/><Relationship Id="rId8" Type="http://schemas.openxmlformats.org/officeDocument/2006/relationships/slideLayout" Target="../slideLayouts/slideLayout555.xml"/><Relationship Id="rId98" Type="http://schemas.openxmlformats.org/officeDocument/2006/relationships/slideLayout" Target="../slideLayouts/slideLayout645.xml"/><Relationship Id="rId121" Type="http://schemas.openxmlformats.org/officeDocument/2006/relationships/slideLayout" Target="../slideLayouts/slideLayout668.xml"/><Relationship Id="rId142" Type="http://schemas.openxmlformats.org/officeDocument/2006/relationships/slideLayout" Target="../slideLayouts/slideLayout689.xml"/><Relationship Id="rId163" Type="http://schemas.openxmlformats.org/officeDocument/2006/relationships/slideLayout" Target="../slideLayouts/slideLayout710.xml"/><Relationship Id="rId184" Type="http://schemas.openxmlformats.org/officeDocument/2006/relationships/slideLayout" Target="../slideLayouts/slideLayout731.xml"/><Relationship Id="rId219" Type="http://schemas.openxmlformats.org/officeDocument/2006/relationships/slideLayout" Target="../slideLayouts/slideLayout766.xml"/><Relationship Id="rId3" Type="http://schemas.openxmlformats.org/officeDocument/2006/relationships/slideLayout" Target="../slideLayouts/slideLayout550.xml"/><Relationship Id="rId214" Type="http://schemas.openxmlformats.org/officeDocument/2006/relationships/slideLayout" Target="../slideLayouts/slideLayout761.xml"/><Relationship Id="rId25" Type="http://schemas.openxmlformats.org/officeDocument/2006/relationships/slideLayout" Target="../slideLayouts/slideLayout572.xml"/><Relationship Id="rId46" Type="http://schemas.openxmlformats.org/officeDocument/2006/relationships/slideLayout" Target="../slideLayouts/slideLayout593.xml"/><Relationship Id="rId67" Type="http://schemas.openxmlformats.org/officeDocument/2006/relationships/slideLayout" Target="../slideLayouts/slideLayout614.xml"/><Relationship Id="rId116" Type="http://schemas.openxmlformats.org/officeDocument/2006/relationships/slideLayout" Target="../slideLayouts/slideLayout663.xml"/><Relationship Id="rId137" Type="http://schemas.openxmlformats.org/officeDocument/2006/relationships/slideLayout" Target="../slideLayouts/slideLayout684.xml"/><Relationship Id="rId158" Type="http://schemas.openxmlformats.org/officeDocument/2006/relationships/slideLayout" Target="../slideLayouts/slideLayout705.xml"/><Relationship Id="rId20" Type="http://schemas.openxmlformats.org/officeDocument/2006/relationships/slideLayout" Target="../slideLayouts/slideLayout567.xml"/><Relationship Id="rId41" Type="http://schemas.openxmlformats.org/officeDocument/2006/relationships/slideLayout" Target="../slideLayouts/slideLayout588.xml"/><Relationship Id="rId62" Type="http://schemas.openxmlformats.org/officeDocument/2006/relationships/slideLayout" Target="../slideLayouts/slideLayout609.xml"/><Relationship Id="rId83" Type="http://schemas.openxmlformats.org/officeDocument/2006/relationships/slideLayout" Target="../slideLayouts/slideLayout630.xml"/><Relationship Id="rId88" Type="http://schemas.openxmlformats.org/officeDocument/2006/relationships/slideLayout" Target="../slideLayouts/slideLayout635.xml"/><Relationship Id="rId111" Type="http://schemas.openxmlformats.org/officeDocument/2006/relationships/slideLayout" Target="../slideLayouts/slideLayout658.xml"/><Relationship Id="rId132" Type="http://schemas.openxmlformats.org/officeDocument/2006/relationships/slideLayout" Target="../slideLayouts/slideLayout679.xml"/><Relationship Id="rId153" Type="http://schemas.openxmlformats.org/officeDocument/2006/relationships/slideLayout" Target="../slideLayouts/slideLayout700.xml"/><Relationship Id="rId174" Type="http://schemas.openxmlformats.org/officeDocument/2006/relationships/slideLayout" Target="../slideLayouts/slideLayout721.xml"/><Relationship Id="rId179" Type="http://schemas.openxmlformats.org/officeDocument/2006/relationships/slideLayout" Target="../slideLayouts/slideLayout726.xml"/><Relationship Id="rId195" Type="http://schemas.openxmlformats.org/officeDocument/2006/relationships/slideLayout" Target="../slideLayouts/slideLayout742.xml"/><Relationship Id="rId209" Type="http://schemas.openxmlformats.org/officeDocument/2006/relationships/slideLayout" Target="../slideLayouts/slideLayout756.xml"/><Relationship Id="rId190" Type="http://schemas.openxmlformats.org/officeDocument/2006/relationships/slideLayout" Target="../slideLayouts/slideLayout737.xml"/><Relationship Id="rId204" Type="http://schemas.openxmlformats.org/officeDocument/2006/relationships/slideLayout" Target="../slideLayouts/slideLayout751.xml"/><Relationship Id="rId220" Type="http://schemas.openxmlformats.org/officeDocument/2006/relationships/slideLayout" Target="../slideLayouts/slideLayout767.xml"/><Relationship Id="rId225" Type="http://schemas.openxmlformats.org/officeDocument/2006/relationships/slideLayout" Target="../slideLayouts/slideLayout772.xml"/><Relationship Id="rId15" Type="http://schemas.openxmlformats.org/officeDocument/2006/relationships/slideLayout" Target="../slideLayouts/slideLayout562.xml"/><Relationship Id="rId36" Type="http://schemas.openxmlformats.org/officeDocument/2006/relationships/slideLayout" Target="../slideLayouts/slideLayout583.xml"/><Relationship Id="rId57" Type="http://schemas.openxmlformats.org/officeDocument/2006/relationships/slideLayout" Target="../slideLayouts/slideLayout604.xml"/><Relationship Id="rId106" Type="http://schemas.openxmlformats.org/officeDocument/2006/relationships/slideLayout" Target="../slideLayouts/slideLayout653.xml"/><Relationship Id="rId127" Type="http://schemas.openxmlformats.org/officeDocument/2006/relationships/slideLayout" Target="../slideLayouts/slideLayout674.xml"/><Relationship Id="rId10" Type="http://schemas.openxmlformats.org/officeDocument/2006/relationships/slideLayout" Target="../slideLayouts/slideLayout557.xml"/><Relationship Id="rId31" Type="http://schemas.openxmlformats.org/officeDocument/2006/relationships/slideLayout" Target="../slideLayouts/slideLayout578.xml"/><Relationship Id="rId52" Type="http://schemas.openxmlformats.org/officeDocument/2006/relationships/slideLayout" Target="../slideLayouts/slideLayout599.xml"/><Relationship Id="rId73" Type="http://schemas.openxmlformats.org/officeDocument/2006/relationships/slideLayout" Target="../slideLayouts/slideLayout620.xml"/><Relationship Id="rId78" Type="http://schemas.openxmlformats.org/officeDocument/2006/relationships/slideLayout" Target="../slideLayouts/slideLayout625.xml"/><Relationship Id="rId94" Type="http://schemas.openxmlformats.org/officeDocument/2006/relationships/slideLayout" Target="../slideLayouts/slideLayout641.xml"/><Relationship Id="rId99" Type="http://schemas.openxmlformats.org/officeDocument/2006/relationships/slideLayout" Target="../slideLayouts/slideLayout646.xml"/><Relationship Id="rId101" Type="http://schemas.openxmlformats.org/officeDocument/2006/relationships/slideLayout" Target="../slideLayouts/slideLayout648.xml"/><Relationship Id="rId122" Type="http://schemas.openxmlformats.org/officeDocument/2006/relationships/slideLayout" Target="../slideLayouts/slideLayout669.xml"/><Relationship Id="rId143" Type="http://schemas.openxmlformats.org/officeDocument/2006/relationships/slideLayout" Target="../slideLayouts/slideLayout690.xml"/><Relationship Id="rId148" Type="http://schemas.openxmlformats.org/officeDocument/2006/relationships/slideLayout" Target="../slideLayouts/slideLayout695.xml"/><Relationship Id="rId164" Type="http://schemas.openxmlformats.org/officeDocument/2006/relationships/slideLayout" Target="../slideLayouts/slideLayout711.xml"/><Relationship Id="rId169" Type="http://schemas.openxmlformats.org/officeDocument/2006/relationships/slideLayout" Target="../slideLayouts/slideLayout716.xml"/><Relationship Id="rId185" Type="http://schemas.openxmlformats.org/officeDocument/2006/relationships/slideLayout" Target="../slideLayouts/slideLayout732.xml"/><Relationship Id="rId4" Type="http://schemas.openxmlformats.org/officeDocument/2006/relationships/slideLayout" Target="../slideLayouts/slideLayout551.xml"/><Relationship Id="rId9" Type="http://schemas.openxmlformats.org/officeDocument/2006/relationships/slideLayout" Target="../slideLayouts/slideLayout556.xml"/><Relationship Id="rId180" Type="http://schemas.openxmlformats.org/officeDocument/2006/relationships/slideLayout" Target="../slideLayouts/slideLayout727.xml"/><Relationship Id="rId210" Type="http://schemas.openxmlformats.org/officeDocument/2006/relationships/slideLayout" Target="../slideLayouts/slideLayout757.xml"/><Relationship Id="rId215" Type="http://schemas.openxmlformats.org/officeDocument/2006/relationships/slideLayout" Target="../slideLayouts/slideLayout762.xml"/><Relationship Id="rId26" Type="http://schemas.openxmlformats.org/officeDocument/2006/relationships/slideLayout" Target="../slideLayouts/slideLayout573.xml"/><Relationship Id="rId47" Type="http://schemas.openxmlformats.org/officeDocument/2006/relationships/slideLayout" Target="../slideLayouts/slideLayout594.xml"/><Relationship Id="rId68" Type="http://schemas.openxmlformats.org/officeDocument/2006/relationships/slideLayout" Target="../slideLayouts/slideLayout615.xml"/><Relationship Id="rId89" Type="http://schemas.openxmlformats.org/officeDocument/2006/relationships/slideLayout" Target="../slideLayouts/slideLayout636.xml"/><Relationship Id="rId112" Type="http://schemas.openxmlformats.org/officeDocument/2006/relationships/slideLayout" Target="../slideLayouts/slideLayout659.xml"/><Relationship Id="rId133" Type="http://schemas.openxmlformats.org/officeDocument/2006/relationships/slideLayout" Target="../slideLayouts/slideLayout680.xml"/><Relationship Id="rId154" Type="http://schemas.openxmlformats.org/officeDocument/2006/relationships/slideLayout" Target="../slideLayouts/slideLayout701.xml"/><Relationship Id="rId175" Type="http://schemas.openxmlformats.org/officeDocument/2006/relationships/slideLayout" Target="../slideLayouts/slideLayout722.xml"/><Relationship Id="rId196" Type="http://schemas.openxmlformats.org/officeDocument/2006/relationships/slideLayout" Target="../slideLayouts/slideLayout743.xml"/><Relationship Id="rId200" Type="http://schemas.openxmlformats.org/officeDocument/2006/relationships/slideLayout" Target="../slideLayouts/slideLayout747.xml"/><Relationship Id="rId16" Type="http://schemas.openxmlformats.org/officeDocument/2006/relationships/slideLayout" Target="../slideLayouts/slideLayout563.xml"/><Relationship Id="rId221" Type="http://schemas.openxmlformats.org/officeDocument/2006/relationships/slideLayout" Target="../slideLayouts/slideLayout768.xml"/><Relationship Id="rId37" Type="http://schemas.openxmlformats.org/officeDocument/2006/relationships/slideLayout" Target="../slideLayouts/slideLayout584.xml"/><Relationship Id="rId58" Type="http://schemas.openxmlformats.org/officeDocument/2006/relationships/slideLayout" Target="../slideLayouts/slideLayout605.xml"/><Relationship Id="rId79" Type="http://schemas.openxmlformats.org/officeDocument/2006/relationships/slideLayout" Target="../slideLayouts/slideLayout626.xml"/><Relationship Id="rId102" Type="http://schemas.openxmlformats.org/officeDocument/2006/relationships/slideLayout" Target="../slideLayouts/slideLayout649.xml"/><Relationship Id="rId123" Type="http://schemas.openxmlformats.org/officeDocument/2006/relationships/slideLayout" Target="../slideLayouts/slideLayout670.xml"/><Relationship Id="rId144" Type="http://schemas.openxmlformats.org/officeDocument/2006/relationships/slideLayout" Target="../slideLayouts/slideLayout691.xml"/><Relationship Id="rId90" Type="http://schemas.openxmlformats.org/officeDocument/2006/relationships/slideLayout" Target="../slideLayouts/slideLayout637.xml"/><Relationship Id="rId165" Type="http://schemas.openxmlformats.org/officeDocument/2006/relationships/slideLayout" Target="../slideLayouts/slideLayout712.xml"/><Relationship Id="rId186" Type="http://schemas.openxmlformats.org/officeDocument/2006/relationships/slideLayout" Target="../slideLayouts/slideLayout733.xml"/><Relationship Id="rId211" Type="http://schemas.openxmlformats.org/officeDocument/2006/relationships/slideLayout" Target="../slideLayouts/slideLayout758.xml"/><Relationship Id="rId27" Type="http://schemas.openxmlformats.org/officeDocument/2006/relationships/slideLayout" Target="../slideLayouts/slideLayout574.xml"/><Relationship Id="rId48" Type="http://schemas.openxmlformats.org/officeDocument/2006/relationships/slideLayout" Target="../slideLayouts/slideLayout595.xml"/><Relationship Id="rId69" Type="http://schemas.openxmlformats.org/officeDocument/2006/relationships/slideLayout" Target="../slideLayouts/slideLayout616.xml"/><Relationship Id="rId113" Type="http://schemas.openxmlformats.org/officeDocument/2006/relationships/slideLayout" Target="../slideLayouts/slideLayout660.xml"/><Relationship Id="rId134" Type="http://schemas.openxmlformats.org/officeDocument/2006/relationships/slideLayout" Target="../slideLayouts/slideLayout681.xml"/><Relationship Id="rId80" Type="http://schemas.openxmlformats.org/officeDocument/2006/relationships/slideLayout" Target="../slideLayouts/slideLayout627.xml"/><Relationship Id="rId155" Type="http://schemas.openxmlformats.org/officeDocument/2006/relationships/slideLayout" Target="../slideLayouts/slideLayout702.xml"/><Relationship Id="rId176" Type="http://schemas.openxmlformats.org/officeDocument/2006/relationships/slideLayout" Target="../slideLayouts/slideLayout723.xml"/><Relationship Id="rId197" Type="http://schemas.openxmlformats.org/officeDocument/2006/relationships/slideLayout" Target="../slideLayouts/slideLayout744.xml"/><Relationship Id="rId201" Type="http://schemas.openxmlformats.org/officeDocument/2006/relationships/slideLayout" Target="../slideLayouts/slideLayout748.xml"/><Relationship Id="rId222" Type="http://schemas.openxmlformats.org/officeDocument/2006/relationships/slideLayout" Target="../slideLayouts/slideLayout769.xml"/><Relationship Id="rId17" Type="http://schemas.openxmlformats.org/officeDocument/2006/relationships/slideLayout" Target="../slideLayouts/slideLayout564.xml"/><Relationship Id="rId38" Type="http://schemas.openxmlformats.org/officeDocument/2006/relationships/slideLayout" Target="../slideLayouts/slideLayout585.xml"/><Relationship Id="rId59" Type="http://schemas.openxmlformats.org/officeDocument/2006/relationships/slideLayout" Target="../slideLayouts/slideLayout606.xml"/><Relationship Id="rId103" Type="http://schemas.openxmlformats.org/officeDocument/2006/relationships/slideLayout" Target="../slideLayouts/slideLayout650.xml"/><Relationship Id="rId124" Type="http://schemas.openxmlformats.org/officeDocument/2006/relationships/slideLayout" Target="../slideLayouts/slideLayout671.xml"/><Relationship Id="rId70" Type="http://schemas.openxmlformats.org/officeDocument/2006/relationships/slideLayout" Target="../slideLayouts/slideLayout617.xml"/><Relationship Id="rId91" Type="http://schemas.openxmlformats.org/officeDocument/2006/relationships/slideLayout" Target="../slideLayouts/slideLayout638.xml"/><Relationship Id="rId145" Type="http://schemas.openxmlformats.org/officeDocument/2006/relationships/slideLayout" Target="../slideLayouts/slideLayout692.xml"/><Relationship Id="rId166" Type="http://schemas.openxmlformats.org/officeDocument/2006/relationships/slideLayout" Target="../slideLayouts/slideLayout713.xml"/><Relationship Id="rId187" Type="http://schemas.openxmlformats.org/officeDocument/2006/relationships/slideLayout" Target="../slideLayouts/slideLayout734.xml"/><Relationship Id="rId1" Type="http://schemas.openxmlformats.org/officeDocument/2006/relationships/slideLayout" Target="../slideLayouts/slideLayout548.xml"/><Relationship Id="rId212" Type="http://schemas.openxmlformats.org/officeDocument/2006/relationships/slideLayout" Target="../slideLayouts/slideLayout759.xml"/><Relationship Id="rId28" Type="http://schemas.openxmlformats.org/officeDocument/2006/relationships/slideLayout" Target="../slideLayouts/slideLayout575.xml"/><Relationship Id="rId49" Type="http://schemas.openxmlformats.org/officeDocument/2006/relationships/slideLayout" Target="../slideLayouts/slideLayout596.xml"/><Relationship Id="rId114" Type="http://schemas.openxmlformats.org/officeDocument/2006/relationships/slideLayout" Target="../slideLayouts/slideLayout661.xml"/><Relationship Id="rId60" Type="http://schemas.openxmlformats.org/officeDocument/2006/relationships/slideLayout" Target="../slideLayouts/slideLayout607.xml"/><Relationship Id="rId81" Type="http://schemas.openxmlformats.org/officeDocument/2006/relationships/slideLayout" Target="../slideLayouts/slideLayout628.xml"/><Relationship Id="rId135" Type="http://schemas.openxmlformats.org/officeDocument/2006/relationships/slideLayout" Target="../slideLayouts/slideLayout682.xml"/><Relationship Id="rId156" Type="http://schemas.openxmlformats.org/officeDocument/2006/relationships/slideLayout" Target="../slideLayouts/slideLayout703.xml"/><Relationship Id="rId177" Type="http://schemas.openxmlformats.org/officeDocument/2006/relationships/slideLayout" Target="../slideLayouts/slideLayout724.xml"/><Relationship Id="rId198" Type="http://schemas.openxmlformats.org/officeDocument/2006/relationships/slideLayout" Target="../slideLayouts/slideLayout745.xml"/><Relationship Id="rId202" Type="http://schemas.openxmlformats.org/officeDocument/2006/relationships/slideLayout" Target="../slideLayouts/slideLayout749.xml"/><Relationship Id="rId223" Type="http://schemas.openxmlformats.org/officeDocument/2006/relationships/slideLayout" Target="../slideLayouts/slideLayout770.xml"/><Relationship Id="rId18" Type="http://schemas.openxmlformats.org/officeDocument/2006/relationships/slideLayout" Target="../slideLayouts/slideLayout565.xml"/><Relationship Id="rId39" Type="http://schemas.openxmlformats.org/officeDocument/2006/relationships/slideLayout" Target="../slideLayouts/slideLayout586.xml"/><Relationship Id="rId50" Type="http://schemas.openxmlformats.org/officeDocument/2006/relationships/slideLayout" Target="../slideLayouts/slideLayout597.xml"/><Relationship Id="rId104" Type="http://schemas.openxmlformats.org/officeDocument/2006/relationships/slideLayout" Target="../slideLayouts/slideLayout651.xml"/><Relationship Id="rId125" Type="http://schemas.openxmlformats.org/officeDocument/2006/relationships/slideLayout" Target="../slideLayouts/slideLayout672.xml"/><Relationship Id="rId146" Type="http://schemas.openxmlformats.org/officeDocument/2006/relationships/slideLayout" Target="../slideLayouts/slideLayout693.xml"/><Relationship Id="rId167" Type="http://schemas.openxmlformats.org/officeDocument/2006/relationships/slideLayout" Target="../slideLayouts/slideLayout714.xml"/><Relationship Id="rId188" Type="http://schemas.openxmlformats.org/officeDocument/2006/relationships/slideLayout" Target="../slideLayouts/slideLayout735.xml"/><Relationship Id="rId71" Type="http://schemas.openxmlformats.org/officeDocument/2006/relationships/slideLayout" Target="../slideLayouts/slideLayout618.xml"/><Relationship Id="rId92" Type="http://schemas.openxmlformats.org/officeDocument/2006/relationships/slideLayout" Target="../slideLayouts/slideLayout639.xml"/><Relationship Id="rId213" Type="http://schemas.openxmlformats.org/officeDocument/2006/relationships/slideLayout" Target="../slideLayouts/slideLayout760.xml"/><Relationship Id="rId2" Type="http://schemas.openxmlformats.org/officeDocument/2006/relationships/slideLayout" Target="../slideLayouts/slideLayout549.xml"/><Relationship Id="rId29" Type="http://schemas.openxmlformats.org/officeDocument/2006/relationships/slideLayout" Target="../slideLayouts/slideLayout576.xml"/><Relationship Id="rId40" Type="http://schemas.openxmlformats.org/officeDocument/2006/relationships/slideLayout" Target="../slideLayouts/slideLayout587.xml"/><Relationship Id="rId115" Type="http://schemas.openxmlformats.org/officeDocument/2006/relationships/slideLayout" Target="../slideLayouts/slideLayout662.xml"/><Relationship Id="rId136" Type="http://schemas.openxmlformats.org/officeDocument/2006/relationships/slideLayout" Target="../slideLayouts/slideLayout683.xml"/><Relationship Id="rId157" Type="http://schemas.openxmlformats.org/officeDocument/2006/relationships/slideLayout" Target="../slideLayouts/slideLayout704.xml"/><Relationship Id="rId178" Type="http://schemas.openxmlformats.org/officeDocument/2006/relationships/slideLayout" Target="../slideLayouts/slideLayout725.xml"/><Relationship Id="rId61" Type="http://schemas.openxmlformats.org/officeDocument/2006/relationships/slideLayout" Target="../slideLayouts/slideLayout608.xml"/><Relationship Id="rId82" Type="http://schemas.openxmlformats.org/officeDocument/2006/relationships/slideLayout" Target="../slideLayouts/slideLayout629.xml"/><Relationship Id="rId199" Type="http://schemas.openxmlformats.org/officeDocument/2006/relationships/slideLayout" Target="../slideLayouts/slideLayout746.xml"/><Relationship Id="rId203" Type="http://schemas.openxmlformats.org/officeDocument/2006/relationships/slideLayout" Target="../slideLayouts/slideLayout750.xml"/><Relationship Id="rId19" Type="http://schemas.openxmlformats.org/officeDocument/2006/relationships/slideLayout" Target="../slideLayouts/slideLayout566.xml"/><Relationship Id="rId224" Type="http://schemas.openxmlformats.org/officeDocument/2006/relationships/slideLayout" Target="../slideLayouts/slideLayout771.xml"/><Relationship Id="rId30" Type="http://schemas.openxmlformats.org/officeDocument/2006/relationships/slideLayout" Target="../slideLayouts/slideLayout577.xml"/><Relationship Id="rId105" Type="http://schemas.openxmlformats.org/officeDocument/2006/relationships/slideLayout" Target="../slideLayouts/slideLayout652.xml"/><Relationship Id="rId126" Type="http://schemas.openxmlformats.org/officeDocument/2006/relationships/slideLayout" Target="../slideLayouts/slideLayout673.xml"/><Relationship Id="rId147" Type="http://schemas.openxmlformats.org/officeDocument/2006/relationships/slideLayout" Target="../slideLayouts/slideLayout694.xml"/><Relationship Id="rId168" Type="http://schemas.openxmlformats.org/officeDocument/2006/relationships/slideLayout" Target="../slideLayouts/slideLayout715.xml"/><Relationship Id="rId51" Type="http://schemas.openxmlformats.org/officeDocument/2006/relationships/slideLayout" Target="../slideLayouts/slideLayout598.xml"/><Relationship Id="rId72" Type="http://schemas.openxmlformats.org/officeDocument/2006/relationships/slideLayout" Target="../slideLayouts/slideLayout619.xml"/><Relationship Id="rId93" Type="http://schemas.openxmlformats.org/officeDocument/2006/relationships/slideLayout" Target="../slideLayouts/slideLayout640.xml"/><Relationship Id="rId189" Type="http://schemas.openxmlformats.org/officeDocument/2006/relationships/slideLayout" Target="../slideLayouts/slideLayout7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383952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711" r:id="rId1"/>
    <p:sldLayoutId id="2147486712" r:id="rId2"/>
    <p:sldLayoutId id="2147486714" r:id="rId3"/>
    <p:sldLayoutId id="2147486554" r:id="rId4"/>
    <p:sldLayoutId id="2147486556" r:id="rId5"/>
    <p:sldLayoutId id="2147486710" r:id="rId6"/>
    <p:sldLayoutId id="2147486551" r:id="rId7"/>
    <p:sldLayoutId id="2147486552" r:id="rId8"/>
    <p:sldLayoutId id="2147486553" r:id="rId9"/>
    <p:sldLayoutId id="2147486788" r:id="rId10"/>
    <p:sldLayoutId id="2147484596" r:id="rId11"/>
    <p:sldLayoutId id="2147484835" r:id="rId12"/>
    <p:sldLayoutId id="2147484598" r:id="rId13"/>
    <p:sldLayoutId id="2147486789" r:id="rId14"/>
    <p:sldLayoutId id="2147484836" r:id="rId15"/>
    <p:sldLayoutId id="2147484837" r:id="rId16"/>
    <p:sldLayoutId id="2147484601" r:id="rId17"/>
    <p:sldLayoutId id="2147484602" r:id="rId18"/>
    <p:sldLayoutId id="2147484603" r:id="rId19"/>
    <p:sldLayoutId id="2147484604" r:id="rId20"/>
    <p:sldLayoutId id="2147484839" r:id="rId21"/>
    <p:sldLayoutId id="2147485639" r:id="rId22"/>
    <p:sldLayoutId id="2147485641" r:id="rId23"/>
    <p:sldLayoutId id="2147485642" r:id="rId24"/>
    <p:sldLayoutId id="2147485644" r:id="rId25"/>
    <p:sldLayoutId id="2147485645" r:id="rId26"/>
    <p:sldLayoutId id="2147485646" r:id="rId27"/>
    <p:sldLayoutId id="2147485647" r:id="rId28"/>
    <p:sldLayoutId id="2147485648" r:id="rId29"/>
    <p:sldLayoutId id="2147485649" r:id="rId30"/>
    <p:sldLayoutId id="2147485640" r:id="rId31"/>
    <p:sldLayoutId id="2147485954" r:id="rId32"/>
    <p:sldLayoutId id="2147483833" r:id="rId33"/>
    <p:sldLayoutId id="2147483834" r:id="rId34"/>
    <p:sldLayoutId id="2147483835" r:id="rId35"/>
    <p:sldLayoutId id="2147485628" r:id="rId36"/>
    <p:sldLayoutId id="2147485455" r:id="rId37"/>
    <p:sldLayoutId id="2147486773" r:id="rId38"/>
    <p:sldLayoutId id="2147483836" r:id="rId39"/>
    <p:sldLayoutId id="2147483838" r:id="rId40"/>
    <p:sldLayoutId id="2147483839" r:id="rId41"/>
    <p:sldLayoutId id="2147483840" r:id="rId42"/>
    <p:sldLayoutId id="2147483841" r:id="rId43"/>
    <p:sldLayoutId id="2147483842" r:id="rId44"/>
    <p:sldLayoutId id="2147485072" r:id="rId45"/>
    <p:sldLayoutId id="2147484845" r:id="rId46"/>
    <p:sldLayoutId id="2147483843" r:id="rId47"/>
    <p:sldLayoutId id="2147486790" r:id="rId48"/>
    <p:sldLayoutId id="2147484846" r:id="rId49"/>
    <p:sldLayoutId id="2147486791" r:id="rId50"/>
    <p:sldLayoutId id="2147485712" r:id="rId51"/>
    <p:sldLayoutId id="2147486824" r:id="rId52"/>
    <p:sldLayoutId id="2147485470" r:id="rId53"/>
    <p:sldLayoutId id="2147484269" r:id="rId54"/>
    <p:sldLayoutId id="2147484270" r:id="rId55"/>
    <p:sldLayoutId id="2147484271" r:id="rId56"/>
    <p:sldLayoutId id="2147486702" r:id="rId57"/>
    <p:sldLayoutId id="2147486703" r:id="rId58"/>
    <p:sldLayoutId id="2147484639" r:id="rId59"/>
    <p:sldLayoutId id="2147484640" r:id="rId60"/>
    <p:sldLayoutId id="2147484641" r:id="rId61"/>
    <p:sldLayoutId id="2147484642" r:id="rId62"/>
    <p:sldLayoutId id="2147484643" r:id="rId63"/>
    <p:sldLayoutId id="2147484644" r:id="rId64"/>
    <p:sldLayoutId id="2147484424" r:id="rId65"/>
    <p:sldLayoutId id="2147484626" r:id="rId66"/>
    <p:sldLayoutId id="2147484645" r:id="rId67"/>
    <p:sldLayoutId id="2147484646" r:id="rId68"/>
    <p:sldLayoutId id="2147484647" r:id="rId69"/>
    <p:sldLayoutId id="2147484353" r:id="rId70"/>
    <p:sldLayoutId id="2147485643" r:id="rId71"/>
    <p:sldLayoutId id="2147485637" r:id="rId72"/>
    <p:sldLayoutId id="2147483885" r:id="rId73"/>
    <p:sldLayoutId id="2147485622" r:id="rId74"/>
    <p:sldLayoutId id="2147485624" r:id="rId75"/>
    <p:sldLayoutId id="2147485625" r:id="rId76"/>
    <p:sldLayoutId id="2147485626" r:id="rId77"/>
    <p:sldLayoutId id="2147485650" r:id="rId78"/>
    <p:sldLayoutId id="2147485621" r:id="rId79"/>
    <p:sldLayoutId id="2147485842" r:id="rId80"/>
    <p:sldLayoutId id="2147485590" r:id="rId81"/>
    <p:sldLayoutId id="2147486803" r:id="rId82"/>
    <p:sldLayoutId id="2147484200" r:id="rId83"/>
    <p:sldLayoutId id="2147485738" r:id="rId84"/>
    <p:sldLayoutId id="2147485074" r:id="rId85"/>
    <p:sldLayoutId id="2147485075" r:id="rId86"/>
    <p:sldLayoutId id="2147485076" r:id="rId87"/>
    <p:sldLayoutId id="2147485077" r:id="rId88"/>
    <p:sldLayoutId id="2147485078" r:id="rId89"/>
    <p:sldLayoutId id="2147485079" r:id="rId90"/>
    <p:sldLayoutId id="2147485080" r:id="rId91"/>
    <p:sldLayoutId id="2147485081" r:id="rId92"/>
    <p:sldLayoutId id="2147485082" r:id="rId93"/>
    <p:sldLayoutId id="2147485083" r:id="rId94"/>
    <p:sldLayoutId id="2147484384" r:id="rId95"/>
    <p:sldLayoutId id="2147485405" r:id="rId96"/>
    <p:sldLayoutId id="2147484559" r:id="rId97"/>
    <p:sldLayoutId id="2147484385" r:id="rId98"/>
    <p:sldLayoutId id="2147485406" r:id="rId99"/>
    <p:sldLayoutId id="2147484387" r:id="rId100"/>
    <p:sldLayoutId id="2147484389" r:id="rId101"/>
    <p:sldLayoutId id="2147484390" r:id="rId102"/>
    <p:sldLayoutId id="2147484388" r:id="rId103"/>
    <p:sldLayoutId id="2147484391" r:id="rId104"/>
    <p:sldLayoutId id="2147484392" r:id="rId105"/>
    <p:sldLayoutId id="2147484202" r:id="rId106"/>
    <p:sldLayoutId id="2147484203" r:id="rId107"/>
    <p:sldLayoutId id="2147484204" r:id="rId108"/>
    <p:sldLayoutId id="2147484205" r:id="rId109"/>
    <p:sldLayoutId id="2147484206" r:id="rId110"/>
    <p:sldLayoutId id="2147485588" r:id="rId111"/>
    <p:sldLayoutId id="2147484208" r:id="rId112"/>
    <p:sldLayoutId id="2147485719" r:id="rId113"/>
    <p:sldLayoutId id="2147485612" r:id="rId114"/>
    <p:sldLayoutId id="2147485614" r:id="rId115"/>
    <p:sldLayoutId id="2147485611" r:id="rId116"/>
    <p:sldLayoutId id="2147485606" r:id="rId117"/>
    <p:sldLayoutId id="2147485607" r:id="rId118"/>
    <p:sldLayoutId id="2147485608" r:id="rId119"/>
    <p:sldLayoutId id="2147485764" r:id="rId120"/>
    <p:sldLayoutId id="2147485444" r:id="rId121"/>
    <p:sldLayoutId id="2147484355" r:id="rId122"/>
    <p:sldLayoutId id="2147485623" r:id="rId123"/>
    <p:sldLayoutId id="2147484356" r:id="rId124"/>
    <p:sldLayoutId id="2147484357" r:id="rId125"/>
    <p:sldLayoutId id="2147484358" r:id="rId126"/>
    <p:sldLayoutId id="2147484359" r:id="rId127"/>
    <p:sldLayoutId id="2147484360" r:id="rId128"/>
    <p:sldLayoutId id="2147484393" r:id="rId129"/>
    <p:sldLayoutId id="2147484394" r:id="rId130"/>
    <p:sldLayoutId id="2147484361" r:id="rId131"/>
    <p:sldLayoutId id="2147485593" r:id="rId132"/>
    <p:sldLayoutId id="2147485768" r:id="rId133"/>
    <p:sldLayoutId id="2147485758" r:id="rId134"/>
    <p:sldLayoutId id="2147485759" r:id="rId135"/>
    <p:sldLayoutId id="2147485760" r:id="rId136"/>
    <p:sldLayoutId id="2147485769" r:id="rId137"/>
    <p:sldLayoutId id="2147486695" r:id="rId138"/>
    <p:sldLayoutId id="2147485609" r:id="rId139"/>
    <p:sldLayoutId id="2147485610" r:id="rId140"/>
    <p:sldLayoutId id="2147485767" r:id="rId141"/>
    <p:sldLayoutId id="2147486697" r:id="rId142"/>
    <p:sldLayoutId id="2147486698" r:id="rId143"/>
    <p:sldLayoutId id="2147486700" r:id="rId144"/>
    <p:sldLayoutId id="2147486793" r:id="rId145"/>
    <p:sldLayoutId id="2147486701" r:id="rId146"/>
    <p:sldLayoutId id="2147485789" r:id="rId147"/>
    <p:sldLayoutId id="2147485790" r:id="rId148"/>
    <p:sldLayoutId id="2147485791" r:id="rId149"/>
    <p:sldLayoutId id="2147485683" r:id="rId150"/>
    <p:sldLayoutId id="2147485792" r:id="rId151"/>
    <p:sldLayoutId id="2147485793" r:id="rId152"/>
    <p:sldLayoutId id="2147485794" r:id="rId153"/>
    <p:sldLayoutId id="2147485795" r:id="rId154"/>
    <p:sldLayoutId id="2147485615" r:id="rId155"/>
    <p:sldLayoutId id="2147485797" r:id="rId156"/>
    <p:sldLayoutId id="2147485798" r:id="rId157"/>
    <p:sldLayoutId id="2147485468" r:id="rId158"/>
    <p:sldLayoutId id="2147485629" r:id="rId159"/>
    <p:sldLayoutId id="2147485358" r:id="rId160"/>
    <p:sldLayoutId id="2147485630" r:id="rId161"/>
    <p:sldLayoutId id="2147485631" r:id="rId162"/>
    <p:sldLayoutId id="2147485632" r:id="rId163"/>
    <p:sldLayoutId id="2147485385" r:id="rId164"/>
    <p:sldLayoutId id="2147485633" r:id="rId165"/>
    <p:sldLayoutId id="2147485469" r:id="rId166"/>
    <p:sldLayoutId id="2147484570" r:id="rId167"/>
    <p:sldLayoutId id="2147484364" r:id="rId168"/>
    <p:sldLayoutId id="2147484272" r:id="rId169"/>
    <p:sldLayoutId id="2147484273" r:id="rId170"/>
    <p:sldLayoutId id="2147484274" r:id="rId171"/>
    <p:sldLayoutId id="2147484275" r:id="rId172"/>
    <p:sldLayoutId id="2147484276" r:id="rId173"/>
    <p:sldLayoutId id="2147484277" r:id="rId174"/>
    <p:sldLayoutId id="2147484238" r:id="rId175"/>
    <p:sldLayoutId id="2147484278" r:id="rId176"/>
    <p:sldLayoutId id="2147486704" r:id="rId177"/>
    <p:sldLayoutId id="2147484279" r:id="rId178"/>
    <p:sldLayoutId id="2147484280" r:id="rId179"/>
    <p:sldLayoutId id="2147484281" r:id="rId180"/>
    <p:sldLayoutId id="2147484282" r:id="rId181"/>
    <p:sldLayoutId id="2147484283" r:id="rId182"/>
    <p:sldLayoutId id="2147484237" r:id="rId183"/>
    <p:sldLayoutId id="2147484284" r:id="rId184"/>
    <p:sldLayoutId id="2147483722" r:id="rId185"/>
    <p:sldLayoutId id="2147484572" r:id="rId186"/>
    <p:sldLayoutId id="2147483792" r:id="rId187"/>
    <p:sldLayoutId id="2147483793" r:id="rId188"/>
    <p:sldLayoutId id="2147483794" r:id="rId189"/>
    <p:sldLayoutId id="2147486708" r:id="rId190"/>
    <p:sldLayoutId id="2147483796" r:id="rId191"/>
    <p:sldLayoutId id="2147483797" r:id="rId192"/>
    <p:sldLayoutId id="2147483798" r:id="rId193"/>
    <p:sldLayoutId id="2147483799" r:id="rId194"/>
    <p:sldLayoutId id="2147483800" r:id="rId195"/>
    <p:sldLayoutId id="2147483801" r:id="rId196"/>
    <p:sldLayoutId id="2147484222" r:id="rId197"/>
    <p:sldLayoutId id="2147485705" r:id="rId198"/>
    <p:sldLayoutId id="2147485009" r:id="rId199"/>
    <p:sldLayoutId id="2147485010" r:id="rId200"/>
    <p:sldLayoutId id="2147484231" r:id="rId201"/>
    <p:sldLayoutId id="2147484268" r:id="rId202"/>
    <p:sldLayoutId id="2147484235" r:id="rId203"/>
    <p:sldLayoutId id="2147486706" r:id="rId204"/>
    <p:sldLayoutId id="2147484245" r:id="rId205"/>
    <p:sldLayoutId id="2147484262" r:id="rId206"/>
    <p:sldLayoutId id="2147484285" r:id="rId207"/>
    <p:sldLayoutId id="2147484286" r:id="rId208"/>
    <p:sldLayoutId id="2147484287" r:id="rId209"/>
    <p:sldLayoutId id="2147484233" r:id="rId210"/>
    <p:sldLayoutId id="2147484821" r:id="rId211"/>
    <p:sldLayoutId id="2147483716" r:id="rId212"/>
    <p:sldLayoutId id="2147485239" r:id="rId213"/>
    <p:sldLayoutId id="2147484848" r:id="rId214"/>
    <p:sldLayoutId id="2147483717" r:id="rId215"/>
    <p:sldLayoutId id="2147483718" r:id="rId216"/>
    <p:sldLayoutId id="2147484400" r:id="rId217"/>
    <p:sldLayoutId id="2147484401" r:id="rId218"/>
    <p:sldLayoutId id="2147484402" r:id="rId219"/>
    <p:sldLayoutId id="2147484822" r:id="rId220"/>
    <p:sldLayoutId id="2147486251" r:id="rId221"/>
    <p:sldLayoutId id="2147484849" r:id="rId222"/>
    <p:sldLayoutId id="2147484850" r:id="rId223"/>
    <p:sldLayoutId id="2147485709" r:id="rId224"/>
    <p:sldLayoutId id="2147485713" r:id="rId225"/>
    <p:sldLayoutId id="2147485720" r:id="rId226"/>
    <p:sldLayoutId id="2147485568" r:id="rId227"/>
    <p:sldLayoutId id="2147485714" r:id="rId228"/>
    <p:sldLayoutId id="2147485715" r:id="rId229"/>
    <p:sldLayoutId id="2147485716" r:id="rId230"/>
    <p:sldLayoutId id="2147485582" r:id="rId231"/>
    <p:sldLayoutId id="2147485718" r:id="rId232"/>
    <p:sldLayoutId id="2147485711" r:id="rId233"/>
    <p:sldLayoutId id="2147486792" r:id="rId234"/>
    <p:sldLayoutId id="2147483675" r:id="rId235"/>
    <p:sldLayoutId id="2147484288" r:id="rId236"/>
    <p:sldLayoutId id="2147484289" r:id="rId237"/>
    <p:sldLayoutId id="2147484290" r:id="rId238"/>
    <p:sldLayoutId id="2147484291" r:id="rId239"/>
    <p:sldLayoutId id="2147484292" r:id="rId240"/>
    <p:sldLayoutId id="2147484293" r:id="rId241"/>
    <p:sldLayoutId id="2147484294" r:id="rId242"/>
    <p:sldLayoutId id="2147484295" r:id="rId243"/>
    <p:sldLayoutId id="2147484296" r:id="rId244"/>
    <p:sldLayoutId id="2147485409" r:id="rId245"/>
    <p:sldLayoutId id="2147485634" r:id="rId246"/>
    <p:sldLayoutId id="2147485635" r:id="rId247"/>
    <p:sldLayoutId id="2147485367" r:id="rId248"/>
    <p:sldLayoutId id="2147485368" r:id="rId249"/>
    <p:sldLayoutId id="2147485369" r:id="rId250"/>
    <p:sldLayoutId id="2147485400" r:id="rId251"/>
    <p:sldLayoutId id="2147485401" r:id="rId252"/>
    <p:sldLayoutId id="2147485402" r:id="rId253"/>
    <p:sldLayoutId id="2147485403" r:id="rId254"/>
    <p:sldLayoutId id="2147483868" r:id="rId255"/>
    <p:sldLayoutId id="2147484386" r:id="rId256"/>
    <p:sldLayoutId id="2147484815" r:id="rId257"/>
    <p:sldLayoutId id="2147484816" r:id="rId258"/>
    <p:sldLayoutId id="2147484817" r:id="rId259"/>
    <p:sldLayoutId id="2147485678" r:id="rId260"/>
    <p:sldLayoutId id="2147485577" r:id="rId261"/>
    <p:sldLayoutId id="2147485578" r:id="rId262"/>
    <p:sldLayoutId id="2147485616" r:id="rId263"/>
    <p:sldLayoutId id="2147484330" r:id="rId264"/>
    <p:sldLayoutId id="2147484331" r:id="rId265"/>
    <p:sldLayoutId id="2147484332" r:id="rId266"/>
    <p:sldLayoutId id="2147484485" r:id="rId267"/>
    <p:sldLayoutId id="2147484486" r:id="rId268"/>
    <p:sldLayoutId id="2147484609" r:id="rId269"/>
    <p:sldLayoutId id="2147485618" r:id="rId270"/>
    <p:sldLayoutId id="2147485619" r:id="rId271"/>
    <p:sldLayoutId id="2147485620" r:id="rId272"/>
    <p:sldLayoutId id="2147485419" r:id="rId273"/>
    <p:sldLayoutId id="2147485420" r:id="rId274"/>
    <p:sldLayoutId id="2147485179" r:id="rId275"/>
    <p:sldLayoutId id="2147485215" r:id="rId276"/>
    <p:sldLayoutId id="2147485677" r:id="rId277"/>
    <p:sldLayoutId id="2147486360" r:id="rId278"/>
    <p:sldLayoutId id="2147485556" r:id="rId279"/>
    <p:sldLayoutId id="2147486361" r:id="rId280"/>
    <p:sldLayoutId id="2147485425" r:id="rId281"/>
    <p:sldLayoutId id="2147486779" r:id="rId282"/>
    <p:sldLayoutId id="2147486048" r:id="rId283"/>
    <p:sldLayoutId id="2147485579" r:id="rId284"/>
    <p:sldLayoutId id="2147486829" r:id="rId285"/>
    <p:sldLayoutId id="2147485391" r:id="rId286"/>
    <p:sldLayoutId id="2147485392" r:id="rId287"/>
    <p:sldLayoutId id="2147486709" r:id="rId288"/>
    <p:sldLayoutId id="2147486716" r:id="rId289"/>
    <p:sldLayoutId id="2147484354" r:id="rId290"/>
    <p:sldLayoutId id="2147485638" r:id="rId291"/>
    <p:sldLayoutId id="2147485393" r:id="rId292"/>
    <p:sldLayoutId id="2147485394" r:id="rId293"/>
    <p:sldLayoutId id="2147485395" r:id="rId294"/>
    <p:sldLayoutId id="2147484376" r:id="rId295"/>
    <p:sldLayoutId id="2147484377" r:id="rId296"/>
    <p:sldLayoutId id="2147484378" r:id="rId297"/>
    <p:sldLayoutId id="2147485396" r:id="rId298"/>
    <p:sldLayoutId id="2147484379" r:id="rId299"/>
    <p:sldLayoutId id="2147483676" r:id="rId300"/>
    <p:sldLayoutId id="2147483877" r:id="rId301"/>
    <p:sldLayoutId id="2147483878" r:id="rId302"/>
    <p:sldLayoutId id="2147485602" r:id="rId303"/>
    <p:sldLayoutId id="2147485770" r:id="rId304"/>
    <p:sldLayoutId id="2147485771" r:id="rId305"/>
    <p:sldLayoutId id="2147485613" r:id="rId306"/>
    <p:sldLayoutId id="2147483677" r:id="rId307"/>
    <p:sldLayoutId id="2147483678" r:id="rId308"/>
    <p:sldLayoutId id="2147483679" r:id="rId309"/>
    <p:sldLayoutId id="2147484608" r:id="rId310"/>
    <p:sldLayoutId id="2147484579" r:id="rId311"/>
    <p:sldLayoutId id="2147484580" r:id="rId312"/>
    <p:sldLayoutId id="2147483879" r:id="rId313"/>
    <p:sldLayoutId id="2147484297" r:id="rId314"/>
    <p:sldLayoutId id="2147484298" r:id="rId315"/>
    <p:sldLayoutId id="2147484260" r:id="rId316"/>
    <p:sldLayoutId id="2147486707" r:id="rId317"/>
    <p:sldLayoutId id="2147484299" r:id="rId318"/>
    <p:sldLayoutId id="2147484267" r:id="rId319"/>
    <p:sldLayoutId id="2147484300" r:id="rId320"/>
    <p:sldLayoutId id="2147484301" r:id="rId321"/>
    <p:sldLayoutId id="2147484302" r:id="rId322"/>
    <p:sldLayoutId id="2147484303" r:id="rId323"/>
    <p:sldLayoutId id="2147484650" r:id="rId324"/>
    <p:sldLayoutId id="2147484651" r:id="rId325"/>
    <p:sldLayoutId id="2147486252" r:id="rId326"/>
    <p:sldLayoutId id="2147486253" r:id="rId327"/>
    <p:sldLayoutId id="2147486363" r:id="rId328"/>
    <p:sldLayoutId id="2147486364" r:id="rId329"/>
    <p:sldLayoutId id="2147486365" r:id="rId330"/>
    <p:sldLayoutId id="2147486366" r:id="rId331"/>
    <p:sldLayoutId id="2147486367" r:id="rId332"/>
    <p:sldLayoutId id="2147486368" r:id="rId333"/>
    <p:sldLayoutId id="2147486369" r:id="rId334"/>
    <p:sldLayoutId id="2147484652" r:id="rId335"/>
    <p:sldLayoutId id="2147484653" r:id="rId336"/>
    <p:sldLayoutId id="2147484999" r:id="rId337"/>
    <p:sldLayoutId id="2147485000" r:id="rId338"/>
    <p:sldLayoutId id="2147485001" r:id="rId339"/>
    <p:sldLayoutId id="2147485002" r:id="rId340"/>
    <p:sldLayoutId id="2147485006" r:id="rId341"/>
    <p:sldLayoutId id="2147485007" r:id="rId342"/>
    <p:sldLayoutId id="2147485008" r:id="rId343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F39F9A0-8CBE-4C3C-85F1-91B2141E10B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244116"/>
            <a:ext cx="12192000" cy="642737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1465" y="126609"/>
            <a:ext cx="11179127" cy="11119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81465" y="1575583"/>
            <a:ext cx="11163875" cy="4601381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653583" y="635406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EB727E-5B2C-4310-AB66-CE5561C8F44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858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0" r:id="rId1"/>
    <p:sldLayoutId id="2147486831" r:id="rId2"/>
    <p:sldLayoutId id="2147486832" r:id="rId3"/>
    <p:sldLayoutId id="2147483680" r:id="rId4"/>
    <p:sldLayoutId id="2147484363" r:id="rId5"/>
    <p:sldLayoutId id="2147483685" r:id="rId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bg2">
              <a:lumMod val="50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10741" indent="-210741" algn="l" defTabSz="685800" rtl="0" eaLnBrk="1" latinLnBrk="0" hangingPunct="1">
        <a:lnSpc>
          <a:spcPct val="90000"/>
        </a:lnSpc>
        <a:spcBef>
          <a:spcPts val="750"/>
        </a:spcBef>
        <a:buClr>
          <a:schemeClr val="accent2"/>
        </a:buClr>
        <a:buFont typeface="Arial" panose="020B0604020202020204" pitchFamily="34" charset="0"/>
        <a:buChar char="•"/>
        <a:defRPr sz="22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1pPr>
      <a:lvl2pPr marL="601266" indent="-264319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‒"/>
        <a:defRPr sz="22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2"/>
        </a:buClr>
        <a:buFont typeface="Arial" panose="020B0604020202020204" pitchFamily="34" charset="0"/>
        <a:buChar char="-"/>
        <a:defRPr sz="1950" kern="1200">
          <a:solidFill>
            <a:schemeClr val="bg2">
              <a:lumMod val="50000"/>
            </a:schemeClr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1680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4365" r:id="rId2"/>
    <p:sldLayoutId id="2147483711" r:id="rId3"/>
    <p:sldLayoutId id="2147484374" r:id="rId4"/>
    <p:sldLayoutId id="2147486822" r:id="rId5"/>
    <p:sldLayoutId id="2147483714" r:id="rId6"/>
    <p:sldLayoutId id="2147483715" r:id="rId7"/>
    <p:sldLayoutId id="2147484366" r:id="rId8"/>
    <p:sldLayoutId id="2147484369" r:id="rId9"/>
    <p:sldLayoutId id="2147484370" r:id="rId10"/>
    <p:sldLayoutId id="2147484371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40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5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75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2911D643-BEFA-4812-B7BF-93C185E3C2A4}" type="slidenum">
              <a:rPr lang="en-US" smtClean="0"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/>
        </p:nvCxnSpPr>
        <p:spPr>
          <a:xfrm>
            <a:off x="11311725" y="6447274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91402" tIns="45700" rIns="91402" bIns="45700" rtlCol="0" anchor="ctr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1574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tags r:id="rId22"/>
    </p:custDataLst>
    <p:extLst>
      <p:ext uri="{BB962C8B-B14F-4D97-AF65-F5344CB8AC3E}">
        <p14:creationId xmlns:p14="http://schemas.microsoft.com/office/powerpoint/2010/main" val="7344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3" r:id="rId2"/>
    <p:sldLayoutId id="2147484594" r:id="rId3"/>
    <p:sldLayoutId id="2147484595" r:id="rId4"/>
    <p:sldLayoutId id="2147486804" r:id="rId5"/>
    <p:sldLayoutId id="2147484597" r:id="rId6"/>
    <p:sldLayoutId id="2147486805" r:id="rId7"/>
    <p:sldLayoutId id="2147484599" r:id="rId8"/>
    <p:sldLayoutId id="2147484600" r:id="rId9"/>
    <p:sldLayoutId id="2147486806" r:id="rId10"/>
    <p:sldLayoutId id="2147486807" r:id="rId11"/>
    <p:sldLayoutId id="2147486808" r:id="rId12"/>
    <p:sldLayoutId id="2147486809" r:id="rId13"/>
    <p:sldLayoutId id="2147484605" r:id="rId14"/>
    <p:sldLayoutId id="2147484606" r:id="rId15"/>
    <p:sldLayoutId id="2147484607" r:id="rId16"/>
    <p:sldLayoutId id="2147486833" r:id="rId17"/>
    <p:sldLayoutId id="2147486826" r:id="rId18"/>
    <p:sldLayoutId id="2147484610" r:id="rId19"/>
    <p:sldLayoutId id="2147484611" r:id="rId20"/>
  </p:sldLayoutIdLst>
  <p:txStyles>
    <p:titleStyle>
      <a:lvl1pPr algn="l" defTabSz="457013" rtl="0" eaLnBrk="1" latinLnBrk="0" hangingPunct="1">
        <a:spcBef>
          <a:spcPct val="0"/>
        </a:spcBef>
        <a:buNone/>
        <a:defRPr sz="2400" b="1" kern="1200" spc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37021" indent="-137021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99746" indent="-148472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62472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3745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65019" indent="-159926" algn="l" defTabSz="457013" rtl="0" eaLnBrk="1" latinLnBrk="0" hangingPunct="1">
        <a:spcBef>
          <a:spcPct val="200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3572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6pPr>
      <a:lvl7pPr marL="2970584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7pPr>
      <a:lvl8pPr marL="3427596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8pPr>
      <a:lvl9pPr marL="3884609" indent="-228506" algn="l" defTabSz="457013" rtl="0" eaLnBrk="1" latinLnBrk="0" hangingPunct="1">
        <a:spcBef>
          <a:spcPct val="20000"/>
        </a:spcBef>
        <a:buFont typeface="Arial"/>
        <a:buChar char="•"/>
        <a:defRPr sz="187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1pPr>
      <a:lvl2pPr marL="457013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2pPr>
      <a:lvl3pPr marL="914026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3pPr>
      <a:lvl4pPr marL="1371040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4pPr>
      <a:lvl5pPr marL="1828052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5pPr>
      <a:lvl6pPr marL="2285065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6pPr>
      <a:lvl7pPr marL="2742077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7pPr>
      <a:lvl8pPr marL="3199091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8pPr>
      <a:lvl9pPr marL="3656104" algn="l" defTabSz="457013" rtl="0" eaLnBrk="1" latinLnBrk="0" hangingPunct="1">
        <a:defRPr sz="172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391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38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 userDrawn="1"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ctr"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endParaRPr lang="en-US" sz="2099">
              <a:solidFill>
                <a:schemeClr val="bg1">
                  <a:lumMod val="50000"/>
                </a:schemeClr>
              </a:solidFill>
              <a:cs typeface="Calibri"/>
            </a:endParaRPr>
          </a:p>
        </p:txBody>
      </p:sp>
    </p:spTree>
    <p:custDataLst>
      <p:custData r:id="rId13"/>
      <p:tags r:id="rId14"/>
    </p:custDataLst>
    <p:extLst>
      <p:ext uri="{BB962C8B-B14F-4D97-AF65-F5344CB8AC3E}">
        <p14:creationId xmlns:p14="http://schemas.microsoft.com/office/powerpoint/2010/main" val="42732362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4" r:id="rId1"/>
    <p:sldLayoutId id="2147484615" r:id="rId2"/>
    <p:sldLayoutId id="2147484616" r:id="rId3"/>
    <p:sldLayoutId id="2147484617" r:id="rId4"/>
    <p:sldLayoutId id="2147484618" r:id="rId5"/>
    <p:sldLayoutId id="2147484619" r:id="rId6"/>
    <p:sldLayoutId id="2147484620" r:id="rId7"/>
    <p:sldLayoutId id="2147484621" r:id="rId8"/>
    <p:sldLayoutId id="2147484622" r:id="rId9"/>
    <p:sldLayoutId id="2147484623" r:id="rId10"/>
    <p:sldLayoutId id="2147484624" r:id="rId11"/>
  </p:sldLayoutIdLst>
  <p:hf hdr="0" ftr="0" dt="0"/>
  <p:txStyles>
    <p:titleStyle>
      <a:lvl1pPr algn="l" defTabSz="609351" rtl="0" eaLnBrk="1" latinLnBrk="0" hangingPunct="1">
        <a:spcBef>
          <a:spcPct val="0"/>
        </a:spcBef>
        <a:buNone/>
        <a:defRPr sz="3200" b="1" kern="1200" spc="0">
          <a:solidFill>
            <a:schemeClr val="tx1">
              <a:lumMod val="90000"/>
              <a:lumOff val="1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014" indent="-45701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990195" indent="-380843" algn="l" defTabSz="609351" rtl="0" eaLnBrk="1" latinLnBrk="0" hangingPunct="1">
        <a:spcBef>
          <a:spcPct val="20000"/>
        </a:spcBef>
        <a:buFont typeface="Arial"/>
        <a:buChar char="–"/>
        <a:defRPr sz="22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1523376" indent="-304674" algn="l" defTabSz="609351" rtl="0" eaLnBrk="1" latinLnBrk="0" hangingPunct="1">
        <a:spcBef>
          <a:spcPct val="20000"/>
        </a:spcBef>
        <a:buFont typeface="Arial"/>
        <a:buChar char="•"/>
        <a:defRPr sz="19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2132726" indent="-304674" algn="l" defTabSz="609351" rtl="0" eaLnBrk="1" latinLnBrk="0" hangingPunct="1">
        <a:spcBef>
          <a:spcPct val="20000"/>
        </a:spcBef>
        <a:buFont typeface="Arial"/>
        <a:buChar char="–"/>
        <a:defRPr sz="16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2742078" indent="-304674" algn="l" defTabSz="609351" rtl="0" eaLnBrk="1" latinLnBrk="0" hangingPunct="1">
        <a:spcBef>
          <a:spcPct val="20000"/>
        </a:spcBef>
        <a:buFont typeface="Arial"/>
        <a:buChar char="»"/>
        <a:defRPr sz="1699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335142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77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12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47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5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0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0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402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7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10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454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805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452931"/>
            <a:ext cx="11430000" cy="114300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8538" y="1604789"/>
            <a:ext cx="11203665" cy="4238450"/>
          </a:xfrm>
          <a:prstGeom prst="rect">
            <a:avLst/>
          </a:prstGeom>
        </p:spPr>
        <p:txBody>
          <a:bodyPr vert="horz" lIns="121932" tIns="60965" rIns="121932" bIns="60965" rtlCol="0" anchor="t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>
              <a:defRPr/>
            </a:pPr>
            <a:fld id="{7B67A630-6DEE-4F45-9872-4A9386C88847}" type="slidenum">
              <a:rPr lang="en-US" smtClean="0">
                <a:solidFill>
                  <a:srgbClr val="FFFFFF">
                    <a:lumMod val="50000"/>
                  </a:srgbClr>
                </a:solidFill>
                <a:ea typeface="ヒラギノ角ゴ Pro W3" pitchFamily="116" charset="-128"/>
              </a:rPr>
              <a:pPr>
                <a:defRPr/>
              </a:pPr>
              <a:t>‹#›</a:t>
            </a:fld>
            <a:endParaRPr lang="en-US">
              <a:solidFill>
                <a:srgbClr val="FFFFFF">
                  <a:lumMod val="50000"/>
                </a:srgbClr>
              </a:solidFill>
              <a:ea typeface="ヒラギノ角ゴ Pro W3" pitchFamily="116" charset="-128"/>
            </a:endParaRP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186E5B08-D367-AE4D-9A0D-845D230B5631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8C63AA78-D5E6-C844-94E6-23F0A6B45EA2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19911D3-C2DB-8242-8965-3E8355B711AA}"/>
              </a:ext>
            </a:extLst>
          </p:cNvPr>
          <p:cNvSpPr txBox="1"/>
          <p:nvPr userDrawn="1"/>
        </p:nvSpPr>
        <p:spPr>
          <a:xfrm>
            <a:off x="-795131" y="2117035"/>
            <a:ext cx="0" cy="0"/>
          </a:xfrm>
          <a:prstGeom prst="rect">
            <a:avLst/>
          </a:prstGeom>
        </p:spPr>
        <p:txBody>
          <a:bodyPr wrap="none" lIns="121869" tIns="60933" rIns="121869" bIns="60933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99" b="0" i="0" u="none" strike="noStrike" kern="1200" cap="none" spc="0" normalizeH="0" baseline="0" noProof="0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Arial"/>
              <a:ea typeface="ヒラギノ角ゴ Pro W3" pitchFamily="116" charset="-128"/>
              <a:cs typeface="Calibri"/>
            </a:endParaRPr>
          </a:p>
        </p:txBody>
      </p:sp>
    </p:spTree>
    <p:custDataLst>
      <p:custData r:id="rId15"/>
      <p:tags r:id="rId16"/>
    </p:custDataLst>
    <p:extLst>
      <p:ext uri="{BB962C8B-B14F-4D97-AF65-F5344CB8AC3E}">
        <p14:creationId xmlns:p14="http://schemas.microsoft.com/office/powerpoint/2010/main" val="651494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0" r:id="rId1"/>
    <p:sldLayoutId id="2147484627" r:id="rId2"/>
    <p:sldLayoutId id="2147484628" r:id="rId3"/>
    <p:sldLayoutId id="2147484629" r:id="rId4"/>
    <p:sldLayoutId id="2147484630" r:id="rId5"/>
    <p:sldLayoutId id="2147484631" r:id="rId6"/>
    <p:sldLayoutId id="2147484632" r:id="rId7"/>
    <p:sldLayoutId id="2147484633" r:id="rId8"/>
    <p:sldLayoutId id="2147484634" r:id="rId9"/>
    <p:sldLayoutId id="2147484635" r:id="rId10"/>
    <p:sldLayoutId id="2147484636" r:id="rId11"/>
    <p:sldLayoutId id="2147484637" r:id="rId12"/>
    <p:sldLayoutId id="2147484638" r:id="rId13"/>
  </p:sldLayoutIdLst>
  <p:hf hdr="0" ftr="0" dt="0"/>
  <p:txStyles>
    <p:titleStyle>
      <a:lvl1pPr algn="l" defTabSz="609351" rtl="0" eaLnBrk="1" latinLnBrk="0" hangingPunct="1">
        <a:spcBef>
          <a:spcPct val="0"/>
        </a:spcBef>
        <a:buNone/>
        <a:defRPr sz="3200" b="1" kern="1200" spc="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82694" indent="-18269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532995" indent="-197963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83296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18326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553358" indent="-213234" algn="l" defTabSz="609351" rtl="0" eaLnBrk="1" latinLnBrk="0" hangingPunct="1">
        <a:spcBef>
          <a:spcPct val="200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142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6pPr>
      <a:lvl7pPr marL="396077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7pPr>
      <a:lvl8pPr marL="4570128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8pPr>
      <a:lvl9pPr marL="5179479" indent="-304674" algn="l" defTabSz="609351" rtl="0" eaLnBrk="1" latinLnBrk="0" hangingPunct="1">
        <a:spcBef>
          <a:spcPct val="20000"/>
        </a:spcBef>
        <a:buFont typeface="Arial"/>
        <a:buChar char="•"/>
        <a:defRPr sz="2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1pPr>
      <a:lvl2pPr marL="60935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2pPr>
      <a:lvl3pPr marL="1218701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3pPr>
      <a:lvl4pPr marL="18280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4pPr>
      <a:lvl5pPr marL="2437402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5pPr>
      <a:lvl6pPr marL="304675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6pPr>
      <a:lvl7pPr marL="3656103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7pPr>
      <a:lvl8pPr marL="4265454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8pPr>
      <a:lvl9pPr marL="4874805" algn="l" defTabSz="609351" rtl="0" eaLnBrk="1" latinLnBrk="0" hangingPunct="1">
        <a:defRPr sz="229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320">
          <p15:clr>
            <a:srgbClr val="F26B43"/>
          </p15:clr>
        </p15:guide>
        <p15:guide id="3" pos="739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576">
          <p15:clr>
            <a:srgbClr val="F26B43"/>
          </p15:clr>
        </p15:guide>
        <p15:guide id="6" orient="horz" pos="391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780994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55" r:id="rId1"/>
    <p:sldLayoutId id="2147484656" r:id="rId2"/>
    <p:sldLayoutId id="2147484657" r:id="rId3"/>
    <p:sldLayoutId id="2147484658" r:id="rId4"/>
    <p:sldLayoutId id="2147484659" r:id="rId5"/>
    <p:sldLayoutId id="2147484660" r:id="rId6"/>
    <p:sldLayoutId id="2147484661" r:id="rId7"/>
    <p:sldLayoutId id="2147484662" r:id="rId8"/>
    <p:sldLayoutId id="2147484663" r:id="rId9"/>
    <p:sldLayoutId id="2147484664" r:id="rId10"/>
    <p:sldLayoutId id="2147484665" r:id="rId11"/>
    <p:sldLayoutId id="2147484666" r:id="rId12"/>
    <p:sldLayoutId id="2147484667" r:id="rId13"/>
    <p:sldLayoutId id="2147484668" r:id="rId14"/>
    <p:sldLayoutId id="2147484669" r:id="rId15"/>
    <p:sldLayoutId id="2147484670" r:id="rId16"/>
    <p:sldLayoutId id="2147484671" r:id="rId17"/>
    <p:sldLayoutId id="2147484672" r:id="rId18"/>
    <p:sldLayoutId id="2147484673" r:id="rId19"/>
    <p:sldLayoutId id="2147484674" r:id="rId20"/>
    <p:sldLayoutId id="2147484675" r:id="rId21"/>
    <p:sldLayoutId id="2147484676" r:id="rId22"/>
    <p:sldLayoutId id="2147484677" r:id="rId23"/>
    <p:sldLayoutId id="2147484678" r:id="rId24"/>
    <p:sldLayoutId id="2147484679" r:id="rId25"/>
    <p:sldLayoutId id="2147484680" r:id="rId26"/>
    <p:sldLayoutId id="2147484681" r:id="rId27"/>
    <p:sldLayoutId id="2147484682" r:id="rId28"/>
    <p:sldLayoutId id="2147484683" r:id="rId29"/>
    <p:sldLayoutId id="2147484684" r:id="rId30"/>
    <p:sldLayoutId id="2147484685" r:id="rId31"/>
    <p:sldLayoutId id="2147484686" r:id="rId32"/>
    <p:sldLayoutId id="2147484687" r:id="rId33"/>
    <p:sldLayoutId id="2147484688" r:id="rId34"/>
    <p:sldLayoutId id="2147484689" r:id="rId35"/>
    <p:sldLayoutId id="2147484701" r:id="rId36"/>
    <p:sldLayoutId id="2147484702" r:id="rId37"/>
    <p:sldLayoutId id="2147484703" r:id="rId38"/>
    <p:sldLayoutId id="2147484704" r:id="rId39"/>
    <p:sldLayoutId id="2147484705" r:id="rId40"/>
    <p:sldLayoutId id="2147484716" r:id="rId41"/>
    <p:sldLayoutId id="2147484717" r:id="rId42"/>
    <p:sldLayoutId id="2147484718" r:id="rId43"/>
    <p:sldLayoutId id="2147484719" r:id="rId44"/>
    <p:sldLayoutId id="2147484720" r:id="rId45"/>
    <p:sldLayoutId id="2147484721" r:id="rId46"/>
    <p:sldLayoutId id="2147484722" r:id="rId47"/>
    <p:sldLayoutId id="2147484723" r:id="rId48"/>
    <p:sldLayoutId id="2147484724" r:id="rId49"/>
    <p:sldLayoutId id="2147484725" r:id="rId50"/>
    <p:sldLayoutId id="2147484726" r:id="rId51"/>
    <p:sldLayoutId id="2147484727" r:id="rId52"/>
    <p:sldLayoutId id="2147484751" r:id="rId53"/>
    <p:sldLayoutId id="2147484752" r:id="rId54"/>
    <p:sldLayoutId id="2147484753" r:id="rId55"/>
    <p:sldLayoutId id="2147484754" r:id="rId56"/>
    <p:sldLayoutId id="2147484755" r:id="rId57"/>
    <p:sldLayoutId id="2147484756" r:id="rId58"/>
    <p:sldLayoutId id="2147484757" r:id="rId59"/>
    <p:sldLayoutId id="2147484758" r:id="rId60"/>
    <p:sldLayoutId id="2147484759" r:id="rId61"/>
    <p:sldLayoutId id="2147484760" r:id="rId62"/>
    <p:sldLayoutId id="2147484762" r:id="rId63"/>
    <p:sldLayoutId id="2147484763" r:id="rId64"/>
    <p:sldLayoutId id="2147484764" r:id="rId65"/>
    <p:sldLayoutId id="2147484765" r:id="rId66"/>
    <p:sldLayoutId id="2147484766" r:id="rId67"/>
    <p:sldLayoutId id="2147484767" r:id="rId68"/>
    <p:sldLayoutId id="2147484768" r:id="rId69"/>
    <p:sldLayoutId id="2147484769" r:id="rId70"/>
    <p:sldLayoutId id="2147484770" r:id="rId71"/>
    <p:sldLayoutId id="2147484771" r:id="rId72"/>
    <p:sldLayoutId id="2147484772" r:id="rId73"/>
    <p:sldLayoutId id="2147484773" r:id="rId74"/>
    <p:sldLayoutId id="2147484774" r:id="rId75"/>
    <p:sldLayoutId id="2147484775" r:id="rId76"/>
    <p:sldLayoutId id="2147484777" r:id="rId77"/>
    <p:sldLayoutId id="2147484778" r:id="rId78"/>
    <p:sldLayoutId id="2147484779" r:id="rId79"/>
    <p:sldLayoutId id="2147484780" r:id="rId80"/>
    <p:sldLayoutId id="2147484781" r:id="rId81"/>
    <p:sldLayoutId id="2147484782" r:id="rId82"/>
    <p:sldLayoutId id="2147484783" r:id="rId83"/>
    <p:sldLayoutId id="2147484784" r:id="rId84"/>
    <p:sldLayoutId id="2147484785" r:id="rId85"/>
    <p:sldLayoutId id="2147484786" r:id="rId86"/>
    <p:sldLayoutId id="2147484787" r:id="rId87"/>
    <p:sldLayoutId id="2147484788" r:id="rId88"/>
    <p:sldLayoutId id="2147484789" r:id="rId89"/>
    <p:sldLayoutId id="2147484790" r:id="rId90"/>
    <p:sldLayoutId id="2147484791" r:id="rId91"/>
    <p:sldLayoutId id="2147484792" r:id="rId92"/>
    <p:sldLayoutId id="2147484793" r:id="rId93"/>
    <p:sldLayoutId id="2147484794" r:id="rId94"/>
    <p:sldLayoutId id="2147484795" r:id="rId95"/>
    <p:sldLayoutId id="2147484796" r:id="rId96"/>
    <p:sldLayoutId id="2147484797" r:id="rId97"/>
    <p:sldLayoutId id="2147484798" r:id="rId98"/>
    <p:sldLayoutId id="2147484799" r:id="rId99"/>
    <p:sldLayoutId id="2147484800" r:id="rId100"/>
    <p:sldLayoutId id="2147484801" r:id="rId101"/>
    <p:sldLayoutId id="2147484802" r:id="rId102"/>
    <p:sldLayoutId id="2147484809" r:id="rId103"/>
    <p:sldLayoutId id="2147484810" r:id="rId104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00651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0" r:id="rId1"/>
    <p:sldLayoutId id="2147484941" r:id="rId2"/>
    <p:sldLayoutId id="2147484942" r:id="rId3"/>
    <p:sldLayoutId id="2147484943" r:id="rId4"/>
    <p:sldLayoutId id="2147484944" r:id="rId5"/>
    <p:sldLayoutId id="2147484945" r:id="rId6"/>
    <p:sldLayoutId id="2147484946" r:id="rId7"/>
    <p:sldLayoutId id="2147484947" r:id="rId8"/>
    <p:sldLayoutId id="2147484948" r:id="rId9"/>
    <p:sldLayoutId id="2147484949" r:id="rId10"/>
    <p:sldLayoutId id="2147484950" r:id="rId11"/>
    <p:sldLayoutId id="2147484951" r:id="rId12"/>
    <p:sldLayoutId id="2147484952" r:id="rId13"/>
    <p:sldLayoutId id="2147484953" r:id="rId14"/>
    <p:sldLayoutId id="2147484954" r:id="rId15"/>
    <p:sldLayoutId id="2147484955" r:id="rId16"/>
    <p:sldLayoutId id="2147484956" r:id="rId17"/>
    <p:sldLayoutId id="2147484957" r:id="rId18"/>
    <p:sldLayoutId id="2147484958" r:id="rId19"/>
    <p:sldLayoutId id="2147484959" r:id="rId20"/>
    <p:sldLayoutId id="2147484960" r:id="rId21"/>
    <p:sldLayoutId id="2147484962" r:id="rId22"/>
    <p:sldLayoutId id="2147484963" r:id="rId23"/>
    <p:sldLayoutId id="2147484964" r:id="rId24"/>
    <p:sldLayoutId id="2147484965" r:id="rId25"/>
    <p:sldLayoutId id="2147484967" r:id="rId26"/>
    <p:sldLayoutId id="2147484968" r:id="rId27"/>
    <p:sldLayoutId id="2147484969" r:id="rId28"/>
    <p:sldLayoutId id="2147484970" r:id="rId29"/>
    <p:sldLayoutId id="2147484971" r:id="rId30"/>
    <p:sldLayoutId id="2147484972" r:id="rId31"/>
    <p:sldLayoutId id="2147484988" r:id="rId32"/>
    <p:sldLayoutId id="2147484989" r:id="rId33"/>
    <p:sldLayoutId id="2147484990" r:id="rId34"/>
    <p:sldLayoutId id="2147484991" r:id="rId35"/>
    <p:sldLayoutId id="2147484992" r:id="rId36"/>
    <p:sldLayoutId id="2147484994" r:id="rId37"/>
    <p:sldLayoutId id="2147484995" r:id="rId38"/>
    <p:sldLayoutId id="2147484996" r:id="rId39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52727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3" r:id="rId1"/>
    <p:sldLayoutId id="2147485014" r:id="rId2"/>
    <p:sldLayoutId id="2147485015" r:id="rId3"/>
    <p:sldLayoutId id="2147485016" r:id="rId4"/>
    <p:sldLayoutId id="2147485017" r:id="rId5"/>
    <p:sldLayoutId id="2147485018" r:id="rId6"/>
    <p:sldLayoutId id="2147485019" r:id="rId7"/>
    <p:sldLayoutId id="2147485020" r:id="rId8"/>
    <p:sldLayoutId id="2147485021" r:id="rId9"/>
    <p:sldLayoutId id="2147485022" r:id="rId10"/>
    <p:sldLayoutId id="2147485023" r:id="rId11"/>
    <p:sldLayoutId id="2147485024" r:id="rId12"/>
    <p:sldLayoutId id="2147485025" r:id="rId13"/>
    <p:sldLayoutId id="2147485026" r:id="rId14"/>
    <p:sldLayoutId id="2147485027" r:id="rId15"/>
    <p:sldLayoutId id="2147485028" r:id="rId16"/>
    <p:sldLayoutId id="2147485029" r:id="rId17"/>
    <p:sldLayoutId id="2147485030" r:id="rId18"/>
    <p:sldLayoutId id="2147485031" r:id="rId19"/>
    <p:sldLayoutId id="2147485032" r:id="rId20"/>
    <p:sldLayoutId id="2147485033" r:id="rId21"/>
    <p:sldLayoutId id="2147485034" r:id="rId22"/>
    <p:sldLayoutId id="2147485035" r:id="rId23"/>
    <p:sldLayoutId id="2147485036" r:id="rId24"/>
    <p:sldLayoutId id="2147485037" r:id="rId25"/>
    <p:sldLayoutId id="2147485038" r:id="rId26"/>
    <p:sldLayoutId id="2147485039" r:id="rId27"/>
    <p:sldLayoutId id="2147485040" r:id="rId28"/>
    <p:sldLayoutId id="2147485041" r:id="rId29"/>
    <p:sldLayoutId id="2147485042" r:id="rId30"/>
    <p:sldLayoutId id="2147485043" r:id="rId31"/>
    <p:sldLayoutId id="2147485044" r:id="rId32"/>
    <p:sldLayoutId id="2147485045" r:id="rId33"/>
    <p:sldLayoutId id="2147485046" r:id="rId34"/>
    <p:sldLayoutId id="2147485047" r:id="rId35"/>
    <p:sldLayoutId id="2147485048" r:id="rId36"/>
    <p:sldLayoutId id="2147485049" r:id="rId37"/>
    <p:sldLayoutId id="2147485050" r:id="rId38"/>
    <p:sldLayoutId id="2147485051" r:id="rId39"/>
    <p:sldLayoutId id="2147485052" r:id="rId40"/>
    <p:sldLayoutId id="2147485053" r:id="rId41"/>
    <p:sldLayoutId id="2147485054" r:id="rId42"/>
    <p:sldLayoutId id="2147485055" r:id="rId43"/>
    <p:sldLayoutId id="2147485056" r:id="rId44"/>
    <p:sldLayoutId id="2147485057" r:id="rId45"/>
    <p:sldLayoutId id="2147485058" r:id="rId46"/>
    <p:sldLayoutId id="2147485060" r:id="rId47"/>
    <p:sldLayoutId id="2147485061" r:id="rId48"/>
    <p:sldLayoutId id="2147485062" r:id="rId49"/>
    <p:sldLayoutId id="2147485063" r:id="rId50"/>
    <p:sldLayoutId id="2147485064" r:id="rId51"/>
    <p:sldLayoutId id="2147485065" r:id="rId52"/>
    <p:sldLayoutId id="2147485066" r:id="rId53"/>
    <p:sldLayoutId id="2147485067" r:id="rId54"/>
    <p:sldLayoutId id="2147485068" r:id="rId55"/>
    <p:sldLayoutId id="2147485069" r:id="rId56"/>
    <p:sldLayoutId id="2147485070" r:id="rId57"/>
    <p:sldLayoutId id="2147485071" r:id="rId58"/>
    <p:sldLayoutId id="2147486823" r:id="rId59"/>
    <p:sldLayoutId id="2147485073" r:id="rId60"/>
    <p:sldLayoutId id="2147486811" r:id="rId61"/>
    <p:sldLayoutId id="2147486812" r:id="rId62"/>
    <p:sldLayoutId id="2147486813" r:id="rId63"/>
    <p:sldLayoutId id="2147486814" r:id="rId64"/>
    <p:sldLayoutId id="2147486815" r:id="rId65"/>
    <p:sldLayoutId id="2147486816" r:id="rId66"/>
    <p:sldLayoutId id="2147486817" r:id="rId67"/>
    <p:sldLayoutId id="2147486818" r:id="rId68"/>
    <p:sldLayoutId id="2147486819" r:id="rId69"/>
    <p:sldLayoutId id="2147486820" r:id="rId70"/>
    <p:sldLayoutId id="2147485084" r:id="rId71"/>
    <p:sldLayoutId id="2147485085" r:id="rId72"/>
    <p:sldLayoutId id="2147485086" r:id="rId73"/>
    <p:sldLayoutId id="2147485087" r:id="rId74"/>
    <p:sldLayoutId id="2147485088" r:id="rId75"/>
    <p:sldLayoutId id="2147485089" r:id="rId76"/>
    <p:sldLayoutId id="2147485090" r:id="rId77"/>
    <p:sldLayoutId id="2147485091" r:id="rId78"/>
    <p:sldLayoutId id="2147485092" r:id="rId79"/>
    <p:sldLayoutId id="2147485093" r:id="rId80"/>
    <p:sldLayoutId id="2147485094" r:id="rId81"/>
    <p:sldLayoutId id="2147485095" r:id="rId82"/>
    <p:sldLayoutId id="2147485096" r:id="rId83"/>
    <p:sldLayoutId id="2147485097" r:id="rId84"/>
    <p:sldLayoutId id="2147485098" r:id="rId85"/>
    <p:sldLayoutId id="2147485099" r:id="rId86"/>
    <p:sldLayoutId id="2147485100" r:id="rId87"/>
    <p:sldLayoutId id="2147485101" r:id="rId88"/>
    <p:sldLayoutId id="2147485102" r:id="rId89"/>
    <p:sldLayoutId id="2147485103" r:id="rId90"/>
    <p:sldLayoutId id="2147485104" r:id="rId91"/>
    <p:sldLayoutId id="2147485105" r:id="rId92"/>
    <p:sldLayoutId id="2147485106" r:id="rId93"/>
    <p:sldLayoutId id="2147485107" r:id="rId94"/>
    <p:sldLayoutId id="2147485108" r:id="rId95"/>
    <p:sldLayoutId id="2147485109" r:id="rId96"/>
    <p:sldLayoutId id="2147485110" r:id="rId97"/>
    <p:sldLayoutId id="2147485111" r:id="rId98"/>
    <p:sldLayoutId id="2147485112" r:id="rId99"/>
    <p:sldLayoutId id="2147485113" r:id="rId100"/>
    <p:sldLayoutId id="2147485114" r:id="rId101"/>
    <p:sldLayoutId id="2147485115" r:id="rId102"/>
    <p:sldLayoutId id="2147485120" r:id="rId103"/>
    <p:sldLayoutId id="2147485121" r:id="rId104"/>
    <p:sldLayoutId id="2147485122" r:id="rId105"/>
    <p:sldLayoutId id="2147485123" r:id="rId106"/>
    <p:sldLayoutId id="2147485124" r:id="rId107"/>
    <p:sldLayoutId id="2147485125" r:id="rId108"/>
    <p:sldLayoutId id="2147485126" r:id="rId109"/>
    <p:sldLayoutId id="2147485127" r:id="rId110"/>
    <p:sldLayoutId id="2147485128" r:id="rId111"/>
    <p:sldLayoutId id="2147485129" r:id="rId112"/>
    <p:sldLayoutId id="2147485130" r:id="rId113"/>
    <p:sldLayoutId id="2147485131" r:id="rId114"/>
    <p:sldLayoutId id="2147485132" r:id="rId115"/>
    <p:sldLayoutId id="2147485133" r:id="rId116"/>
    <p:sldLayoutId id="2147485134" r:id="rId117"/>
    <p:sldLayoutId id="2147485135" r:id="rId118"/>
    <p:sldLayoutId id="2147485136" r:id="rId119"/>
    <p:sldLayoutId id="2147485137" r:id="rId120"/>
    <p:sldLayoutId id="2147485138" r:id="rId121"/>
    <p:sldLayoutId id="2147485139" r:id="rId122"/>
    <p:sldLayoutId id="2147485140" r:id="rId123"/>
    <p:sldLayoutId id="2147485141" r:id="rId124"/>
    <p:sldLayoutId id="2147485142" r:id="rId125"/>
    <p:sldLayoutId id="2147485143" r:id="rId126"/>
    <p:sldLayoutId id="2147485144" r:id="rId127"/>
    <p:sldLayoutId id="2147485145" r:id="rId128"/>
    <p:sldLayoutId id="2147485146" r:id="rId129"/>
    <p:sldLayoutId id="2147485147" r:id="rId130"/>
    <p:sldLayoutId id="2147485148" r:id="rId131"/>
    <p:sldLayoutId id="2147485149" r:id="rId132"/>
    <p:sldLayoutId id="2147485150" r:id="rId133"/>
    <p:sldLayoutId id="2147485151" r:id="rId134"/>
    <p:sldLayoutId id="2147485152" r:id="rId135"/>
    <p:sldLayoutId id="2147485153" r:id="rId136"/>
    <p:sldLayoutId id="2147485154" r:id="rId137"/>
    <p:sldLayoutId id="2147485155" r:id="rId138"/>
    <p:sldLayoutId id="2147485156" r:id="rId139"/>
    <p:sldLayoutId id="2147485157" r:id="rId140"/>
    <p:sldLayoutId id="2147485158" r:id="rId141"/>
    <p:sldLayoutId id="2147485159" r:id="rId142"/>
    <p:sldLayoutId id="2147485160" r:id="rId143"/>
    <p:sldLayoutId id="2147485161" r:id="rId144"/>
    <p:sldLayoutId id="2147485162" r:id="rId145"/>
    <p:sldLayoutId id="2147485163" r:id="rId146"/>
    <p:sldLayoutId id="2147485164" r:id="rId147"/>
    <p:sldLayoutId id="2147485165" r:id="rId148"/>
    <p:sldLayoutId id="2147485166" r:id="rId149"/>
    <p:sldLayoutId id="2147485167" r:id="rId150"/>
    <p:sldLayoutId id="2147485168" r:id="rId151"/>
    <p:sldLayoutId id="2147485169" r:id="rId152"/>
    <p:sldLayoutId id="2147485170" r:id="rId153"/>
    <p:sldLayoutId id="2147485171" r:id="rId154"/>
    <p:sldLayoutId id="2147485172" r:id="rId155"/>
    <p:sldLayoutId id="2147485173" r:id="rId156"/>
    <p:sldLayoutId id="2147485174" r:id="rId157"/>
    <p:sldLayoutId id="2147485175" r:id="rId158"/>
    <p:sldLayoutId id="2147485176" r:id="rId159"/>
    <p:sldLayoutId id="2147485177" r:id="rId160"/>
    <p:sldLayoutId id="2147485178" r:id="rId161"/>
    <p:sldLayoutId id="2147486827" r:id="rId162"/>
    <p:sldLayoutId id="2147485180" r:id="rId163"/>
    <p:sldLayoutId id="2147485181" r:id="rId164"/>
    <p:sldLayoutId id="2147485182" r:id="rId165"/>
    <p:sldLayoutId id="2147485183" r:id="rId166"/>
    <p:sldLayoutId id="2147485184" r:id="rId167"/>
    <p:sldLayoutId id="2147485185" r:id="rId168"/>
    <p:sldLayoutId id="2147485186" r:id="rId169"/>
    <p:sldLayoutId id="2147485187" r:id="rId170"/>
    <p:sldLayoutId id="2147485188" r:id="rId171"/>
    <p:sldLayoutId id="2147485189" r:id="rId172"/>
    <p:sldLayoutId id="2147485190" r:id="rId173"/>
    <p:sldLayoutId id="2147485191" r:id="rId174"/>
    <p:sldLayoutId id="2147485192" r:id="rId175"/>
    <p:sldLayoutId id="2147485193" r:id="rId176"/>
    <p:sldLayoutId id="2147485194" r:id="rId177"/>
    <p:sldLayoutId id="2147485195" r:id="rId178"/>
    <p:sldLayoutId id="2147485196" r:id="rId179"/>
    <p:sldLayoutId id="2147485197" r:id="rId180"/>
    <p:sldLayoutId id="2147485198" r:id="rId181"/>
    <p:sldLayoutId id="2147485199" r:id="rId182"/>
    <p:sldLayoutId id="2147485200" r:id="rId183"/>
    <p:sldLayoutId id="2147485201" r:id="rId184"/>
    <p:sldLayoutId id="2147485202" r:id="rId185"/>
    <p:sldLayoutId id="2147485203" r:id="rId186"/>
    <p:sldLayoutId id="2147485204" r:id="rId187"/>
    <p:sldLayoutId id="2147485205" r:id="rId188"/>
    <p:sldLayoutId id="2147485206" r:id="rId189"/>
    <p:sldLayoutId id="2147485207" r:id="rId190"/>
    <p:sldLayoutId id="2147485208" r:id="rId191"/>
    <p:sldLayoutId id="2147485209" r:id="rId192"/>
    <p:sldLayoutId id="2147485210" r:id="rId193"/>
    <p:sldLayoutId id="2147485211" r:id="rId194"/>
    <p:sldLayoutId id="2147485212" r:id="rId195"/>
    <p:sldLayoutId id="2147485213" r:id="rId196"/>
    <p:sldLayoutId id="2147485214" r:id="rId197"/>
    <p:sldLayoutId id="2147486828" r:id="rId198"/>
    <p:sldLayoutId id="2147485216" r:id="rId199"/>
    <p:sldLayoutId id="2147485217" r:id="rId200"/>
    <p:sldLayoutId id="2147485218" r:id="rId201"/>
    <p:sldLayoutId id="2147485219" r:id="rId202"/>
    <p:sldLayoutId id="2147485220" r:id="rId203"/>
    <p:sldLayoutId id="2147485221" r:id="rId204"/>
    <p:sldLayoutId id="2147485222" r:id="rId205"/>
    <p:sldLayoutId id="2147485223" r:id="rId206"/>
    <p:sldLayoutId id="2147485224" r:id="rId207"/>
    <p:sldLayoutId id="2147485225" r:id="rId208"/>
    <p:sldLayoutId id="2147485226" r:id="rId209"/>
    <p:sldLayoutId id="2147485227" r:id="rId210"/>
    <p:sldLayoutId id="2147485229" r:id="rId211"/>
    <p:sldLayoutId id="2147485230" r:id="rId212"/>
    <p:sldLayoutId id="2147485231" r:id="rId213"/>
    <p:sldLayoutId id="2147485232" r:id="rId214"/>
    <p:sldLayoutId id="2147485233" r:id="rId215"/>
    <p:sldLayoutId id="2147485234" r:id="rId216"/>
    <p:sldLayoutId id="2147485235" r:id="rId217"/>
    <p:sldLayoutId id="2147485236" r:id="rId218"/>
    <p:sldLayoutId id="2147485237" r:id="rId219"/>
    <p:sldLayoutId id="2147485238" r:id="rId220"/>
    <p:sldLayoutId id="2147486825" r:id="rId221"/>
    <p:sldLayoutId id="2147485240" r:id="rId222"/>
    <p:sldLayoutId id="2147485241" r:id="rId223"/>
    <p:sldLayoutId id="2147485242" r:id="rId224"/>
    <p:sldLayoutId id="2147485243" r:id="rId225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199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7.png"/><Relationship Id="rId3" Type="http://schemas.openxmlformats.org/officeDocument/2006/relationships/image" Target="../media/image102.png"/><Relationship Id="rId7" Type="http://schemas.openxmlformats.org/officeDocument/2006/relationships/image" Target="../media/image10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5.xml"/><Relationship Id="rId6" Type="http://schemas.openxmlformats.org/officeDocument/2006/relationships/image" Target="../media/image105.png"/><Relationship Id="rId5" Type="http://schemas.openxmlformats.org/officeDocument/2006/relationships/image" Target="../media/image104.png"/><Relationship Id="rId4" Type="http://schemas.openxmlformats.org/officeDocument/2006/relationships/image" Target="../media/image103.png"/><Relationship Id="rId9" Type="http://schemas.openxmlformats.org/officeDocument/2006/relationships/image" Target="../media/image10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png"/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73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73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png"/><Relationship Id="rId1" Type="http://schemas.openxmlformats.org/officeDocument/2006/relationships/slideLayout" Target="../slideLayouts/slideLayout73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3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9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0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40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0.xml"/></Relationships>
</file>

<file path=ppt/slides/_rels/slide2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microsoft.com/office/2018/10/relationships/comments" Target="../comments/modernComment_2A0_FEC9E073.xml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Relationship Id="rId9" Type="http://schemas.openxmlformats.org/officeDocument/2006/relationships/hyperlink" Target="mailto:info@ilpqc.org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115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11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13" Type="http://schemas.openxmlformats.org/officeDocument/2006/relationships/image" Target="../media/image127.png"/><Relationship Id="rId3" Type="http://schemas.openxmlformats.org/officeDocument/2006/relationships/image" Target="../media/image118.jpeg"/><Relationship Id="rId7" Type="http://schemas.openxmlformats.org/officeDocument/2006/relationships/image" Target="../media/image122.png"/><Relationship Id="rId12" Type="http://schemas.openxmlformats.org/officeDocument/2006/relationships/image" Target="../media/image12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0.xml"/><Relationship Id="rId6" Type="http://schemas.openxmlformats.org/officeDocument/2006/relationships/image" Target="../media/image121.png"/><Relationship Id="rId11" Type="http://schemas.openxmlformats.org/officeDocument/2006/relationships/image" Target="../media/image125.png"/><Relationship Id="rId5" Type="http://schemas.openxmlformats.org/officeDocument/2006/relationships/image" Target="../media/image120.png"/><Relationship Id="rId10" Type="http://schemas.openxmlformats.org/officeDocument/2006/relationships/image" Target="../media/image124.png"/><Relationship Id="rId4" Type="http://schemas.openxmlformats.org/officeDocument/2006/relationships/image" Target="../media/image119.gif"/><Relationship Id="rId9" Type="http://schemas.microsoft.com/office/2007/relationships/hdphoto" Target="../media/hdphoto3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96.png"/><Relationship Id="rId4" Type="http://schemas.openxmlformats.org/officeDocument/2006/relationships/image" Target="../media/image9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99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4" cy="2267013"/>
          </a:xfrm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PVB Monthly Webinar: </a:t>
            </a:r>
            <a:br>
              <a:rPr lang="en-US" dirty="0">
                <a:ea typeface="Lato Medium"/>
                <a:cs typeface="Lato Medium"/>
              </a:rPr>
            </a:br>
            <a:r>
              <a:rPr lang="en-US" sz="3200" b="0" dirty="0">
                <a:ea typeface="Lato Medium"/>
                <a:cs typeface="Lato Medium"/>
              </a:rPr>
              <a:t>Small Group Breakout Sessions by Perinatal Level</a:t>
            </a:r>
            <a:endParaRPr lang="en-US" sz="2800" b="0" dirty="0">
              <a:ea typeface="Lato Medium"/>
              <a:cs typeface="Lato Medium"/>
            </a:endParaRPr>
          </a:p>
        </p:txBody>
      </p:sp>
      <p:sp>
        <p:nvSpPr>
          <p:cNvPr id="4" name="Subtitle 3">
            <a:extLst>
              <a:ext uri="{FF2B5EF4-FFF2-40B4-BE49-F238E27FC236}">
                <a16:creationId xmlns:a16="http://schemas.microsoft.com/office/drawing/2014/main" id="{19922563-64D6-2A4E-B048-13AC25DB45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966184"/>
            <a:ext cx="5194433" cy="986569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+mn-lt"/>
                <a:cs typeface="+mn-lt"/>
              </a:rPr>
              <a:t>September 25th, 2023, at 12:30 PM</a:t>
            </a:r>
            <a:endParaRPr lang="en-US" dirty="0"/>
          </a:p>
        </p:txBody>
      </p:sp>
      <p:pic>
        <p:nvPicPr>
          <p:cNvPr id="6" name="Picture 6" descr="Pregnant woman holding stomach">
            <a:extLst>
              <a:ext uri="{FF2B5EF4-FFF2-40B4-BE49-F238E27FC236}">
                <a16:creationId xmlns:a16="http://schemas.microsoft.com/office/drawing/2014/main" id="{30C1A51F-9C76-7D94-57CD-AC4A39EF6029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597"/>
          <a:stretch/>
        </p:blipFill>
        <p:spPr>
          <a:xfrm>
            <a:off x="7683626" y="436922"/>
            <a:ext cx="4508374" cy="5279954"/>
          </a:xfrm>
        </p:spPr>
      </p:pic>
    </p:spTree>
    <p:extLst>
      <p:ext uri="{BB962C8B-B14F-4D97-AF65-F5344CB8AC3E}">
        <p14:creationId xmlns:p14="http://schemas.microsoft.com/office/powerpoint/2010/main" val="20082430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15" name="Google Shape;3915;p420"/>
          <p:cNvSpPr txBox="1">
            <a:spLocks noGrp="1"/>
          </p:cNvSpPr>
          <p:nvPr>
            <p:ph type="title"/>
          </p:nvPr>
        </p:nvSpPr>
        <p:spPr>
          <a:xfrm>
            <a:off x="423694" y="263785"/>
            <a:ext cx="433375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PVB Key Strategies for Culture Change</a:t>
            </a:r>
            <a:endParaRPr/>
          </a:p>
        </p:txBody>
      </p:sp>
      <p:pic>
        <p:nvPicPr>
          <p:cNvPr id="3916" name="Google Shape;3916;p42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004765" y="4398836"/>
            <a:ext cx="2029167" cy="1965266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7" name="Google Shape;3917;p420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895044" y="3921991"/>
            <a:ext cx="1920395" cy="1944279"/>
          </a:xfrm>
          <a:prstGeom prst="rect">
            <a:avLst/>
          </a:prstGeom>
          <a:noFill/>
          <a:ln>
            <a:noFill/>
          </a:ln>
        </p:spPr>
      </p:pic>
      <p:pic>
        <p:nvPicPr>
          <p:cNvPr id="3918" name="Google Shape;3918;p420"/>
          <p:cNvPicPr preferRelativeResize="0"/>
          <p:nvPr/>
        </p:nvPicPr>
        <p:blipFill rotWithShape="1">
          <a:blip r:embed="rId5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39"/>
          <a:stretch/>
        </p:blipFill>
        <p:spPr>
          <a:xfrm>
            <a:off x="2697550" y="1754948"/>
            <a:ext cx="2315384" cy="1961955"/>
          </a:xfrm>
          <a:prstGeom prst="rect">
            <a:avLst/>
          </a:prstGeom>
          <a:noFill/>
          <a:ln>
            <a:noFill/>
          </a:ln>
        </p:spPr>
      </p:pic>
      <p:sp>
        <p:nvSpPr>
          <p:cNvPr id="3919" name="Google Shape;3919;p420"/>
          <p:cNvSpPr/>
          <p:nvPr/>
        </p:nvSpPr>
        <p:spPr>
          <a:xfrm>
            <a:off x="7451931" y="2012554"/>
            <a:ext cx="1723121" cy="1676695"/>
          </a:xfrm>
          <a:prstGeom prst="ellipse">
            <a:avLst/>
          </a:prstGeom>
          <a:solidFill>
            <a:srgbClr val="E7EDF5"/>
          </a:solidFill>
          <a:ln w="12700" cap="flat" cmpd="sng">
            <a:solidFill>
              <a:srgbClr val="E7EDF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0" name="Google Shape;3920;p420"/>
          <p:cNvSpPr/>
          <p:nvPr/>
        </p:nvSpPr>
        <p:spPr>
          <a:xfrm>
            <a:off x="7357253" y="4066454"/>
            <a:ext cx="1767107" cy="1753999"/>
          </a:xfrm>
          <a:prstGeom prst="ellipse">
            <a:avLst/>
          </a:prstGeom>
          <a:solidFill>
            <a:srgbClr val="E7EDF5"/>
          </a:solidFill>
          <a:ln w="12700" cap="flat" cmpd="sng">
            <a:solidFill>
              <a:srgbClr val="E7EDF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21" name="Google Shape;3921;p420"/>
          <p:cNvSpPr/>
          <p:nvPr/>
        </p:nvSpPr>
        <p:spPr>
          <a:xfrm>
            <a:off x="9094086" y="2510123"/>
            <a:ext cx="2787806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C498B"/>
              </a:buClr>
              <a:buSzPts val="1500"/>
              <a:buFont typeface="Arial"/>
              <a:buNone/>
            </a:pPr>
            <a:r>
              <a:rPr lang="en-US" sz="1500" b="1" i="0" u="none" strike="noStrike" cap="none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Sharing Unblinded Provider-level NTSV C-Section Rates </a:t>
            </a:r>
            <a:endParaRPr sz="1500" b="1" i="0" u="none" strike="noStrike" cap="none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2" name="Google Shape;3922;p420"/>
          <p:cNvSpPr/>
          <p:nvPr/>
        </p:nvSpPr>
        <p:spPr>
          <a:xfrm>
            <a:off x="9071069" y="4643664"/>
            <a:ext cx="2790591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Fallout Reviews of cases not meeting ACOG/SMFM Criteria</a:t>
            </a:r>
            <a:endParaRPr sz="1500" b="1" i="0" u="none" strike="noStrike" cap="none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3" name="Google Shape;3923;p420"/>
          <p:cNvSpPr/>
          <p:nvPr/>
        </p:nvSpPr>
        <p:spPr>
          <a:xfrm>
            <a:off x="716078" y="2373057"/>
            <a:ext cx="2320789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Delivery Decision Huddles and Checklist</a:t>
            </a:r>
            <a:r>
              <a:rPr lang="en-US" sz="1500" b="1" dirty="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rPr>
              <a:t> </a:t>
            </a:r>
            <a:endParaRPr sz="1500" b="1" i="0" u="none" strike="noStrike" cap="none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4" name="Google Shape;3924;p420"/>
          <p:cNvSpPr/>
          <p:nvPr/>
        </p:nvSpPr>
        <p:spPr>
          <a:xfrm>
            <a:off x="529778" y="4500612"/>
            <a:ext cx="2514504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Educating patients and shared decision making </a:t>
            </a:r>
            <a:endParaRPr sz="1800" b="1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925" name="Google Shape;3925;p420"/>
          <p:cNvSpPr/>
          <p:nvPr/>
        </p:nvSpPr>
        <p:spPr>
          <a:xfrm>
            <a:off x="5004765" y="6156224"/>
            <a:ext cx="1962331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rgbClr val="1C498B"/>
                </a:solidFill>
                <a:latin typeface="Arial"/>
                <a:ea typeface="Arial"/>
                <a:cs typeface="Arial"/>
                <a:sym typeface="Arial"/>
              </a:rPr>
              <a:t>Labor Management Support</a:t>
            </a:r>
            <a:endParaRPr sz="1500" b="1" i="0" u="none" strike="noStrike" cap="none">
              <a:solidFill>
                <a:srgbClr val="1C498B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26" name="Google Shape;3926;p420" descr="Classroom with solid fill"/>
          <p:cNvPicPr preferRelativeResize="0">
            <a:picLocks noGrp="1"/>
          </p:cNvPicPr>
          <p:nvPr>
            <p:ph type="body" idx="1"/>
          </p:nvPr>
        </p:nvPicPr>
        <p:blipFill rotWithShape="1">
          <a:blip r:embed="rId6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95857" y="1306191"/>
            <a:ext cx="1505952" cy="1505952"/>
          </a:xfrm>
          <a:prstGeom prst="rect">
            <a:avLst/>
          </a:prstGeom>
          <a:noFill/>
          <a:ln>
            <a:noFill/>
          </a:ln>
        </p:spPr>
      </p:pic>
      <p:sp>
        <p:nvSpPr>
          <p:cNvPr id="3927" name="Google Shape;3927;p420"/>
          <p:cNvSpPr/>
          <p:nvPr/>
        </p:nvSpPr>
        <p:spPr>
          <a:xfrm>
            <a:off x="5132808" y="1239112"/>
            <a:ext cx="1838191" cy="1819208"/>
          </a:xfrm>
          <a:prstGeom prst="ellipse">
            <a:avLst/>
          </a:prstGeom>
          <a:solidFill>
            <a:srgbClr val="E7EDF5"/>
          </a:solidFill>
          <a:ln w="12700" cap="flat" cmpd="sng">
            <a:solidFill>
              <a:srgbClr val="E7EDF5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Calibri"/>
              <a:buNone/>
            </a:pPr>
            <a:endParaRPr sz="1800" b="0" i="0" u="none" strike="noStrike" cap="none">
              <a:solidFill>
                <a:srgbClr val="FFFFF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3928" name="Google Shape;3928;p420" descr="Classroom with solid fill"/>
          <p:cNvPicPr preferRelativeResize="0"/>
          <p:nvPr/>
        </p:nvPicPr>
        <p:blipFill rotWithShape="1">
          <a:blip r:embed="rId7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099228" y="1167367"/>
            <a:ext cx="1934704" cy="1960534"/>
          </a:xfrm>
          <a:prstGeom prst="rect">
            <a:avLst/>
          </a:prstGeom>
          <a:noFill/>
          <a:ln>
            <a:noFill/>
          </a:ln>
        </p:spPr>
      </p:pic>
      <p:sp>
        <p:nvSpPr>
          <p:cNvPr id="3929" name="Google Shape;3929;p420"/>
          <p:cNvSpPr/>
          <p:nvPr/>
        </p:nvSpPr>
        <p:spPr>
          <a:xfrm>
            <a:off x="4962243" y="749159"/>
            <a:ext cx="2395010" cy="553998"/>
          </a:xfrm>
          <a:prstGeom prst="rect">
            <a:avLst/>
          </a:prstGeom>
          <a:solidFill>
            <a:srgbClr val="E7EDF5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 b="1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Clinical Team Education and Buy-in</a:t>
            </a:r>
            <a:endParaRPr sz="1500" b="1" i="0" u="none" strike="noStrike" cap="none">
              <a:solidFill>
                <a:schemeClr val="accen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930" name="Google Shape;3930;p420" descr="Icon&#10;&#10;Description automatically generated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375712" y="1931613"/>
            <a:ext cx="1866900" cy="1941420"/>
          </a:xfrm>
          <a:prstGeom prst="rect">
            <a:avLst/>
          </a:prstGeom>
          <a:noFill/>
          <a:ln>
            <a:noFill/>
          </a:ln>
        </p:spPr>
      </p:pic>
      <p:pic>
        <p:nvPicPr>
          <p:cNvPr id="3931" name="Google Shape;3931;p420" descr="A picture containing text, monitor&#10;&#10;Description automatically generated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7144870" y="3921849"/>
            <a:ext cx="2037230" cy="20062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766162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23161056"/>
              </p:ext>
            </p:extLst>
          </p:nvPr>
        </p:nvGraphicFramePr>
        <p:xfrm>
          <a:off x="609600" y="1877665"/>
          <a:ext cx="10762034" cy="43869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69" name="Google Shape;3969;p423"/>
          <p:cNvSpPr txBox="1">
            <a:spLocks noGrp="1"/>
          </p:cNvSpPr>
          <p:nvPr>
            <p:ph type="title"/>
          </p:nvPr>
        </p:nvSpPr>
        <p:spPr>
          <a:xfrm>
            <a:off x="293077" y="236171"/>
            <a:ext cx="6953764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dirty="0"/>
              <a:t>NTSV C-Section Rate by Hospital: Aim </a:t>
            </a:r>
            <a:r>
              <a:rPr lang="en-US" u="sng" dirty="0"/>
              <a:t>&gt;</a:t>
            </a:r>
            <a:r>
              <a:rPr lang="en-US" dirty="0"/>
              <a:t>70% hospitals at goal</a:t>
            </a:r>
            <a:endParaRPr dirty="0"/>
          </a:p>
        </p:txBody>
      </p:sp>
      <p:sp>
        <p:nvSpPr>
          <p:cNvPr id="3970" name="Google Shape;3970;p4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1</a:t>
            </a:fld>
            <a:endParaRPr/>
          </a:p>
        </p:txBody>
      </p:sp>
      <p:sp>
        <p:nvSpPr>
          <p:cNvPr id="3971" name="Google Shape;3971;p4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sp>
        <p:nvSpPr>
          <p:cNvPr id="3972" name="Google Shape;3972;p423"/>
          <p:cNvSpPr txBox="1"/>
          <p:nvPr/>
        </p:nvSpPr>
        <p:spPr>
          <a:xfrm>
            <a:off x="1654628" y="4081178"/>
            <a:ext cx="2024743" cy="400110"/>
          </a:xfrm>
          <a:prstGeom prst="rect">
            <a:avLst/>
          </a:prstGeom>
          <a:solidFill>
            <a:schemeClr val="dk2"/>
          </a:solidFill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lt; </a:t>
            </a: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  <p:sp>
        <p:nvSpPr>
          <p:cNvPr id="3973" name="Google Shape;3973;p423"/>
          <p:cNvSpPr txBox="1"/>
          <p:nvPr/>
        </p:nvSpPr>
        <p:spPr>
          <a:xfrm>
            <a:off x="6470584" y="5169772"/>
            <a:ext cx="1884656" cy="707886"/>
          </a:xfrm>
          <a:prstGeom prst="rect">
            <a:avLst/>
          </a:prstGeom>
          <a:solidFill>
            <a:schemeClr val="accent2"/>
          </a:solidFill>
          <a:ln w="9525" cap="flat" cmpd="sng">
            <a:solidFill>
              <a:schemeClr val="accent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 b="1" u="sng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All ILPQC Rate: </a:t>
            </a:r>
            <a:r>
              <a:rPr lang="en-US" sz="2000" b="1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4%</a:t>
            </a:r>
            <a:endParaRPr dirty="0"/>
          </a:p>
        </p:txBody>
      </p:sp>
      <p:cxnSp>
        <p:nvCxnSpPr>
          <p:cNvPr id="3974" name="Google Shape;3974;p423"/>
          <p:cNvCxnSpPr/>
          <p:nvPr/>
        </p:nvCxnSpPr>
        <p:spPr>
          <a:xfrm>
            <a:off x="1294242" y="4688960"/>
            <a:ext cx="9517247" cy="3761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25133778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6C17F-54BE-ACCC-613D-CDACB94754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Level I &amp; II Hospita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5316DC-A123-8FC7-A794-89297127E3AE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4F2417-1AE4-B950-D3B6-EF4B51ED0411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table with numbers and numbers&#10;&#10;Description automatically generated">
            <a:extLst>
              <a:ext uri="{FF2B5EF4-FFF2-40B4-BE49-F238E27FC236}">
                <a16:creationId xmlns:a16="http://schemas.microsoft.com/office/drawing/2014/main" id="{EBA153B0-2C61-B93B-7238-A20386FA114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3893" y="1833830"/>
            <a:ext cx="5200918" cy="4886058"/>
          </a:xfrm>
          <a:prstGeom prst="rect">
            <a:avLst/>
          </a:prstGeom>
        </p:spPr>
      </p:pic>
      <p:pic>
        <p:nvPicPr>
          <p:cNvPr id="7" name="Picture 6" descr="A table with numbers and numbers&#10;&#10;Description automatically generated">
            <a:extLst>
              <a:ext uri="{FF2B5EF4-FFF2-40B4-BE49-F238E27FC236}">
                <a16:creationId xmlns:a16="http://schemas.microsoft.com/office/drawing/2014/main" id="{D48E19F4-E637-1F1E-0370-B8F8A74A5E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0118" y="1710698"/>
            <a:ext cx="5361904" cy="5003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8472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544FB3-AC24-2EB0-E6AB-BFA84DAE08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Level II+ Hospitals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02BD7CF-8493-E92B-47E8-EDBC78C87A6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DECE843-C996-602E-A0E5-AFBE4D7B4F2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5FEB3D-C066-F8AC-BF51-5BEA846D2F50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7DC56C-8894-8AD5-DE7F-55ED26C9273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50146" y="1554344"/>
            <a:ext cx="5469228" cy="48010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791055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09C268-254E-4C97-AEDC-F6C1397B37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Level III Hospitals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F1FCA0-C888-0F0C-667E-24E1A3C5529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AEB3B7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AEB3B7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727381-F9CA-4DD9-E676-ED7CDC49BDE5}"/>
              </a:ext>
            </a:extLst>
          </p:cNvPr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ts val="1400"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444C55">
                  <a:tint val="75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AE7E004-C864-E408-9DBB-9DB35AC40C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41" y="2114294"/>
            <a:ext cx="5587285" cy="3777777"/>
          </a:xfrm>
          <a:prstGeom prst="rect">
            <a:avLst/>
          </a:prstGeom>
        </p:spPr>
      </p:pic>
      <p:pic>
        <p:nvPicPr>
          <p:cNvPr id="7" name="Picture 6" descr="A screenshot of a graph&#10;&#10;Description automatically generated">
            <a:extLst>
              <a:ext uri="{FF2B5EF4-FFF2-40B4-BE49-F238E27FC236}">
                <a16:creationId xmlns:a16="http://schemas.microsoft.com/office/drawing/2014/main" id="{144CF05D-C808-5038-AC95-9F190C4E93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8147" y="1922690"/>
            <a:ext cx="5512157" cy="4032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92925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16547921"/>
              </p:ext>
            </p:extLst>
          </p:nvPr>
        </p:nvGraphicFramePr>
        <p:xfrm>
          <a:off x="448364" y="1638060"/>
          <a:ext cx="10816266" cy="47182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8847" y="312498"/>
            <a:ext cx="6804275" cy="1325563"/>
          </a:xfrm>
        </p:spPr>
        <p:txBody>
          <a:bodyPr/>
          <a:lstStyle/>
          <a:p>
            <a:r>
              <a:rPr lang="en-US" dirty="0"/>
              <a:t>NTSV C-Section Rate by Hospital: Aim </a:t>
            </a:r>
            <a:r>
              <a:rPr lang="en-US" u="sng" dirty="0"/>
              <a:t>&gt;</a:t>
            </a:r>
            <a:r>
              <a:rPr lang="en-US" dirty="0"/>
              <a:t>70% hospitals at go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Google Shape;3960;p422"/>
          <p:cNvSpPr txBox="1"/>
          <p:nvPr/>
        </p:nvSpPr>
        <p:spPr>
          <a:xfrm>
            <a:off x="2025228" y="2771151"/>
            <a:ext cx="3241343" cy="646331"/>
          </a:xfrm>
          <a:prstGeom prst="rect">
            <a:avLst/>
          </a:prstGeom>
          <a:solidFill>
            <a:schemeClr val="dk2"/>
          </a:solidFill>
          <a:ln w="2857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70% of hospitals achieving NTSV C-Section Rate Goal</a:t>
            </a:r>
            <a:endParaRPr/>
          </a:p>
        </p:txBody>
      </p:sp>
      <p:cxnSp>
        <p:nvCxnSpPr>
          <p:cNvPr id="8" name="Google Shape;3974;p423"/>
          <p:cNvCxnSpPr/>
          <p:nvPr/>
        </p:nvCxnSpPr>
        <p:spPr>
          <a:xfrm flipV="1">
            <a:off x="1099226" y="3531140"/>
            <a:ext cx="9941668" cy="48639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</p:spTree>
    <p:extLst>
      <p:ext uri="{BB962C8B-B14F-4D97-AF65-F5344CB8AC3E}">
        <p14:creationId xmlns:p14="http://schemas.microsoft.com/office/powerpoint/2010/main" val="13165123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75758367"/>
              </p:ext>
            </p:extLst>
          </p:nvPr>
        </p:nvGraphicFramePr>
        <p:xfrm>
          <a:off x="609600" y="1936954"/>
          <a:ext cx="9549653" cy="42896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995" name="Google Shape;3995;p424"/>
          <p:cNvSpPr txBox="1">
            <a:spLocks noGrp="1"/>
          </p:cNvSpPr>
          <p:nvPr>
            <p:ph type="title"/>
          </p:nvPr>
        </p:nvSpPr>
        <p:spPr>
          <a:xfrm>
            <a:off x="609600" y="276707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 dirty="0"/>
              <a:t>NTSV C-Sections Meeting </a:t>
            </a:r>
            <a:br>
              <a:rPr lang="en-US" dirty="0"/>
            </a:br>
            <a:r>
              <a:rPr lang="en-US" dirty="0"/>
              <a:t>ACOG/SMFM Criteria</a:t>
            </a:r>
            <a:endParaRPr dirty="0"/>
          </a:p>
        </p:txBody>
      </p:sp>
      <p:sp>
        <p:nvSpPr>
          <p:cNvPr id="3996" name="Google Shape;3996;p4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6</a:t>
            </a:fld>
            <a:endParaRPr/>
          </a:p>
        </p:txBody>
      </p:sp>
      <p:sp>
        <p:nvSpPr>
          <p:cNvPr id="3997" name="Google Shape;3997;p4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cxnSp>
        <p:nvCxnSpPr>
          <p:cNvPr id="3998" name="Google Shape;3998;p424"/>
          <p:cNvCxnSpPr/>
          <p:nvPr/>
        </p:nvCxnSpPr>
        <p:spPr>
          <a:xfrm>
            <a:off x="989303" y="3654560"/>
            <a:ext cx="8598498" cy="44230"/>
          </a:xfrm>
          <a:prstGeom prst="straightConnector1">
            <a:avLst/>
          </a:prstGeom>
          <a:noFill/>
          <a:ln w="28575" cap="flat" cmpd="sng">
            <a:solidFill>
              <a:srgbClr val="7F7F7F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3999" name="Google Shape;3999;p424"/>
          <p:cNvSpPr/>
          <p:nvPr/>
        </p:nvSpPr>
        <p:spPr>
          <a:xfrm>
            <a:off x="1167059" y="3073707"/>
            <a:ext cx="1351353" cy="344315"/>
          </a:xfrm>
          <a:prstGeom prst="rect">
            <a:avLst/>
          </a:prstGeom>
          <a:solidFill>
            <a:srgbClr val="7F7F7F"/>
          </a:solidFill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18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gt;</a:t>
            </a:r>
            <a:r>
              <a:rPr lang="en-US"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 70%</a:t>
            </a:r>
            <a:endParaRPr/>
          </a:p>
        </p:txBody>
      </p:sp>
      <p:cxnSp>
        <p:nvCxnSpPr>
          <p:cNvPr id="4000" name="Google Shape;4000;p424"/>
          <p:cNvCxnSpPr/>
          <p:nvPr/>
        </p:nvCxnSpPr>
        <p:spPr>
          <a:xfrm flipH="1" flipV="1">
            <a:off x="9758905" y="4496754"/>
            <a:ext cx="749971" cy="242285"/>
          </a:xfrm>
          <a:prstGeom prst="straightConnector1">
            <a:avLst/>
          </a:prstGeom>
          <a:noFill/>
          <a:ln w="28575" cap="flat" cmpd="sng">
            <a:solidFill>
              <a:schemeClr val="accent5"/>
            </a:solidFill>
            <a:prstDash val="solid"/>
            <a:miter lim="800000"/>
            <a:headEnd type="none" w="sm" len="sm"/>
            <a:tailEnd type="triangle" w="med" len="med"/>
          </a:ln>
        </p:spPr>
      </p:cxnSp>
      <p:cxnSp>
        <p:nvCxnSpPr>
          <p:cNvPr id="4001" name="Google Shape;4001;p424"/>
          <p:cNvCxnSpPr/>
          <p:nvPr/>
        </p:nvCxnSpPr>
        <p:spPr>
          <a:xfrm flipH="1">
            <a:off x="9753351" y="3752632"/>
            <a:ext cx="681434" cy="282491"/>
          </a:xfrm>
          <a:prstGeom prst="straightConnector1">
            <a:avLst/>
          </a:prstGeom>
          <a:noFill/>
          <a:ln w="28575" cap="flat" cmpd="sng">
            <a:solidFill>
              <a:schemeClr val="accent3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4002" name="Google Shape;4002;p424"/>
          <p:cNvSpPr/>
          <p:nvPr/>
        </p:nvSpPr>
        <p:spPr>
          <a:xfrm>
            <a:off x="10419846" y="3039562"/>
            <a:ext cx="1544153" cy="2531141"/>
          </a:xfrm>
          <a:prstGeom prst="rect">
            <a:avLst/>
          </a:prstGeom>
          <a:solidFill>
            <a:schemeClr val="accent5"/>
          </a:solidFill>
          <a:ln w="508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b="1" u="sng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023 Focus </a:t>
            </a: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Improving %</a:t>
            </a:r>
            <a:r>
              <a:rPr lang="en-US" sz="1800" b="1" u="sng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Second Stage Arrest 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amp; </a:t>
            </a:r>
            <a:endParaRPr dirty="0"/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Failed Induction </a:t>
            </a:r>
            <a:endParaRPr sz="1800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 meeting criteria</a:t>
            </a:r>
            <a:endParaRPr dirty="0"/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8FE93290-D788-4070-8241-D2C1B96D47FC}"/>
              </a:ext>
            </a:extLst>
          </p:cNvPr>
          <p:cNvSpPr/>
          <p:nvPr/>
        </p:nvSpPr>
        <p:spPr>
          <a:xfrm>
            <a:off x="9056915" y="4271660"/>
            <a:ext cx="914400" cy="549109"/>
          </a:xfrm>
          <a:prstGeom prst="ellipse">
            <a:avLst/>
          </a:prstGeom>
          <a:noFill/>
          <a:ln w="381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peech Bubble: Oval 2">
            <a:extLst>
              <a:ext uri="{FF2B5EF4-FFF2-40B4-BE49-F238E27FC236}">
                <a16:creationId xmlns:a16="http://schemas.microsoft.com/office/drawing/2014/main" id="{C532221D-3546-4789-AA1E-DD2F999DF07A}"/>
              </a:ext>
            </a:extLst>
          </p:cNvPr>
          <p:cNvSpPr/>
          <p:nvPr/>
        </p:nvSpPr>
        <p:spPr>
          <a:xfrm>
            <a:off x="9075792" y="1479089"/>
            <a:ext cx="2427515" cy="1400354"/>
          </a:xfrm>
          <a:prstGeom prst="wedgeEllipseCallou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AC1E81-1289-4D09-A245-E443A0E5CAD6}"/>
              </a:ext>
            </a:extLst>
          </p:cNvPr>
          <p:cNvSpPr txBox="1"/>
          <p:nvPr/>
        </p:nvSpPr>
        <p:spPr>
          <a:xfrm>
            <a:off x="9422546" y="1709579"/>
            <a:ext cx="1994599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/>
              <a:t>Work on Fall Out Reviews for Failed Inductions!!</a:t>
            </a:r>
          </a:p>
        </p:txBody>
      </p:sp>
    </p:spTree>
    <p:extLst>
      <p:ext uri="{BB962C8B-B14F-4D97-AF65-F5344CB8AC3E}">
        <p14:creationId xmlns:p14="http://schemas.microsoft.com/office/powerpoint/2010/main" val="366920769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93173345"/>
              </p:ext>
            </p:extLst>
          </p:nvPr>
        </p:nvGraphicFramePr>
        <p:xfrm>
          <a:off x="797628" y="1690688"/>
          <a:ext cx="10252993" cy="45933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39" name="Google Shape;4039;p4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ressing disparities:</a:t>
            </a:r>
            <a:br>
              <a:rPr lang="en-US"/>
            </a:br>
            <a:r>
              <a:rPr lang="en-US" b="0"/>
              <a:t>NTSV C-Section Rate by Race and Ethnicity</a:t>
            </a:r>
            <a:endParaRPr b="0"/>
          </a:p>
        </p:txBody>
      </p:sp>
      <p:sp>
        <p:nvSpPr>
          <p:cNvPr id="4040" name="Google Shape;4040;p4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7</a:t>
            </a:fld>
            <a:endParaRPr/>
          </a:p>
        </p:txBody>
      </p:sp>
      <p:sp>
        <p:nvSpPr>
          <p:cNvPr id="4041" name="Google Shape;4041;p4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cxnSp>
        <p:nvCxnSpPr>
          <p:cNvPr id="4043" name="Google Shape;4043;p427"/>
          <p:cNvCxnSpPr/>
          <p:nvPr/>
        </p:nvCxnSpPr>
        <p:spPr>
          <a:xfrm>
            <a:off x="1288669" y="3807430"/>
            <a:ext cx="9380891" cy="5500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044" name="Google Shape;4044;p427"/>
          <p:cNvSpPr/>
          <p:nvPr/>
        </p:nvSpPr>
        <p:spPr>
          <a:xfrm>
            <a:off x="1660003" y="4142676"/>
            <a:ext cx="1729346" cy="465796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lt;</a:t>
            </a: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  <p:sp>
        <p:nvSpPr>
          <p:cNvPr id="4045" name="Google Shape;4045;p427"/>
          <p:cNvSpPr/>
          <p:nvPr/>
        </p:nvSpPr>
        <p:spPr>
          <a:xfrm>
            <a:off x="10669560" y="3819088"/>
            <a:ext cx="762122" cy="323588"/>
          </a:xfrm>
          <a:prstGeom prst="rect">
            <a:avLst/>
          </a:prstGeom>
          <a:noFill/>
          <a:ln w="28575" cap="flat" cmpd="sng">
            <a:solidFill>
              <a:srgbClr val="EF145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.0%</a:t>
            </a:r>
            <a:endParaRPr dirty="0"/>
          </a:p>
        </p:txBody>
      </p:sp>
      <p:sp>
        <p:nvSpPr>
          <p:cNvPr id="4046" name="Google Shape;4046;p427"/>
          <p:cNvSpPr/>
          <p:nvPr/>
        </p:nvSpPr>
        <p:spPr>
          <a:xfrm>
            <a:off x="10631399" y="3401063"/>
            <a:ext cx="800283" cy="323588"/>
          </a:xfrm>
          <a:prstGeom prst="rect">
            <a:avLst/>
          </a:prstGeom>
          <a:noFill/>
          <a:ln w="2857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.7%</a:t>
            </a: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415033460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001899"/>
              </p:ext>
            </p:extLst>
          </p:nvPr>
        </p:nvGraphicFramePr>
        <p:xfrm>
          <a:off x="609600" y="1677690"/>
          <a:ext cx="10869038" cy="46786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051" name="Google Shape;4051;p4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Addressing disparities:</a:t>
            </a:r>
            <a:br>
              <a:rPr lang="en-US"/>
            </a:br>
            <a:r>
              <a:rPr lang="en-US" b="0"/>
              <a:t>NTSV C-Section Rate by Race and Ethnicity</a:t>
            </a:r>
            <a:endParaRPr b="0"/>
          </a:p>
        </p:txBody>
      </p:sp>
      <p:sp>
        <p:nvSpPr>
          <p:cNvPr id="4052" name="Google Shape;4052;p4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  <p:sp>
        <p:nvSpPr>
          <p:cNvPr id="4053" name="Google Shape;4053;p4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cxnSp>
        <p:nvCxnSpPr>
          <p:cNvPr id="4055" name="Google Shape;4055;p428"/>
          <p:cNvCxnSpPr/>
          <p:nvPr/>
        </p:nvCxnSpPr>
        <p:spPr>
          <a:xfrm>
            <a:off x="1253358" y="3719423"/>
            <a:ext cx="10011272" cy="45181"/>
          </a:xfrm>
          <a:prstGeom prst="straightConnector1">
            <a:avLst/>
          </a:prstGeom>
          <a:noFill/>
          <a:ln w="28575" cap="flat" cmpd="sng">
            <a:solidFill>
              <a:schemeClr val="dk2"/>
            </a:solidFill>
            <a:prstDash val="dash"/>
            <a:miter lim="800000"/>
            <a:headEnd type="none" w="sm" len="sm"/>
            <a:tailEnd type="none" w="sm" len="sm"/>
          </a:ln>
        </p:spPr>
      </p:cxnSp>
      <p:sp>
        <p:nvSpPr>
          <p:cNvPr id="4056" name="Google Shape;4056;p428"/>
          <p:cNvSpPr/>
          <p:nvPr/>
        </p:nvSpPr>
        <p:spPr>
          <a:xfrm>
            <a:off x="9669619" y="3003253"/>
            <a:ext cx="1729346" cy="465796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Goal: </a:t>
            </a:r>
            <a:r>
              <a:rPr lang="en-US" sz="2000" u="sng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&lt;</a:t>
            </a:r>
            <a:r>
              <a:rPr lang="en-US" sz="20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158929061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ll Group Breakout Sessions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200"/>
              </a:spcBef>
              <a:spcAft>
                <a:spcPts val="200"/>
              </a:spcAft>
            </a:pPr>
            <a:r>
              <a:rPr lang="en-US" dirty="0">
                <a:ea typeface="Lato"/>
                <a:cs typeface="Lato"/>
              </a:rPr>
              <a:t>Get ready to share!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6278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view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ea typeface="Lato"/>
                <a:cs typeface="Lato"/>
              </a:rPr>
              <a:t>Upcoming 2023 Annual Conference</a:t>
            </a:r>
          </a:p>
          <a:p>
            <a:r>
              <a:rPr lang="en-US" sz="2400" dirty="0"/>
              <a:t>PVB Data overview</a:t>
            </a:r>
          </a:p>
          <a:p>
            <a:r>
              <a:rPr lang="en-US" b="1" dirty="0">
                <a:ea typeface="+mn-lt"/>
                <a:cs typeface="+mn-lt"/>
              </a:rPr>
              <a:t>Small Group Breakout Sessions by Perinatal Level</a:t>
            </a:r>
            <a:endParaRPr lang="en-US" dirty="0"/>
          </a:p>
          <a:p>
            <a:pPr>
              <a:spcBef>
                <a:spcPct val="20000"/>
              </a:spcBef>
              <a:spcAft>
                <a:spcPct val="0"/>
              </a:spcAft>
              <a:buClr>
                <a:srgbClr val="F5668F"/>
              </a:buClr>
            </a:pPr>
            <a:r>
              <a:rPr lang="en-US" dirty="0">
                <a:ea typeface="Lato"/>
                <a:cs typeface="Calibri"/>
              </a:rPr>
              <a:t>PVB Next Steps</a:t>
            </a:r>
            <a:endParaRPr lang="en-US" dirty="0">
              <a:cs typeface="Calibri"/>
            </a:endParaRP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 lvl="1">
              <a:spcBef>
                <a:spcPct val="20000"/>
              </a:spcBef>
              <a:spcAft>
                <a:spcPct val="0"/>
              </a:spcAft>
              <a:buClr>
                <a:srgbClr val="1C498B"/>
              </a:buClr>
            </a:pPr>
            <a:endParaRPr lang="en-US" dirty="0">
              <a:cs typeface="Calibri"/>
            </a:endParaRPr>
          </a:p>
          <a:p>
            <a:pPr>
              <a:buClr>
                <a:srgbClr val="F5668F"/>
              </a:buClr>
            </a:pPr>
            <a:endParaRPr lang="en-US" dirty="0"/>
          </a:p>
          <a:p>
            <a:pPr lvl="1"/>
            <a:endParaRPr lang="en-US" dirty="0"/>
          </a:p>
          <a:p>
            <a:pPr marL="457200" lvl="1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8580824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to our Discussion Leaders!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825625"/>
            <a:ext cx="10972800" cy="1577332"/>
          </a:xfrm>
        </p:spPr>
        <p:txBody>
          <a:bodyPr/>
          <a:lstStyle/>
          <a:p>
            <a:r>
              <a:rPr lang="en-US" dirty="0"/>
              <a:t>A special thank you to our leaders of today’s small group discussions!</a:t>
            </a:r>
          </a:p>
          <a:p>
            <a:r>
              <a:rPr lang="en-US" dirty="0"/>
              <a:t>These individuals have worked hard their hospitals to implement PVB Key strategies to reduce their NTSV C-Section Rate and achieve QI Excellence!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372319" y="3537894"/>
            <a:ext cx="6068992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ea typeface="Lato"/>
                <a:cs typeface="Lato"/>
              </a:rPr>
              <a:t>NorthShore Evanston Hospital: Dina </a:t>
            </a:r>
            <a:r>
              <a:rPr lang="en-US" dirty="0" err="1">
                <a:ea typeface="Lato"/>
                <a:cs typeface="Lato"/>
              </a:rPr>
              <a:t>Kapogianis</a:t>
            </a:r>
            <a:endParaRPr lang="en-US" dirty="0">
              <a:ea typeface="Lato"/>
              <a:cs typeface="Lato"/>
            </a:endParaRPr>
          </a:p>
          <a:p>
            <a:r>
              <a:rPr lang="en-US" dirty="0"/>
              <a:t>UIC: Stephanie Mendoza, Olga Marrero</a:t>
            </a:r>
          </a:p>
          <a:p>
            <a:r>
              <a:rPr lang="en-US" dirty="0">
                <a:ea typeface="Lato"/>
                <a:cs typeface="Lato"/>
              </a:rPr>
              <a:t>MacNeal: Maria </a:t>
            </a:r>
            <a:r>
              <a:rPr lang="en-US" dirty="0" err="1">
                <a:ea typeface="Lato"/>
                <a:cs typeface="Lato"/>
              </a:rPr>
              <a:t>Lotesto</a:t>
            </a:r>
            <a:r>
              <a:rPr lang="en-US" dirty="0">
                <a:ea typeface="Lato"/>
                <a:cs typeface="Lato"/>
              </a:rPr>
              <a:t>, Karen Richardson</a:t>
            </a:r>
          </a:p>
          <a:p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609599" y="1632793"/>
            <a:ext cx="11335473" cy="177016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09600" y="1825625"/>
            <a:ext cx="10972800" cy="153298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/>
              <a:t>A special thank you to our leaders of today’s small group discussions!</a:t>
            </a:r>
          </a:p>
          <a:p>
            <a:pPr marL="0" indent="0" algn="ctr">
              <a:buNone/>
            </a:pPr>
            <a:r>
              <a:rPr lang="en-US" dirty="0"/>
              <a:t>These individuals have worked hard their hospitals to implement PVB Key strategies to reduce their NTSV C-Section Rate and achieve QI Excellence!</a:t>
            </a:r>
          </a:p>
          <a:p>
            <a:endParaRPr lang="en-US" dirty="0"/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6204030" y="3537894"/>
            <a:ext cx="6369934" cy="435133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ea typeface="Lato"/>
                <a:cs typeface="Lato"/>
              </a:rPr>
              <a:t>NM Kishwaukee: Angela Kennedy, Kelly Densberger</a:t>
            </a:r>
          </a:p>
          <a:p>
            <a:r>
              <a:rPr lang="en-US" dirty="0">
                <a:ea typeface="Lato"/>
                <a:cs typeface="Lato"/>
              </a:rPr>
              <a:t>OSF St. Anthony: </a:t>
            </a:r>
            <a:r>
              <a:rPr lang="en-US" dirty="0" err="1">
                <a:ea typeface="Lato"/>
                <a:cs typeface="Lato"/>
              </a:rPr>
              <a:t>Courtenai</a:t>
            </a:r>
            <a:r>
              <a:rPr lang="en-US" dirty="0">
                <a:ea typeface="Lato"/>
                <a:cs typeface="Lato"/>
              </a:rPr>
              <a:t> Smith</a:t>
            </a:r>
          </a:p>
          <a:p>
            <a:r>
              <a:rPr lang="en-US" dirty="0">
                <a:ea typeface="Lato"/>
                <a:cs typeface="Lato"/>
              </a:rPr>
              <a:t>Deb Miller: Northwestern Prentice Women's Hospital</a:t>
            </a:r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09099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nge your Name to:</a:t>
            </a:r>
            <a:br>
              <a:rPr lang="en-US"/>
            </a:br>
            <a:r>
              <a:rPr lang="en-US"/>
              <a:t>First Name Last Name (Hospital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/>
              <a:t>Hover over your name and click the 3 dots</a:t>
            </a:r>
          </a:p>
          <a:p>
            <a:pPr marL="457200" indent="-457200">
              <a:buFont typeface="+mj-lt"/>
              <a:buAutoNum type="arabicPeriod"/>
            </a:pPr>
            <a:endParaRPr lang="en-US"/>
          </a:p>
          <a:p>
            <a:pPr marL="457200" indent="-457200">
              <a:buFont typeface="+mj-lt"/>
              <a:buAutoNum type="arabicPeriod"/>
            </a:pPr>
            <a:endParaRPr lang="en-US"/>
          </a:p>
          <a:p>
            <a:pPr marL="457200" indent="-457200">
              <a:buFont typeface="+mj-lt"/>
              <a:buAutoNum type="arabicPeriod"/>
            </a:pPr>
            <a:r>
              <a:rPr lang="en-US"/>
              <a:t>Click Renam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457200" indent="-457200">
              <a:buFont typeface="+mj-lt"/>
              <a:buAutoNum type="arabicPeriod"/>
            </a:pPr>
            <a:r>
              <a:rPr lang="en-US">
                <a:ea typeface="Lato"/>
                <a:cs typeface="Lato"/>
              </a:rPr>
              <a:t>Rename yourself as: </a:t>
            </a:r>
            <a:r>
              <a:rPr lang="en-US" b="1">
                <a:ea typeface="Lato"/>
                <a:cs typeface="Lato"/>
              </a:rPr>
              <a:t>First Name Last Name (Hospital)</a:t>
            </a:r>
          </a:p>
          <a:p>
            <a:pPr marL="457200" indent="-457200">
              <a:buFont typeface="+mj-lt"/>
              <a:buAutoNum type="arabicPeriod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1566" y="1646238"/>
            <a:ext cx="3715268" cy="1324160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0138" y="3348242"/>
            <a:ext cx="3771428" cy="130610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5"/>
          <a:stretch/>
        </p:blipFill>
        <p:spPr>
          <a:xfrm>
            <a:off x="7929076" y="5107685"/>
            <a:ext cx="3753908" cy="1431227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7293580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Get Ready to Share!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630352849"/>
              </p:ext>
            </p:extLst>
          </p:nvPr>
        </p:nvGraphicFramePr>
        <p:xfrm>
          <a:off x="381837" y="1336878"/>
          <a:ext cx="10791952" cy="5019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985345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Slide background fill">
            <a:extLst>
              <a:ext uri="{FF2B5EF4-FFF2-40B4-BE49-F238E27FC236}">
                <a16:creationId xmlns:a16="http://schemas.microsoft.com/office/drawing/2014/main" id="{CB49665F-0298-4449-8D2D-209989CB9E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Color 2">
            <a:extLst>
              <a:ext uri="{FF2B5EF4-FFF2-40B4-BE49-F238E27FC236}">
                <a16:creationId xmlns:a16="http://schemas.microsoft.com/office/drawing/2014/main" id="{A71EEC14-174A-46FA-B046-4747504571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4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EB6CB95-E653-4C6C-AE51-62FD848E8D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5889" y="-2"/>
            <a:ext cx="3468234" cy="6858000"/>
            <a:chOff x="651279" y="598259"/>
            <a:chExt cx="10889442" cy="5680742"/>
          </a:xfrm>
        </p:grpSpPr>
        <p:sp>
          <p:nvSpPr>
            <p:cNvPr id="16" name="Color">
              <a:extLst>
                <a:ext uri="{FF2B5EF4-FFF2-40B4-BE49-F238E27FC236}">
                  <a16:creationId xmlns:a16="http://schemas.microsoft.com/office/drawing/2014/main" id="{BDD3CB8E-ABA7-4F37-BB2C-64FFD198138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7" name="Color">
              <a:extLst>
                <a:ext uri="{FF2B5EF4-FFF2-40B4-BE49-F238E27FC236}">
                  <a16:creationId xmlns:a16="http://schemas.microsoft.com/office/drawing/2014/main" id="{C2CA788A-B2FD-494C-BED0-83E31F6DFF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1279" y="598259"/>
              <a:ext cx="10889442" cy="5680742"/>
            </a:xfrm>
            <a:prstGeom prst="rect">
              <a:avLst/>
            </a:prstGeom>
            <a:solidFill>
              <a:schemeClr val="accent6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43F5E015-E085-4624-B431-B424144486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>
            <a:grpSpLocks noGrp="1" noUngrp="1" noRot="1" noChangeAspect="1" noMove="1" noResize="1"/>
          </p:cNvGrp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GrpSpPr>
        <p:grpSpPr>
          <a:xfrm>
            <a:off x="1524" y="0"/>
            <a:ext cx="12188952" cy="6858000"/>
            <a:chOff x="0" y="0"/>
            <a:chExt cx="12188952" cy="6858000"/>
          </a:xfrm>
        </p:grpSpPr>
        <p:sp>
          <p:nvSpPr>
            <p:cNvPr id="20" name="Freeform: Shape 19">
              <a:extLst>
                <a:ext uri="{FF2B5EF4-FFF2-40B4-BE49-F238E27FC236}">
                  <a16:creationId xmlns:a16="http://schemas.microsoft.com/office/drawing/2014/main" id="{4DDB60AE-8B9C-4BA0-93DC-F8C9EBF6D8B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26122" y="6015669"/>
              <a:ext cx="2605762" cy="842331"/>
            </a:xfrm>
            <a:custGeom>
              <a:avLst/>
              <a:gdLst>
                <a:gd name="connsiteX0" fmla="*/ 1151220 w 3180577"/>
                <a:gd name="connsiteY0" fmla="*/ 1105 h 1033951"/>
                <a:gd name="connsiteX1" fmla="*/ 1735251 w 3180577"/>
                <a:gd name="connsiteY1" fmla="*/ 77956 h 1033951"/>
                <a:gd name="connsiteX2" fmla="*/ 2001894 w 3180577"/>
                <a:gd name="connsiteY2" fmla="*/ 123235 h 1033951"/>
                <a:gd name="connsiteX3" fmla="*/ 2321364 w 3180577"/>
                <a:gd name="connsiteY3" fmla="*/ 128266 h 1033951"/>
                <a:gd name="connsiteX4" fmla="*/ 2671019 w 3180577"/>
                <a:gd name="connsiteY4" fmla="*/ 55316 h 1033951"/>
                <a:gd name="connsiteX5" fmla="*/ 2982942 w 3180577"/>
                <a:gd name="connsiteY5" fmla="*/ 326991 h 1033951"/>
                <a:gd name="connsiteX6" fmla="*/ 3176430 w 3180577"/>
                <a:gd name="connsiteY6" fmla="*/ 1024557 h 1033951"/>
                <a:gd name="connsiteX7" fmla="*/ 3174833 w 3180577"/>
                <a:gd name="connsiteY7" fmla="*/ 1033951 h 1033951"/>
                <a:gd name="connsiteX8" fmla="*/ 23630 w 3180577"/>
                <a:gd name="connsiteY8" fmla="*/ 1033951 h 1033951"/>
                <a:gd name="connsiteX9" fmla="*/ 11184 w 3180577"/>
                <a:gd name="connsiteY9" fmla="*/ 984167 h 1033951"/>
                <a:gd name="connsiteX10" fmla="*/ 236008 w 3180577"/>
                <a:gd name="connsiteY10" fmla="*/ 289258 h 1033951"/>
                <a:gd name="connsiteX11" fmla="*/ 1151220 w 3180577"/>
                <a:gd name="connsiteY11" fmla="*/ 1105 h 1033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180577" h="1033951">
                  <a:moveTo>
                    <a:pt x="1151220" y="1105"/>
                  </a:moveTo>
                  <a:cubicBezTo>
                    <a:pt x="1349788" y="7443"/>
                    <a:pt x="1549417" y="40223"/>
                    <a:pt x="1735251" y="77956"/>
                  </a:cubicBezTo>
                  <a:cubicBezTo>
                    <a:pt x="1823293" y="95564"/>
                    <a:pt x="1913852" y="110657"/>
                    <a:pt x="2001894" y="123235"/>
                  </a:cubicBezTo>
                  <a:cubicBezTo>
                    <a:pt x="2102515" y="135812"/>
                    <a:pt x="2228290" y="153421"/>
                    <a:pt x="2321364" y="128266"/>
                  </a:cubicBezTo>
                  <a:cubicBezTo>
                    <a:pt x="2447139" y="93049"/>
                    <a:pt x="2525120" y="12552"/>
                    <a:pt x="2671019" y="55316"/>
                  </a:cubicBezTo>
                  <a:cubicBezTo>
                    <a:pt x="2806857" y="90533"/>
                    <a:pt x="2909992" y="213793"/>
                    <a:pt x="2982942" y="326991"/>
                  </a:cubicBezTo>
                  <a:cubicBezTo>
                    <a:pt x="3115006" y="525086"/>
                    <a:pt x="3200848" y="782887"/>
                    <a:pt x="3176430" y="1024557"/>
                  </a:cubicBezTo>
                  <a:lnTo>
                    <a:pt x="3174833" y="1033951"/>
                  </a:lnTo>
                  <a:lnTo>
                    <a:pt x="23630" y="1033951"/>
                  </a:lnTo>
                  <a:lnTo>
                    <a:pt x="11184" y="984167"/>
                  </a:lnTo>
                  <a:cubicBezTo>
                    <a:pt x="-27491" y="733874"/>
                    <a:pt x="30994" y="479179"/>
                    <a:pt x="236008" y="289258"/>
                  </a:cubicBezTo>
                  <a:cubicBezTo>
                    <a:pt x="492275" y="53429"/>
                    <a:pt x="820274" y="-9459"/>
                    <a:pt x="1151220" y="110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1" name="Freeform: Shape 20">
              <a:extLst>
                <a:ext uri="{FF2B5EF4-FFF2-40B4-BE49-F238E27FC236}">
                  <a16:creationId xmlns:a16="http://schemas.microsoft.com/office/drawing/2014/main" id="{9F247760-BE07-41A2-969E-570081E6552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655184" y="5798001"/>
              <a:ext cx="2485581" cy="1059999"/>
            </a:xfrm>
            <a:custGeom>
              <a:avLst/>
              <a:gdLst>
                <a:gd name="connsiteX0" fmla="*/ 1553968 w 2449768"/>
                <a:gd name="connsiteY0" fmla="*/ 1045598 h 1050628"/>
                <a:gd name="connsiteX1" fmla="*/ 1561623 w 2449768"/>
                <a:gd name="connsiteY1" fmla="*/ 1050628 h 1050628"/>
                <a:gd name="connsiteX2" fmla="*/ 1540857 w 2449768"/>
                <a:gd name="connsiteY2" fmla="*/ 1050628 h 1050628"/>
                <a:gd name="connsiteX3" fmla="*/ 1542955 w 2449768"/>
                <a:gd name="connsiteY3" fmla="*/ 1048256 h 1050628"/>
                <a:gd name="connsiteX4" fmla="*/ 1553968 w 2449768"/>
                <a:gd name="connsiteY4" fmla="*/ 1045598 h 1050628"/>
                <a:gd name="connsiteX5" fmla="*/ 490647 w 2449768"/>
                <a:gd name="connsiteY5" fmla="*/ 1036483 h 1050628"/>
                <a:gd name="connsiteX6" fmla="*/ 503939 w 2449768"/>
                <a:gd name="connsiteY6" fmla="*/ 1045217 h 1050628"/>
                <a:gd name="connsiteX7" fmla="*/ 505485 w 2449768"/>
                <a:gd name="connsiteY7" fmla="*/ 1050628 h 1050628"/>
                <a:gd name="connsiteX8" fmla="*/ 470645 w 2449768"/>
                <a:gd name="connsiteY8" fmla="*/ 1050628 h 1050628"/>
                <a:gd name="connsiteX9" fmla="*/ 469761 w 2449768"/>
                <a:gd name="connsiteY9" fmla="*/ 1046736 h 1050628"/>
                <a:gd name="connsiteX10" fmla="*/ 479634 w 2449768"/>
                <a:gd name="connsiteY10" fmla="*/ 1039141 h 1050628"/>
                <a:gd name="connsiteX11" fmla="*/ 490647 w 2449768"/>
                <a:gd name="connsiteY11" fmla="*/ 1036483 h 1050628"/>
                <a:gd name="connsiteX12" fmla="*/ 326591 w 2449768"/>
                <a:gd name="connsiteY12" fmla="*/ 1030407 h 1050628"/>
                <a:gd name="connsiteX13" fmla="*/ 339883 w 2449768"/>
                <a:gd name="connsiteY13" fmla="*/ 1039141 h 1050628"/>
                <a:gd name="connsiteX14" fmla="*/ 341999 w 2449768"/>
                <a:gd name="connsiteY14" fmla="*/ 1050628 h 1050628"/>
                <a:gd name="connsiteX15" fmla="*/ 308260 w 2449768"/>
                <a:gd name="connsiteY15" fmla="*/ 1050628 h 1050628"/>
                <a:gd name="connsiteX16" fmla="*/ 306844 w 2449768"/>
                <a:gd name="connsiteY16" fmla="*/ 1042939 h 1050628"/>
                <a:gd name="connsiteX17" fmla="*/ 315578 w 2449768"/>
                <a:gd name="connsiteY17" fmla="*/ 1033065 h 1050628"/>
                <a:gd name="connsiteX18" fmla="*/ 326591 w 2449768"/>
                <a:gd name="connsiteY18" fmla="*/ 1030407 h 1050628"/>
                <a:gd name="connsiteX19" fmla="*/ 20886 w 2449768"/>
                <a:gd name="connsiteY19" fmla="*/ 1026229 h 1050628"/>
                <a:gd name="connsiteX20" fmla="*/ 33039 w 2449768"/>
                <a:gd name="connsiteY20" fmla="*/ 1036103 h 1050628"/>
                <a:gd name="connsiteX21" fmla="*/ 36837 w 2449768"/>
                <a:gd name="connsiteY21" fmla="*/ 1049395 h 1050628"/>
                <a:gd name="connsiteX22" fmla="*/ 35731 w 2449768"/>
                <a:gd name="connsiteY22" fmla="*/ 1050628 h 1050628"/>
                <a:gd name="connsiteX23" fmla="*/ 1976 w 2449768"/>
                <a:gd name="connsiteY23" fmla="*/ 1050628 h 1050628"/>
                <a:gd name="connsiteX24" fmla="*/ 0 w 2449768"/>
                <a:gd name="connsiteY24" fmla="*/ 1039901 h 1050628"/>
                <a:gd name="connsiteX25" fmla="*/ 8734 w 2449768"/>
                <a:gd name="connsiteY25" fmla="*/ 1030027 h 1050628"/>
                <a:gd name="connsiteX26" fmla="*/ 20886 w 2449768"/>
                <a:gd name="connsiteY26" fmla="*/ 1026229 h 1050628"/>
                <a:gd name="connsiteX27" fmla="*/ 2100819 w 2449768"/>
                <a:gd name="connsiteY27" fmla="*/ 1024331 h 1050628"/>
                <a:gd name="connsiteX28" fmla="*/ 2114111 w 2449768"/>
                <a:gd name="connsiteY28" fmla="*/ 1033065 h 1050628"/>
                <a:gd name="connsiteX29" fmla="*/ 2117909 w 2449768"/>
                <a:gd name="connsiteY29" fmla="*/ 1046357 h 1050628"/>
                <a:gd name="connsiteX30" fmla="*/ 2114079 w 2449768"/>
                <a:gd name="connsiteY30" fmla="*/ 1050628 h 1050628"/>
                <a:gd name="connsiteX31" fmla="*/ 2083616 w 2449768"/>
                <a:gd name="connsiteY31" fmla="*/ 1050628 h 1050628"/>
                <a:gd name="connsiteX32" fmla="*/ 2081072 w 2449768"/>
                <a:gd name="connsiteY32" fmla="*/ 1035724 h 1050628"/>
                <a:gd name="connsiteX33" fmla="*/ 2089806 w 2449768"/>
                <a:gd name="connsiteY33" fmla="*/ 1026989 h 1050628"/>
                <a:gd name="connsiteX34" fmla="*/ 2100819 w 2449768"/>
                <a:gd name="connsiteY34" fmla="*/ 1024331 h 1050628"/>
                <a:gd name="connsiteX35" fmla="*/ 1192439 w 2449768"/>
                <a:gd name="connsiteY35" fmla="*/ 1024331 h 1050628"/>
                <a:gd name="connsiteX36" fmla="*/ 1205731 w 2449768"/>
                <a:gd name="connsiteY36" fmla="*/ 1033065 h 1050628"/>
                <a:gd name="connsiteX37" fmla="*/ 1209529 w 2449768"/>
                <a:gd name="connsiteY37" fmla="*/ 1046357 h 1050628"/>
                <a:gd name="connsiteX38" fmla="*/ 1205699 w 2449768"/>
                <a:gd name="connsiteY38" fmla="*/ 1050628 h 1050628"/>
                <a:gd name="connsiteX39" fmla="*/ 1175227 w 2449768"/>
                <a:gd name="connsiteY39" fmla="*/ 1050628 h 1050628"/>
                <a:gd name="connsiteX40" fmla="*/ 1172692 w 2449768"/>
                <a:gd name="connsiteY40" fmla="*/ 1036863 h 1050628"/>
                <a:gd name="connsiteX41" fmla="*/ 1181426 w 2449768"/>
                <a:gd name="connsiteY41" fmla="*/ 1026989 h 1050628"/>
                <a:gd name="connsiteX42" fmla="*/ 1192439 w 2449768"/>
                <a:gd name="connsiteY42" fmla="*/ 1024331 h 1050628"/>
                <a:gd name="connsiteX43" fmla="*/ 788376 w 2449768"/>
                <a:gd name="connsiteY43" fmla="*/ 1024331 h 1050628"/>
                <a:gd name="connsiteX44" fmla="*/ 801668 w 2449768"/>
                <a:gd name="connsiteY44" fmla="*/ 1033065 h 1050628"/>
                <a:gd name="connsiteX45" fmla="*/ 805466 w 2449768"/>
                <a:gd name="connsiteY45" fmla="*/ 1046357 h 1050628"/>
                <a:gd name="connsiteX46" fmla="*/ 801636 w 2449768"/>
                <a:gd name="connsiteY46" fmla="*/ 1050628 h 1050628"/>
                <a:gd name="connsiteX47" fmla="*/ 771181 w 2449768"/>
                <a:gd name="connsiteY47" fmla="*/ 1050628 h 1050628"/>
                <a:gd name="connsiteX48" fmla="*/ 768629 w 2449768"/>
                <a:gd name="connsiteY48" fmla="*/ 1034584 h 1050628"/>
                <a:gd name="connsiteX49" fmla="*/ 777363 w 2449768"/>
                <a:gd name="connsiteY49" fmla="*/ 1026989 h 1050628"/>
                <a:gd name="connsiteX50" fmla="*/ 788376 w 2449768"/>
                <a:gd name="connsiteY50" fmla="*/ 1024331 h 1050628"/>
                <a:gd name="connsiteX51" fmla="*/ 138231 w 2449768"/>
                <a:gd name="connsiteY51" fmla="*/ 1024331 h 1050628"/>
                <a:gd name="connsiteX52" fmla="*/ 151523 w 2449768"/>
                <a:gd name="connsiteY52" fmla="*/ 1033065 h 1050628"/>
                <a:gd name="connsiteX53" fmla="*/ 154181 w 2449768"/>
                <a:gd name="connsiteY53" fmla="*/ 1047496 h 1050628"/>
                <a:gd name="connsiteX54" fmla="*/ 151411 w 2449768"/>
                <a:gd name="connsiteY54" fmla="*/ 1050628 h 1050628"/>
                <a:gd name="connsiteX55" fmla="*/ 121019 w 2449768"/>
                <a:gd name="connsiteY55" fmla="*/ 1050628 h 1050628"/>
                <a:gd name="connsiteX56" fmla="*/ 118484 w 2449768"/>
                <a:gd name="connsiteY56" fmla="*/ 1036863 h 1050628"/>
                <a:gd name="connsiteX57" fmla="*/ 127218 w 2449768"/>
                <a:gd name="connsiteY57" fmla="*/ 1026989 h 1050628"/>
                <a:gd name="connsiteX58" fmla="*/ 138231 w 2449768"/>
                <a:gd name="connsiteY58" fmla="*/ 1024331 h 1050628"/>
                <a:gd name="connsiteX59" fmla="*/ 894709 w 2449768"/>
                <a:gd name="connsiteY59" fmla="*/ 1021293 h 1050628"/>
                <a:gd name="connsiteX60" fmla="*/ 908001 w 2449768"/>
                <a:gd name="connsiteY60" fmla="*/ 1030027 h 1050628"/>
                <a:gd name="connsiteX61" fmla="*/ 911799 w 2449768"/>
                <a:gd name="connsiteY61" fmla="*/ 1043319 h 1050628"/>
                <a:gd name="connsiteX62" fmla="*/ 905246 w 2449768"/>
                <a:gd name="connsiteY62" fmla="*/ 1050628 h 1050628"/>
                <a:gd name="connsiteX63" fmla="*/ 880920 w 2449768"/>
                <a:gd name="connsiteY63" fmla="*/ 1050628 h 1050628"/>
                <a:gd name="connsiteX64" fmla="*/ 877620 w 2449768"/>
                <a:gd name="connsiteY64" fmla="*/ 1048256 h 1050628"/>
                <a:gd name="connsiteX65" fmla="*/ 883696 w 2449768"/>
                <a:gd name="connsiteY65" fmla="*/ 1023951 h 1050628"/>
                <a:gd name="connsiteX66" fmla="*/ 894709 w 2449768"/>
                <a:gd name="connsiteY66" fmla="*/ 1021293 h 1050628"/>
                <a:gd name="connsiteX67" fmla="*/ 694197 w 2449768"/>
                <a:gd name="connsiteY67" fmla="*/ 1021293 h 1050628"/>
                <a:gd name="connsiteX68" fmla="*/ 707488 w 2449768"/>
                <a:gd name="connsiteY68" fmla="*/ 1030027 h 1050628"/>
                <a:gd name="connsiteX69" fmla="*/ 711286 w 2449768"/>
                <a:gd name="connsiteY69" fmla="*/ 1043319 h 1050628"/>
                <a:gd name="connsiteX70" fmla="*/ 704733 w 2449768"/>
                <a:gd name="connsiteY70" fmla="*/ 1050628 h 1050628"/>
                <a:gd name="connsiteX71" fmla="*/ 680408 w 2449768"/>
                <a:gd name="connsiteY71" fmla="*/ 1050628 h 1050628"/>
                <a:gd name="connsiteX72" fmla="*/ 677108 w 2449768"/>
                <a:gd name="connsiteY72" fmla="*/ 1048256 h 1050628"/>
                <a:gd name="connsiteX73" fmla="*/ 683184 w 2449768"/>
                <a:gd name="connsiteY73" fmla="*/ 1023951 h 1050628"/>
                <a:gd name="connsiteX74" fmla="*/ 694197 w 2449768"/>
                <a:gd name="connsiteY74" fmla="*/ 1021293 h 1050628"/>
                <a:gd name="connsiteX75" fmla="*/ 596979 w 2449768"/>
                <a:gd name="connsiteY75" fmla="*/ 1021293 h 1050628"/>
                <a:gd name="connsiteX76" fmla="*/ 610271 w 2449768"/>
                <a:gd name="connsiteY76" fmla="*/ 1030027 h 1050628"/>
                <a:gd name="connsiteX77" fmla="*/ 614069 w 2449768"/>
                <a:gd name="connsiteY77" fmla="*/ 1043319 h 1050628"/>
                <a:gd name="connsiteX78" fmla="*/ 607516 w 2449768"/>
                <a:gd name="connsiteY78" fmla="*/ 1050628 h 1050628"/>
                <a:gd name="connsiteX79" fmla="*/ 583190 w 2449768"/>
                <a:gd name="connsiteY79" fmla="*/ 1050628 h 1050628"/>
                <a:gd name="connsiteX80" fmla="*/ 579890 w 2449768"/>
                <a:gd name="connsiteY80" fmla="*/ 1048256 h 1050628"/>
                <a:gd name="connsiteX81" fmla="*/ 585966 w 2449768"/>
                <a:gd name="connsiteY81" fmla="*/ 1023951 h 1050628"/>
                <a:gd name="connsiteX82" fmla="*/ 596979 w 2449768"/>
                <a:gd name="connsiteY82" fmla="*/ 1021293 h 1050628"/>
                <a:gd name="connsiteX83" fmla="*/ 1086106 w 2449768"/>
                <a:gd name="connsiteY83" fmla="*/ 1015217 h 1050628"/>
                <a:gd name="connsiteX84" fmla="*/ 1099398 w 2449768"/>
                <a:gd name="connsiteY84" fmla="*/ 1023951 h 1050628"/>
                <a:gd name="connsiteX85" fmla="*/ 1093322 w 2449768"/>
                <a:gd name="connsiteY85" fmla="*/ 1048256 h 1050628"/>
                <a:gd name="connsiteX86" fmla="*/ 1082478 w 2449768"/>
                <a:gd name="connsiteY86" fmla="*/ 1050628 h 1050628"/>
                <a:gd name="connsiteX87" fmla="*/ 1080771 w 2449768"/>
                <a:gd name="connsiteY87" fmla="*/ 1050628 h 1050628"/>
                <a:gd name="connsiteX88" fmla="*/ 1069017 w 2449768"/>
                <a:gd name="connsiteY88" fmla="*/ 1042180 h 1050628"/>
                <a:gd name="connsiteX89" fmla="*/ 1075093 w 2449768"/>
                <a:gd name="connsiteY89" fmla="*/ 1017875 h 1050628"/>
                <a:gd name="connsiteX90" fmla="*/ 1086106 w 2449768"/>
                <a:gd name="connsiteY90" fmla="*/ 1015217 h 1050628"/>
                <a:gd name="connsiteX91" fmla="*/ 1313961 w 2449768"/>
                <a:gd name="connsiteY91" fmla="*/ 1009141 h 1050628"/>
                <a:gd name="connsiteX92" fmla="*/ 1327253 w 2449768"/>
                <a:gd name="connsiteY92" fmla="*/ 1017875 h 1050628"/>
                <a:gd name="connsiteX93" fmla="*/ 1321177 w 2449768"/>
                <a:gd name="connsiteY93" fmla="*/ 1042180 h 1050628"/>
                <a:gd name="connsiteX94" fmla="*/ 1296872 w 2449768"/>
                <a:gd name="connsiteY94" fmla="*/ 1036104 h 1050628"/>
                <a:gd name="connsiteX95" fmla="*/ 1302948 w 2449768"/>
                <a:gd name="connsiteY95" fmla="*/ 1011799 h 1050628"/>
                <a:gd name="connsiteX96" fmla="*/ 1313961 w 2449768"/>
                <a:gd name="connsiteY96" fmla="*/ 1009141 h 1050628"/>
                <a:gd name="connsiteX97" fmla="*/ 2337788 w 2449768"/>
                <a:gd name="connsiteY97" fmla="*/ 996989 h 1050628"/>
                <a:gd name="connsiteX98" fmla="*/ 2351080 w 2449768"/>
                <a:gd name="connsiteY98" fmla="*/ 1005723 h 1050628"/>
                <a:gd name="connsiteX99" fmla="*/ 2345004 w 2449768"/>
                <a:gd name="connsiteY99" fmla="*/ 1030028 h 1050628"/>
                <a:gd name="connsiteX100" fmla="*/ 2320699 w 2449768"/>
                <a:gd name="connsiteY100" fmla="*/ 1023952 h 1050628"/>
                <a:gd name="connsiteX101" fmla="*/ 2326775 w 2449768"/>
                <a:gd name="connsiteY101" fmla="*/ 999647 h 1050628"/>
                <a:gd name="connsiteX102" fmla="*/ 2337788 w 2449768"/>
                <a:gd name="connsiteY102" fmla="*/ 996989 h 1050628"/>
                <a:gd name="connsiteX103" fmla="*/ 1429407 w 2449768"/>
                <a:gd name="connsiteY103" fmla="*/ 990912 h 1050628"/>
                <a:gd name="connsiteX104" fmla="*/ 1442699 w 2449768"/>
                <a:gd name="connsiteY104" fmla="*/ 999646 h 1050628"/>
                <a:gd name="connsiteX105" fmla="*/ 1436623 w 2449768"/>
                <a:gd name="connsiteY105" fmla="*/ 1023951 h 1050628"/>
                <a:gd name="connsiteX106" fmla="*/ 1412318 w 2449768"/>
                <a:gd name="connsiteY106" fmla="*/ 1017875 h 1050628"/>
                <a:gd name="connsiteX107" fmla="*/ 1418394 w 2449768"/>
                <a:gd name="connsiteY107" fmla="*/ 993570 h 1050628"/>
                <a:gd name="connsiteX108" fmla="*/ 1429407 w 2449768"/>
                <a:gd name="connsiteY108" fmla="*/ 990912 h 1050628"/>
                <a:gd name="connsiteX109" fmla="*/ 1672452 w 2449768"/>
                <a:gd name="connsiteY109" fmla="*/ 987874 h 1050628"/>
                <a:gd name="connsiteX110" fmla="*/ 1685744 w 2449768"/>
                <a:gd name="connsiteY110" fmla="*/ 996608 h 1050628"/>
                <a:gd name="connsiteX111" fmla="*/ 1679668 w 2449768"/>
                <a:gd name="connsiteY111" fmla="*/ 1020913 h 1050628"/>
                <a:gd name="connsiteX112" fmla="*/ 1655363 w 2449768"/>
                <a:gd name="connsiteY112" fmla="*/ 1014837 h 1050628"/>
                <a:gd name="connsiteX113" fmla="*/ 1661439 w 2449768"/>
                <a:gd name="connsiteY113" fmla="*/ 990532 h 1050628"/>
                <a:gd name="connsiteX114" fmla="*/ 1672452 w 2449768"/>
                <a:gd name="connsiteY114" fmla="*/ 987874 h 1050628"/>
                <a:gd name="connsiteX115" fmla="*/ 1803089 w 2449768"/>
                <a:gd name="connsiteY115" fmla="*/ 975722 h 1050628"/>
                <a:gd name="connsiteX116" fmla="*/ 1816381 w 2449768"/>
                <a:gd name="connsiteY116" fmla="*/ 984456 h 1050628"/>
                <a:gd name="connsiteX117" fmla="*/ 1810305 w 2449768"/>
                <a:gd name="connsiteY117" fmla="*/ 1008761 h 1050628"/>
                <a:gd name="connsiteX118" fmla="*/ 1786000 w 2449768"/>
                <a:gd name="connsiteY118" fmla="*/ 1002685 h 1050628"/>
                <a:gd name="connsiteX119" fmla="*/ 1792076 w 2449768"/>
                <a:gd name="connsiteY119" fmla="*/ 978380 h 1050628"/>
                <a:gd name="connsiteX120" fmla="*/ 1803089 w 2449768"/>
                <a:gd name="connsiteY120" fmla="*/ 975722 h 1050628"/>
                <a:gd name="connsiteX121" fmla="*/ 2030944 w 2449768"/>
                <a:gd name="connsiteY121" fmla="*/ 969646 h 1050628"/>
                <a:gd name="connsiteX122" fmla="*/ 2044236 w 2449768"/>
                <a:gd name="connsiteY122" fmla="*/ 978380 h 1050628"/>
                <a:gd name="connsiteX123" fmla="*/ 2038160 w 2449768"/>
                <a:gd name="connsiteY123" fmla="*/ 1002685 h 1050628"/>
                <a:gd name="connsiteX124" fmla="*/ 2013855 w 2449768"/>
                <a:gd name="connsiteY124" fmla="*/ 996609 h 1050628"/>
                <a:gd name="connsiteX125" fmla="*/ 2019931 w 2449768"/>
                <a:gd name="connsiteY125" fmla="*/ 972304 h 1050628"/>
                <a:gd name="connsiteX126" fmla="*/ 2030944 w 2449768"/>
                <a:gd name="connsiteY126" fmla="*/ 969646 h 1050628"/>
                <a:gd name="connsiteX127" fmla="*/ 405581 w 2449768"/>
                <a:gd name="connsiteY127" fmla="*/ 966608 h 1050628"/>
                <a:gd name="connsiteX128" fmla="*/ 418873 w 2449768"/>
                <a:gd name="connsiteY128" fmla="*/ 975342 h 1050628"/>
                <a:gd name="connsiteX129" fmla="*/ 412797 w 2449768"/>
                <a:gd name="connsiteY129" fmla="*/ 999647 h 1050628"/>
                <a:gd name="connsiteX130" fmla="*/ 388492 w 2449768"/>
                <a:gd name="connsiteY130" fmla="*/ 993571 h 1050628"/>
                <a:gd name="connsiteX131" fmla="*/ 394568 w 2449768"/>
                <a:gd name="connsiteY131" fmla="*/ 969266 h 1050628"/>
                <a:gd name="connsiteX132" fmla="*/ 405581 w 2449768"/>
                <a:gd name="connsiteY132" fmla="*/ 966608 h 1050628"/>
                <a:gd name="connsiteX133" fmla="*/ 2225380 w 2449768"/>
                <a:gd name="connsiteY133" fmla="*/ 957494 h 1050628"/>
                <a:gd name="connsiteX134" fmla="*/ 2238671 w 2449768"/>
                <a:gd name="connsiteY134" fmla="*/ 966228 h 1050628"/>
                <a:gd name="connsiteX135" fmla="*/ 2232595 w 2449768"/>
                <a:gd name="connsiteY135" fmla="*/ 990533 h 1050628"/>
                <a:gd name="connsiteX136" fmla="*/ 2208290 w 2449768"/>
                <a:gd name="connsiteY136" fmla="*/ 984457 h 1050628"/>
                <a:gd name="connsiteX137" fmla="*/ 2214366 w 2449768"/>
                <a:gd name="connsiteY137" fmla="*/ 960152 h 1050628"/>
                <a:gd name="connsiteX138" fmla="*/ 2225380 w 2449768"/>
                <a:gd name="connsiteY138" fmla="*/ 957494 h 1050628"/>
                <a:gd name="connsiteX139" fmla="*/ 1927649 w 2449768"/>
                <a:gd name="connsiteY139" fmla="*/ 954456 h 1050628"/>
                <a:gd name="connsiteX140" fmla="*/ 1940941 w 2449768"/>
                <a:gd name="connsiteY140" fmla="*/ 963190 h 1050628"/>
                <a:gd name="connsiteX141" fmla="*/ 1934865 w 2449768"/>
                <a:gd name="connsiteY141" fmla="*/ 987495 h 1050628"/>
                <a:gd name="connsiteX142" fmla="*/ 1910560 w 2449768"/>
                <a:gd name="connsiteY142" fmla="*/ 981419 h 1050628"/>
                <a:gd name="connsiteX143" fmla="*/ 1916636 w 2449768"/>
                <a:gd name="connsiteY143" fmla="*/ 957114 h 1050628"/>
                <a:gd name="connsiteX144" fmla="*/ 1927649 w 2449768"/>
                <a:gd name="connsiteY144" fmla="*/ 954456 h 1050628"/>
                <a:gd name="connsiteX145" fmla="*/ 244564 w 2449768"/>
                <a:gd name="connsiteY145" fmla="*/ 954456 h 1050628"/>
                <a:gd name="connsiteX146" fmla="*/ 257856 w 2449768"/>
                <a:gd name="connsiteY146" fmla="*/ 963190 h 1050628"/>
                <a:gd name="connsiteX147" fmla="*/ 251780 w 2449768"/>
                <a:gd name="connsiteY147" fmla="*/ 987495 h 1050628"/>
                <a:gd name="connsiteX148" fmla="*/ 227475 w 2449768"/>
                <a:gd name="connsiteY148" fmla="*/ 981419 h 1050628"/>
                <a:gd name="connsiteX149" fmla="*/ 233551 w 2449768"/>
                <a:gd name="connsiteY149" fmla="*/ 957114 h 1050628"/>
                <a:gd name="connsiteX150" fmla="*/ 244564 w 2449768"/>
                <a:gd name="connsiteY150" fmla="*/ 954456 h 1050628"/>
                <a:gd name="connsiteX151" fmla="*/ 2431968 w 2449768"/>
                <a:gd name="connsiteY151" fmla="*/ 951418 h 1050628"/>
                <a:gd name="connsiteX152" fmla="*/ 2445260 w 2449768"/>
                <a:gd name="connsiteY152" fmla="*/ 960152 h 1050628"/>
                <a:gd name="connsiteX153" fmla="*/ 2439184 w 2449768"/>
                <a:gd name="connsiteY153" fmla="*/ 984457 h 1050628"/>
                <a:gd name="connsiteX154" fmla="*/ 2414879 w 2449768"/>
                <a:gd name="connsiteY154" fmla="*/ 978381 h 1050628"/>
                <a:gd name="connsiteX155" fmla="*/ 2420955 w 2449768"/>
                <a:gd name="connsiteY155" fmla="*/ 954076 h 1050628"/>
                <a:gd name="connsiteX156" fmla="*/ 2431968 w 2449768"/>
                <a:gd name="connsiteY156" fmla="*/ 951418 h 1050628"/>
                <a:gd name="connsiteX157" fmla="*/ 1553968 w 2449768"/>
                <a:gd name="connsiteY157" fmla="*/ 948380 h 1050628"/>
                <a:gd name="connsiteX158" fmla="*/ 1567259 w 2449768"/>
                <a:gd name="connsiteY158" fmla="*/ 957114 h 1050628"/>
                <a:gd name="connsiteX159" fmla="*/ 1561183 w 2449768"/>
                <a:gd name="connsiteY159" fmla="*/ 981419 h 1050628"/>
                <a:gd name="connsiteX160" fmla="*/ 1536879 w 2449768"/>
                <a:gd name="connsiteY160" fmla="*/ 975343 h 1050628"/>
                <a:gd name="connsiteX161" fmla="*/ 1542955 w 2449768"/>
                <a:gd name="connsiteY161" fmla="*/ 951038 h 1050628"/>
                <a:gd name="connsiteX162" fmla="*/ 1553968 w 2449768"/>
                <a:gd name="connsiteY162" fmla="*/ 948380 h 1050628"/>
                <a:gd name="connsiteX163" fmla="*/ 1222819 w 2449768"/>
                <a:gd name="connsiteY163" fmla="*/ 933189 h 1050628"/>
                <a:gd name="connsiteX164" fmla="*/ 1236111 w 2449768"/>
                <a:gd name="connsiteY164" fmla="*/ 941923 h 1050628"/>
                <a:gd name="connsiteX165" fmla="*/ 1230035 w 2449768"/>
                <a:gd name="connsiteY165" fmla="*/ 966228 h 1050628"/>
                <a:gd name="connsiteX166" fmla="*/ 1205730 w 2449768"/>
                <a:gd name="connsiteY166" fmla="*/ 960152 h 1050628"/>
                <a:gd name="connsiteX167" fmla="*/ 1211806 w 2449768"/>
                <a:gd name="connsiteY167" fmla="*/ 935847 h 1050628"/>
                <a:gd name="connsiteX168" fmla="*/ 1222819 w 2449768"/>
                <a:gd name="connsiteY168" fmla="*/ 933189 h 1050628"/>
                <a:gd name="connsiteX169" fmla="*/ 1031421 w 2449768"/>
                <a:gd name="connsiteY169" fmla="*/ 930151 h 1050628"/>
                <a:gd name="connsiteX170" fmla="*/ 1044713 w 2449768"/>
                <a:gd name="connsiteY170" fmla="*/ 938885 h 1050628"/>
                <a:gd name="connsiteX171" fmla="*/ 1038637 w 2449768"/>
                <a:gd name="connsiteY171" fmla="*/ 963190 h 1050628"/>
                <a:gd name="connsiteX172" fmla="*/ 1014332 w 2449768"/>
                <a:gd name="connsiteY172" fmla="*/ 957114 h 1050628"/>
                <a:gd name="connsiteX173" fmla="*/ 1020408 w 2449768"/>
                <a:gd name="connsiteY173" fmla="*/ 932809 h 1050628"/>
                <a:gd name="connsiteX174" fmla="*/ 1031421 w 2449768"/>
                <a:gd name="connsiteY174" fmla="*/ 930151 h 1050628"/>
                <a:gd name="connsiteX175" fmla="*/ 931165 w 2449768"/>
                <a:gd name="connsiteY175" fmla="*/ 930151 h 1050628"/>
                <a:gd name="connsiteX176" fmla="*/ 944457 w 2449768"/>
                <a:gd name="connsiteY176" fmla="*/ 938885 h 1050628"/>
                <a:gd name="connsiteX177" fmla="*/ 938381 w 2449768"/>
                <a:gd name="connsiteY177" fmla="*/ 963190 h 1050628"/>
                <a:gd name="connsiteX178" fmla="*/ 914076 w 2449768"/>
                <a:gd name="connsiteY178" fmla="*/ 957114 h 1050628"/>
                <a:gd name="connsiteX179" fmla="*/ 920152 w 2449768"/>
                <a:gd name="connsiteY179" fmla="*/ 932809 h 1050628"/>
                <a:gd name="connsiteX180" fmla="*/ 931165 w 2449768"/>
                <a:gd name="connsiteY180" fmla="*/ 930151 h 1050628"/>
                <a:gd name="connsiteX181" fmla="*/ 123041 w 2449768"/>
                <a:gd name="connsiteY181" fmla="*/ 930151 h 1050628"/>
                <a:gd name="connsiteX182" fmla="*/ 136333 w 2449768"/>
                <a:gd name="connsiteY182" fmla="*/ 938885 h 1050628"/>
                <a:gd name="connsiteX183" fmla="*/ 130257 w 2449768"/>
                <a:gd name="connsiteY183" fmla="*/ 963190 h 1050628"/>
                <a:gd name="connsiteX184" fmla="*/ 105952 w 2449768"/>
                <a:gd name="connsiteY184" fmla="*/ 957114 h 1050628"/>
                <a:gd name="connsiteX185" fmla="*/ 112028 w 2449768"/>
                <a:gd name="connsiteY185" fmla="*/ 932809 h 1050628"/>
                <a:gd name="connsiteX186" fmla="*/ 123041 w 2449768"/>
                <a:gd name="connsiteY186" fmla="*/ 930151 h 1050628"/>
                <a:gd name="connsiteX187" fmla="*/ 524065 w 2449768"/>
                <a:gd name="connsiteY187" fmla="*/ 917999 h 1050628"/>
                <a:gd name="connsiteX188" fmla="*/ 537357 w 2449768"/>
                <a:gd name="connsiteY188" fmla="*/ 926733 h 1050628"/>
                <a:gd name="connsiteX189" fmla="*/ 531281 w 2449768"/>
                <a:gd name="connsiteY189" fmla="*/ 951038 h 1050628"/>
                <a:gd name="connsiteX190" fmla="*/ 506976 w 2449768"/>
                <a:gd name="connsiteY190" fmla="*/ 944962 h 1050628"/>
                <a:gd name="connsiteX191" fmla="*/ 513052 w 2449768"/>
                <a:gd name="connsiteY191" fmla="*/ 920657 h 1050628"/>
                <a:gd name="connsiteX192" fmla="*/ 524065 w 2449768"/>
                <a:gd name="connsiteY192" fmla="*/ 917999 h 1050628"/>
                <a:gd name="connsiteX193" fmla="*/ 824833 w 2449768"/>
                <a:gd name="connsiteY193" fmla="*/ 911923 h 1050628"/>
                <a:gd name="connsiteX194" fmla="*/ 838125 w 2449768"/>
                <a:gd name="connsiteY194" fmla="*/ 920657 h 1050628"/>
                <a:gd name="connsiteX195" fmla="*/ 832049 w 2449768"/>
                <a:gd name="connsiteY195" fmla="*/ 944962 h 1050628"/>
                <a:gd name="connsiteX196" fmla="*/ 807744 w 2449768"/>
                <a:gd name="connsiteY196" fmla="*/ 938886 h 1050628"/>
                <a:gd name="connsiteX197" fmla="*/ 813820 w 2449768"/>
                <a:gd name="connsiteY197" fmla="*/ 914581 h 1050628"/>
                <a:gd name="connsiteX198" fmla="*/ 824833 w 2449768"/>
                <a:gd name="connsiteY198" fmla="*/ 911923 h 1050628"/>
                <a:gd name="connsiteX199" fmla="*/ 2137276 w 2449768"/>
                <a:gd name="connsiteY199" fmla="*/ 905847 h 1050628"/>
                <a:gd name="connsiteX200" fmla="*/ 2150567 w 2449768"/>
                <a:gd name="connsiteY200" fmla="*/ 914581 h 1050628"/>
                <a:gd name="connsiteX201" fmla="*/ 2144491 w 2449768"/>
                <a:gd name="connsiteY201" fmla="*/ 938886 h 1050628"/>
                <a:gd name="connsiteX202" fmla="*/ 2120187 w 2449768"/>
                <a:gd name="connsiteY202" fmla="*/ 932810 h 1050628"/>
                <a:gd name="connsiteX203" fmla="*/ 2126263 w 2449768"/>
                <a:gd name="connsiteY203" fmla="*/ 908505 h 1050628"/>
                <a:gd name="connsiteX204" fmla="*/ 2137276 w 2449768"/>
                <a:gd name="connsiteY204" fmla="*/ 905847 h 1050628"/>
                <a:gd name="connsiteX205" fmla="*/ 630397 w 2449768"/>
                <a:gd name="connsiteY205" fmla="*/ 905847 h 1050628"/>
                <a:gd name="connsiteX206" fmla="*/ 643689 w 2449768"/>
                <a:gd name="connsiteY206" fmla="*/ 914581 h 1050628"/>
                <a:gd name="connsiteX207" fmla="*/ 637613 w 2449768"/>
                <a:gd name="connsiteY207" fmla="*/ 938886 h 1050628"/>
                <a:gd name="connsiteX208" fmla="*/ 613308 w 2449768"/>
                <a:gd name="connsiteY208" fmla="*/ 932810 h 1050628"/>
                <a:gd name="connsiteX209" fmla="*/ 619384 w 2449768"/>
                <a:gd name="connsiteY209" fmla="*/ 908505 h 1050628"/>
                <a:gd name="connsiteX210" fmla="*/ 630397 w 2449768"/>
                <a:gd name="connsiteY210" fmla="*/ 905847 h 1050628"/>
                <a:gd name="connsiteX211" fmla="*/ 1332189 w 2449768"/>
                <a:gd name="connsiteY211" fmla="*/ 896733 h 1050628"/>
                <a:gd name="connsiteX212" fmla="*/ 1345481 w 2449768"/>
                <a:gd name="connsiteY212" fmla="*/ 905467 h 1050628"/>
                <a:gd name="connsiteX213" fmla="*/ 1339405 w 2449768"/>
                <a:gd name="connsiteY213" fmla="*/ 929772 h 1050628"/>
                <a:gd name="connsiteX214" fmla="*/ 1315100 w 2449768"/>
                <a:gd name="connsiteY214" fmla="*/ 923696 h 1050628"/>
                <a:gd name="connsiteX215" fmla="*/ 1321176 w 2449768"/>
                <a:gd name="connsiteY215" fmla="*/ 899391 h 1050628"/>
                <a:gd name="connsiteX216" fmla="*/ 1332189 w 2449768"/>
                <a:gd name="connsiteY216" fmla="*/ 896733 h 1050628"/>
                <a:gd name="connsiteX217" fmla="*/ 724577 w 2449768"/>
                <a:gd name="connsiteY217" fmla="*/ 890656 h 1050628"/>
                <a:gd name="connsiteX218" fmla="*/ 737869 w 2449768"/>
                <a:gd name="connsiteY218" fmla="*/ 899390 h 1050628"/>
                <a:gd name="connsiteX219" fmla="*/ 731793 w 2449768"/>
                <a:gd name="connsiteY219" fmla="*/ 923695 h 1050628"/>
                <a:gd name="connsiteX220" fmla="*/ 707488 w 2449768"/>
                <a:gd name="connsiteY220" fmla="*/ 917619 h 1050628"/>
                <a:gd name="connsiteX221" fmla="*/ 713564 w 2449768"/>
                <a:gd name="connsiteY221" fmla="*/ 893314 h 1050628"/>
                <a:gd name="connsiteX222" fmla="*/ 724577 w 2449768"/>
                <a:gd name="connsiteY222" fmla="*/ 890656 h 1050628"/>
                <a:gd name="connsiteX223" fmla="*/ 1435484 w 2449768"/>
                <a:gd name="connsiteY223" fmla="*/ 884580 h 1050628"/>
                <a:gd name="connsiteX224" fmla="*/ 1448776 w 2449768"/>
                <a:gd name="connsiteY224" fmla="*/ 893314 h 1050628"/>
                <a:gd name="connsiteX225" fmla="*/ 1442700 w 2449768"/>
                <a:gd name="connsiteY225" fmla="*/ 917619 h 1050628"/>
                <a:gd name="connsiteX226" fmla="*/ 1418395 w 2449768"/>
                <a:gd name="connsiteY226" fmla="*/ 911543 h 1050628"/>
                <a:gd name="connsiteX227" fmla="*/ 1424471 w 2449768"/>
                <a:gd name="connsiteY227" fmla="*/ 887238 h 1050628"/>
                <a:gd name="connsiteX228" fmla="*/ 1435484 w 2449768"/>
                <a:gd name="connsiteY228" fmla="*/ 884580 h 1050628"/>
                <a:gd name="connsiteX229" fmla="*/ 1131677 w 2449768"/>
                <a:gd name="connsiteY229" fmla="*/ 884580 h 1050628"/>
                <a:gd name="connsiteX230" fmla="*/ 1144969 w 2449768"/>
                <a:gd name="connsiteY230" fmla="*/ 893314 h 1050628"/>
                <a:gd name="connsiteX231" fmla="*/ 1138893 w 2449768"/>
                <a:gd name="connsiteY231" fmla="*/ 917619 h 1050628"/>
                <a:gd name="connsiteX232" fmla="*/ 1114588 w 2449768"/>
                <a:gd name="connsiteY232" fmla="*/ 911543 h 1050628"/>
                <a:gd name="connsiteX233" fmla="*/ 1120664 w 2449768"/>
                <a:gd name="connsiteY233" fmla="*/ 887238 h 1050628"/>
                <a:gd name="connsiteX234" fmla="*/ 1131677 w 2449768"/>
                <a:gd name="connsiteY234" fmla="*/ 884580 h 1050628"/>
                <a:gd name="connsiteX235" fmla="*/ 1757518 w 2449768"/>
                <a:gd name="connsiteY235" fmla="*/ 881542 h 1050628"/>
                <a:gd name="connsiteX236" fmla="*/ 1770810 w 2449768"/>
                <a:gd name="connsiteY236" fmla="*/ 890276 h 1050628"/>
                <a:gd name="connsiteX237" fmla="*/ 1764734 w 2449768"/>
                <a:gd name="connsiteY237" fmla="*/ 914581 h 1050628"/>
                <a:gd name="connsiteX238" fmla="*/ 1740429 w 2449768"/>
                <a:gd name="connsiteY238" fmla="*/ 908505 h 1050628"/>
                <a:gd name="connsiteX239" fmla="*/ 1746505 w 2449768"/>
                <a:gd name="connsiteY239" fmla="*/ 884200 h 1050628"/>
                <a:gd name="connsiteX240" fmla="*/ 1757518 w 2449768"/>
                <a:gd name="connsiteY240" fmla="*/ 881542 h 1050628"/>
                <a:gd name="connsiteX241" fmla="*/ 1654224 w 2449768"/>
                <a:gd name="connsiteY241" fmla="*/ 881542 h 1050628"/>
                <a:gd name="connsiteX242" fmla="*/ 1667516 w 2449768"/>
                <a:gd name="connsiteY242" fmla="*/ 890276 h 1050628"/>
                <a:gd name="connsiteX243" fmla="*/ 1661440 w 2449768"/>
                <a:gd name="connsiteY243" fmla="*/ 914581 h 1050628"/>
                <a:gd name="connsiteX244" fmla="*/ 1637135 w 2449768"/>
                <a:gd name="connsiteY244" fmla="*/ 908505 h 1050628"/>
                <a:gd name="connsiteX245" fmla="*/ 1643211 w 2449768"/>
                <a:gd name="connsiteY245" fmla="*/ 884200 h 1050628"/>
                <a:gd name="connsiteX246" fmla="*/ 1654224 w 2449768"/>
                <a:gd name="connsiteY246" fmla="*/ 881542 h 1050628"/>
                <a:gd name="connsiteX247" fmla="*/ 2346903 w 2449768"/>
                <a:gd name="connsiteY247" fmla="*/ 878504 h 1050628"/>
                <a:gd name="connsiteX248" fmla="*/ 2360194 w 2449768"/>
                <a:gd name="connsiteY248" fmla="*/ 887238 h 1050628"/>
                <a:gd name="connsiteX249" fmla="*/ 2354118 w 2449768"/>
                <a:gd name="connsiteY249" fmla="*/ 911543 h 1050628"/>
                <a:gd name="connsiteX250" fmla="*/ 2329813 w 2449768"/>
                <a:gd name="connsiteY250" fmla="*/ 905467 h 1050628"/>
                <a:gd name="connsiteX251" fmla="*/ 2335889 w 2449768"/>
                <a:gd name="connsiteY251" fmla="*/ 881162 h 1050628"/>
                <a:gd name="connsiteX252" fmla="*/ 2346903 w 2449768"/>
                <a:gd name="connsiteY252" fmla="*/ 878504 h 1050628"/>
                <a:gd name="connsiteX253" fmla="*/ 320515 w 2449768"/>
                <a:gd name="connsiteY253" fmla="*/ 872428 h 1050628"/>
                <a:gd name="connsiteX254" fmla="*/ 333807 w 2449768"/>
                <a:gd name="connsiteY254" fmla="*/ 881162 h 1050628"/>
                <a:gd name="connsiteX255" fmla="*/ 327731 w 2449768"/>
                <a:gd name="connsiteY255" fmla="*/ 905467 h 1050628"/>
                <a:gd name="connsiteX256" fmla="*/ 303426 w 2449768"/>
                <a:gd name="connsiteY256" fmla="*/ 899391 h 1050628"/>
                <a:gd name="connsiteX257" fmla="*/ 309502 w 2449768"/>
                <a:gd name="connsiteY257" fmla="*/ 875086 h 1050628"/>
                <a:gd name="connsiteX258" fmla="*/ 320515 w 2449768"/>
                <a:gd name="connsiteY258" fmla="*/ 872428 h 1050628"/>
                <a:gd name="connsiteX259" fmla="*/ 1876003 w 2449768"/>
                <a:gd name="connsiteY259" fmla="*/ 866352 h 1050628"/>
                <a:gd name="connsiteX260" fmla="*/ 1889294 w 2449768"/>
                <a:gd name="connsiteY260" fmla="*/ 875086 h 1050628"/>
                <a:gd name="connsiteX261" fmla="*/ 1883218 w 2449768"/>
                <a:gd name="connsiteY261" fmla="*/ 899391 h 1050628"/>
                <a:gd name="connsiteX262" fmla="*/ 1858913 w 2449768"/>
                <a:gd name="connsiteY262" fmla="*/ 893315 h 1050628"/>
                <a:gd name="connsiteX263" fmla="*/ 1864989 w 2449768"/>
                <a:gd name="connsiteY263" fmla="*/ 869010 h 1050628"/>
                <a:gd name="connsiteX264" fmla="*/ 1876003 w 2449768"/>
                <a:gd name="connsiteY264" fmla="*/ 866352 h 1050628"/>
                <a:gd name="connsiteX265" fmla="*/ 2000563 w 2449768"/>
                <a:gd name="connsiteY265" fmla="*/ 857238 h 1050628"/>
                <a:gd name="connsiteX266" fmla="*/ 2013855 w 2449768"/>
                <a:gd name="connsiteY266" fmla="*/ 865972 h 1050628"/>
                <a:gd name="connsiteX267" fmla="*/ 2007779 w 2449768"/>
                <a:gd name="connsiteY267" fmla="*/ 890277 h 1050628"/>
                <a:gd name="connsiteX268" fmla="*/ 1983474 w 2449768"/>
                <a:gd name="connsiteY268" fmla="*/ 884201 h 1050628"/>
                <a:gd name="connsiteX269" fmla="*/ 1989550 w 2449768"/>
                <a:gd name="connsiteY269" fmla="*/ 859896 h 1050628"/>
                <a:gd name="connsiteX270" fmla="*/ 2000563 w 2449768"/>
                <a:gd name="connsiteY270" fmla="*/ 857238 h 1050628"/>
                <a:gd name="connsiteX271" fmla="*/ 420771 w 2449768"/>
                <a:gd name="connsiteY271" fmla="*/ 857238 h 1050628"/>
                <a:gd name="connsiteX272" fmla="*/ 434062 w 2449768"/>
                <a:gd name="connsiteY272" fmla="*/ 865972 h 1050628"/>
                <a:gd name="connsiteX273" fmla="*/ 427986 w 2449768"/>
                <a:gd name="connsiteY273" fmla="*/ 890277 h 1050628"/>
                <a:gd name="connsiteX274" fmla="*/ 403682 w 2449768"/>
                <a:gd name="connsiteY274" fmla="*/ 884201 h 1050628"/>
                <a:gd name="connsiteX275" fmla="*/ 409758 w 2449768"/>
                <a:gd name="connsiteY275" fmla="*/ 859896 h 1050628"/>
                <a:gd name="connsiteX276" fmla="*/ 420771 w 2449768"/>
                <a:gd name="connsiteY276" fmla="*/ 857238 h 1050628"/>
                <a:gd name="connsiteX277" fmla="*/ 2237532 w 2449768"/>
                <a:gd name="connsiteY277" fmla="*/ 848124 h 1050628"/>
                <a:gd name="connsiteX278" fmla="*/ 2250824 w 2449768"/>
                <a:gd name="connsiteY278" fmla="*/ 856858 h 1050628"/>
                <a:gd name="connsiteX279" fmla="*/ 2244748 w 2449768"/>
                <a:gd name="connsiteY279" fmla="*/ 881163 h 1050628"/>
                <a:gd name="connsiteX280" fmla="*/ 2220443 w 2449768"/>
                <a:gd name="connsiteY280" fmla="*/ 875087 h 1050628"/>
                <a:gd name="connsiteX281" fmla="*/ 2226519 w 2449768"/>
                <a:gd name="connsiteY281" fmla="*/ 850782 h 1050628"/>
                <a:gd name="connsiteX282" fmla="*/ 2237532 w 2449768"/>
                <a:gd name="connsiteY282" fmla="*/ 848124 h 1050628"/>
                <a:gd name="connsiteX283" fmla="*/ 211145 w 2449768"/>
                <a:gd name="connsiteY283" fmla="*/ 848124 h 1050628"/>
                <a:gd name="connsiteX284" fmla="*/ 224436 w 2449768"/>
                <a:gd name="connsiteY284" fmla="*/ 856858 h 1050628"/>
                <a:gd name="connsiteX285" fmla="*/ 218360 w 2449768"/>
                <a:gd name="connsiteY285" fmla="*/ 881163 h 1050628"/>
                <a:gd name="connsiteX286" fmla="*/ 194056 w 2449768"/>
                <a:gd name="connsiteY286" fmla="*/ 875087 h 1050628"/>
                <a:gd name="connsiteX287" fmla="*/ 200132 w 2449768"/>
                <a:gd name="connsiteY287" fmla="*/ 850782 h 1050628"/>
                <a:gd name="connsiteX288" fmla="*/ 211145 w 2449768"/>
                <a:gd name="connsiteY288" fmla="*/ 848124 h 1050628"/>
                <a:gd name="connsiteX289" fmla="*/ 1511435 w 2449768"/>
                <a:gd name="connsiteY289" fmla="*/ 839009 h 1050628"/>
                <a:gd name="connsiteX290" fmla="*/ 1524727 w 2449768"/>
                <a:gd name="connsiteY290" fmla="*/ 847743 h 1050628"/>
                <a:gd name="connsiteX291" fmla="*/ 1518651 w 2449768"/>
                <a:gd name="connsiteY291" fmla="*/ 872048 h 1050628"/>
                <a:gd name="connsiteX292" fmla="*/ 1494346 w 2449768"/>
                <a:gd name="connsiteY292" fmla="*/ 865972 h 1050628"/>
                <a:gd name="connsiteX293" fmla="*/ 1500422 w 2449768"/>
                <a:gd name="connsiteY293" fmla="*/ 841667 h 1050628"/>
                <a:gd name="connsiteX294" fmla="*/ 1511435 w 2449768"/>
                <a:gd name="connsiteY294" fmla="*/ 839009 h 1050628"/>
                <a:gd name="connsiteX295" fmla="*/ 1253200 w 2449768"/>
                <a:gd name="connsiteY295" fmla="*/ 826857 h 1050628"/>
                <a:gd name="connsiteX296" fmla="*/ 1266492 w 2449768"/>
                <a:gd name="connsiteY296" fmla="*/ 835591 h 1050628"/>
                <a:gd name="connsiteX297" fmla="*/ 1260416 w 2449768"/>
                <a:gd name="connsiteY297" fmla="*/ 859896 h 1050628"/>
                <a:gd name="connsiteX298" fmla="*/ 1236111 w 2449768"/>
                <a:gd name="connsiteY298" fmla="*/ 853820 h 1050628"/>
                <a:gd name="connsiteX299" fmla="*/ 1242187 w 2449768"/>
                <a:gd name="connsiteY299" fmla="*/ 829515 h 1050628"/>
                <a:gd name="connsiteX300" fmla="*/ 1253200 w 2449768"/>
                <a:gd name="connsiteY300" fmla="*/ 826857 h 1050628"/>
                <a:gd name="connsiteX301" fmla="*/ 2428930 w 2449768"/>
                <a:gd name="connsiteY301" fmla="*/ 814705 h 1050628"/>
                <a:gd name="connsiteX302" fmla="*/ 2442221 w 2449768"/>
                <a:gd name="connsiteY302" fmla="*/ 823439 h 1050628"/>
                <a:gd name="connsiteX303" fmla="*/ 2436145 w 2449768"/>
                <a:gd name="connsiteY303" fmla="*/ 847744 h 1050628"/>
                <a:gd name="connsiteX304" fmla="*/ 2411841 w 2449768"/>
                <a:gd name="connsiteY304" fmla="*/ 841668 h 1050628"/>
                <a:gd name="connsiteX305" fmla="*/ 2417917 w 2449768"/>
                <a:gd name="connsiteY305" fmla="*/ 817363 h 1050628"/>
                <a:gd name="connsiteX306" fmla="*/ 2428930 w 2449768"/>
                <a:gd name="connsiteY306" fmla="*/ 814705 h 1050628"/>
                <a:gd name="connsiteX307" fmla="*/ 991927 w 2449768"/>
                <a:gd name="connsiteY307" fmla="*/ 814705 h 1050628"/>
                <a:gd name="connsiteX308" fmla="*/ 1005218 w 2449768"/>
                <a:gd name="connsiteY308" fmla="*/ 823439 h 1050628"/>
                <a:gd name="connsiteX309" fmla="*/ 999142 w 2449768"/>
                <a:gd name="connsiteY309" fmla="*/ 847744 h 1050628"/>
                <a:gd name="connsiteX310" fmla="*/ 974838 w 2449768"/>
                <a:gd name="connsiteY310" fmla="*/ 841668 h 1050628"/>
                <a:gd name="connsiteX311" fmla="*/ 980914 w 2449768"/>
                <a:gd name="connsiteY311" fmla="*/ 817363 h 1050628"/>
                <a:gd name="connsiteX312" fmla="*/ 991927 w 2449768"/>
                <a:gd name="connsiteY312" fmla="*/ 814705 h 1050628"/>
                <a:gd name="connsiteX313" fmla="*/ 894709 w 2449768"/>
                <a:gd name="connsiteY313" fmla="*/ 814705 h 1050628"/>
                <a:gd name="connsiteX314" fmla="*/ 908001 w 2449768"/>
                <a:gd name="connsiteY314" fmla="*/ 823439 h 1050628"/>
                <a:gd name="connsiteX315" fmla="*/ 901925 w 2449768"/>
                <a:gd name="connsiteY315" fmla="*/ 847744 h 1050628"/>
                <a:gd name="connsiteX316" fmla="*/ 877620 w 2449768"/>
                <a:gd name="connsiteY316" fmla="*/ 841668 h 1050628"/>
                <a:gd name="connsiteX317" fmla="*/ 883696 w 2449768"/>
                <a:gd name="connsiteY317" fmla="*/ 817363 h 1050628"/>
                <a:gd name="connsiteX318" fmla="*/ 894709 w 2449768"/>
                <a:gd name="connsiteY318" fmla="*/ 814705 h 1050628"/>
                <a:gd name="connsiteX319" fmla="*/ 2088668 w 2449768"/>
                <a:gd name="connsiteY319" fmla="*/ 805591 h 1050628"/>
                <a:gd name="connsiteX320" fmla="*/ 2101959 w 2449768"/>
                <a:gd name="connsiteY320" fmla="*/ 814325 h 1050628"/>
                <a:gd name="connsiteX321" fmla="*/ 2095883 w 2449768"/>
                <a:gd name="connsiteY321" fmla="*/ 838630 h 1050628"/>
                <a:gd name="connsiteX322" fmla="*/ 2071578 w 2449768"/>
                <a:gd name="connsiteY322" fmla="*/ 832554 h 1050628"/>
                <a:gd name="connsiteX323" fmla="*/ 2077654 w 2449768"/>
                <a:gd name="connsiteY323" fmla="*/ 808249 h 1050628"/>
                <a:gd name="connsiteX324" fmla="*/ 2088668 w 2449768"/>
                <a:gd name="connsiteY324" fmla="*/ 805591 h 1050628"/>
                <a:gd name="connsiteX325" fmla="*/ 575712 w 2449768"/>
                <a:gd name="connsiteY325" fmla="*/ 802553 h 1050628"/>
                <a:gd name="connsiteX326" fmla="*/ 589004 w 2449768"/>
                <a:gd name="connsiteY326" fmla="*/ 811287 h 1050628"/>
                <a:gd name="connsiteX327" fmla="*/ 582928 w 2449768"/>
                <a:gd name="connsiteY327" fmla="*/ 835592 h 1050628"/>
                <a:gd name="connsiteX328" fmla="*/ 558623 w 2449768"/>
                <a:gd name="connsiteY328" fmla="*/ 829516 h 1050628"/>
                <a:gd name="connsiteX329" fmla="*/ 564699 w 2449768"/>
                <a:gd name="connsiteY329" fmla="*/ 805211 h 1050628"/>
                <a:gd name="connsiteX330" fmla="*/ 575712 w 2449768"/>
                <a:gd name="connsiteY330" fmla="*/ 802553 h 1050628"/>
                <a:gd name="connsiteX331" fmla="*/ 1602577 w 2449768"/>
                <a:gd name="connsiteY331" fmla="*/ 796477 h 1050628"/>
                <a:gd name="connsiteX332" fmla="*/ 1615869 w 2449768"/>
                <a:gd name="connsiteY332" fmla="*/ 805211 h 1050628"/>
                <a:gd name="connsiteX333" fmla="*/ 1609793 w 2449768"/>
                <a:gd name="connsiteY333" fmla="*/ 829516 h 1050628"/>
                <a:gd name="connsiteX334" fmla="*/ 1585488 w 2449768"/>
                <a:gd name="connsiteY334" fmla="*/ 823440 h 1050628"/>
                <a:gd name="connsiteX335" fmla="*/ 1591564 w 2449768"/>
                <a:gd name="connsiteY335" fmla="*/ 799135 h 1050628"/>
                <a:gd name="connsiteX336" fmla="*/ 1602577 w 2449768"/>
                <a:gd name="connsiteY336" fmla="*/ 796477 h 1050628"/>
                <a:gd name="connsiteX337" fmla="*/ 1104335 w 2449768"/>
                <a:gd name="connsiteY337" fmla="*/ 793438 h 1050628"/>
                <a:gd name="connsiteX338" fmla="*/ 1117627 w 2449768"/>
                <a:gd name="connsiteY338" fmla="*/ 802172 h 1050628"/>
                <a:gd name="connsiteX339" fmla="*/ 1111551 w 2449768"/>
                <a:gd name="connsiteY339" fmla="*/ 826477 h 1050628"/>
                <a:gd name="connsiteX340" fmla="*/ 1087246 w 2449768"/>
                <a:gd name="connsiteY340" fmla="*/ 820401 h 1050628"/>
                <a:gd name="connsiteX341" fmla="*/ 1093322 w 2449768"/>
                <a:gd name="connsiteY341" fmla="*/ 796096 h 1050628"/>
                <a:gd name="connsiteX342" fmla="*/ 1104335 w 2449768"/>
                <a:gd name="connsiteY342" fmla="*/ 793438 h 1050628"/>
                <a:gd name="connsiteX343" fmla="*/ 791415 w 2449768"/>
                <a:gd name="connsiteY343" fmla="*/ 793438 h 1050628"/>
                <a:gd name="connsiteX344" fmla="*/ 804707 w 2449768"/>
                <a:gd name="connsiteY344" fmla="*/ 802172 h 1050628"/>
                <a:gd name="connsiteX345" fmla="*/ 798631 w 2449768"/>
                <a:gd name="connsiteY345" fmla="*/ 826477 h 1050628"/>
                <a:gd name="connsiteX346" fmla="*/ 774326 w 2449768"/>
                <a:gd name="connsiteY346" fmla="*/ 820401 h 1050628"/>
                <a:gd name="connsiteX347" fmla="*/ 780402 w 2449768"/>
                <a:gd name="connsiteY347" fmla="*/ 796096 h 1050628"/>
                <a:gd name="connsiteX348" fmla="*/ 791415 w 2449768"/>
                <a:gd name="connsiteY348" fmla="*/ 793438 h 1050628"/>
                <a:gd name="connsiteX349" fmla="*/ 1371684 w 2449768"/>
                <a:gd name="connsiteY349" fmla="*/ 784324 h 1050628"/>
                <a:gd name="connsiteX350" fmla="*/ 1384976 w 2449768"/>
                <a:gd name="connsiteY350" fmla="*/ 793058 h 1050628"/>
                <a:gd name="connsiteX351" fmla="*/ 1378900 w 2449768"/>
                <a:gd name="connsiteY351" fmla="*/ 817363 h 1050628"/>
                <a:gd name="connsiteX352" fmla="*/ 1354595 w 2449768"/>
                <a:gd name="connsiteY352" fmla="*/ 811287 h 1050628"/>
                <a:gd name="connsiteX353" fmla="*/ 1360671 w 2449768"/>
                <a:gd name="connsiteY353" fmla="*/ 786982 h 1050628"/>
                <a:gd name="connsiteX354" fmla="*/ 1371684 w 2449768"/>
                <a:gd name="connsiteY354" fmla="*/ 784324 h 1050628"/>
                <a:gd name="connsiteX355" fmla="*/ 472418 w 2449768"/>
                <a:gd name="connsiteY355" fmla="*/ 781286 h 1050628"/>
                <a:gd name="connsiteX356" fmla="*/ 485710 w 2449768"/>
                <a:gd name="connsiteY356" fmla="*/ 790020 h 1050628"/>
                <a:gd name="connsiteX357" fmla="*/ 479634 w 2449768"/>
                <a:gd name="connsiteY357" fmla="*/ 814325 h 1050628"/>
                <a:gd name="connsiteX358" fmla="*/ 455329 w 2449768"/>
                <a:gd name="connsiteY358" fmla="*/ 808249 h 1050628"/>
                <a:gd name="connsiteX359" fmla="*/ 461405 w 2449768"/>
                <a:gd name="connsiteY359" fmla="*/ 783944 h 1050628"/>
                <a:gd name="connsiteX360" fmla="*/ 472418 w 2449768"/>
                <a:gd name="connsiteY360" fmla="*/ 781286 h 1050628"/>
                <a:gd name="connsiteX361" fmla="*/ 1803089 w 2449768"/>
                <a:gd name="connsiteY361" fmla="*/ 778248 h 1050628"/>
                <a:gd name="connsiteX362" fmla="*/ 1816381 w 2449768"/>
                <a:gd name="connsiteY362" fmla="*/ 786982 h 1050628"/>
                <a:gd name="connsiteX363" fmla="*/ 1810305 w 2449768"/>
                <a:gd name="connsiteY363" fmla="*/ 811287 h 1050628"/>
                <a:gd name="connsiteX364" fmla="*/ 1786000 w 2449768"/>
                <a:gd name="connsiteY364" fmla="*/ 805211 h 1050628"/>
                <a:gd name="connsiteX365" fmla="*/ 1792076 w 2449768"/>
                <a:gd name="connsiteY365" fmla="*/ 780906 h 1050628"/>
                <a:gd name="connsiteX366" fmla="*/ 1803089 w 2449768"/>
                <a:gd name="connsiteY366" fmla="*/ 778248 h 1050628"/>
                <a:gd name="connsiteX367" fmla="*/ 675968 w 2449768"/>
                <a:gd name="connsiteY367" fmla="*/ 772172 h 1050628"/>
                <a:gd name="connsiteX368" fmla="*/ 689260 w 2449768"/>
                <a:gd name="connsiteY368" fmla="*/ 780906 h 1050628"/>
                <a:gd name="connsiteX369" fmla="*/ 683184 w 2449768"/>
                <a:gd name="connsiteY369" fmla="*/ 805211 h 1050628"/>
                <a:gd name="connsiteX370" fmla="*/ 658879 w 2449768"/>
                <a:gd name="connsiteY370" fmla="*/ 799135 h 1050628"/>
                <a:gd name="connsiteX371" fmla="*/ 664955 w 2449768"/>
                <a:gd name="connsiteY371" fmla="*/ 774830 h 1050628"/>
                <a:gd name="connsiteX372" fmla="*/ 675968 w 2449768"/>
                <a:gd name="connsiteY372" fmla="*/ 772172 h 1050628"/>
                <a:gd name="connsiteX373" fmla="*/ 302287 w 2449768"/>
                <a:gd name="connsiteY373" fmla="*/ 769134 h 1050628"/>
                <a:gd name="connsiteX374" fmla="*/ 315579 w 2449768"/>
                <a:gd name="connsiteY374" fmla="*/ 777868 h 1050628"/>
                <a:gd name="connsiteX375" fmla="*/ 309503 w 2449768"/>
                <a:gd name="connsiteY375" fmla="*/ 802173 h 1050628"/>
                <a:gd name="connsiteX376" fmla="*/ 285198 w 2449768"/>
                <a:gd name="connsiteY376" fmla="*/ 796097 h 1050628"/>
                <a:gd name="connsiteX377" fmla="*/ 291274 w 2449768"/>
                <a:gd name="connsiteY377" fmla="*/ 771792 h 1050628"/>
                <a:gd name="connsiteX378" fmla="*/ 302287 w 2449768"/>
                <a:gd name="connsiteY378" fmla="*/ 769134 h 1050628"/>
                <a:gd name="connsiteX379" fmla="*/ 2313484 w 2449768"/>
                <a:gd name="connsiteY379" fmla="*/ 766096 h 1050628"/>
                <a:gd name="connsiteX380" fmla="*/ 2326775 w 2449768"/>
                <a:gd name="connsiteY380" fmla="*/ 774830 h 1050628"/>
                <a:gd name="connsiteX381" fmla="*/ 2320699 w 2449768"/>
                <a:gd name="connsiteY381" fmla="*/ 799135 h 1050628"/>
                <a:gd name="connsiteX382" fmla="*/ 2296395 w 2449768"/>
                <a:gd name="connsiteY382" fmla="*/ 793059 h 1050628"/>
                <a:gd name="connsiteX383" fmla="*/ 2302471 w 2449768"/>
                <a:gd name="connsiteY383" fmla="*/ 768754 h 1050628"/>
                <a:gd name="connsiteX384" fmla="*/ 2313484 w 2449768"/>
                <a:gd name="connsiteY384" fmla="*/ 766096 h 1050628"/>
                <a:gd name="connsiteX385" fmla="*/ 1921574 w 2449768"/>
                <a:gd name="connsiteY385" fmla="*/ 766096 h 1050628"/>
                <a:gd name="connsiteX386" fmla="*/ 1934865 w 2449768"/>
                <a:gd name="connsiteY386" fmla="*/ 774830 h 1050628"/>
                <a:gd name="connsiteX387" fmla="*/ 1928789 w 2449768"/>
                <a:gd name="connsiteY387" fmla="*/ 799135 h 1050628"/>
                <a:gd name="connsiteX388" fmla="*/ 1904485 w 2449768"/>
                <a:gd name="connsiteY388" fmla="*/ 793059 h 1050628"/>
                <a:gd name="connsiteX389" fmla="*/ 1910561 w 2449768"/>
                <a:gd name="connsiteY389" fmla="*/ 768754 h 1050628"/>
                <a:gd name="connsiteX390" fmla="*/ 1921574 w 2449768"/>
                <a:gd name="connsiteY390" fmla="*/ 766096 h 1050628"/>
                <a:gd name="connsiteX391" fmla="*/ 2176771 w 2449768"/>
                <a:gd name="connsiteY391" fmla="*/ 756982 h 1050628"/>
                <a:gd name="connsiteX392" fmla="*/ 2190062 w 2449768"/>
                <a:gd name="connsiteY392" fmla="*/ 765716 h 1050628"/>
                <a:gd name="connsiteX393" fmla="*/ 2183986 w 2449768"/>
                <a:gd name="connsiteY393" fmla="*/ 790021 h 1050628"/>
                <a:gd name="connsiteX394" fmla="*/ 2159682 w 2449768"/>
                <a:gd name="connsiteY394" fmla="*/ 783945 h 1050628"/>
                <a:gd name="connsiteX395" fmla="*/ 2165758 w 2449768"/>
                <a:gd name="connsiteY395" fmla="*/ 759640 h 1050628"/>
                <a:gd name="connsiteX396" fmla="*/ 2176771 w 2449768"/>
                <a:gd name="connsiteY396" fmla="*/ 756982 h 1050628"/>
                <a:gd name="connsiteX397" fmla="*/ 1702833 w 2449768"/>
                <a:gd name="connsiteY397" fmla="*/ 750906 h 1050628"/>
                <a:gd name="connsiteX398" fmla="*/ 1716125 w 2449768"/>
                <a:gd name="connsiteY398" fmla="*/ 759640 h 1050628"/>
                <a:gd name="connsiteX399" fmla="*/ 1710049 w 2449768"/>
                <a:gd name="connsiteY399" fmla="*/ 783945 h 1050628"/>
                <a:gd name="connsiteX400" fmla="*/ 1685744 w 2449768"/>
                <a:gd name="connsiteY400" fmla="*/ 777869 h 1050628"/>
                <a:gd name="connsiteX401" fmla="*/ 1691820 w 2449768"/>
                <a:gd name="connsiteY401" fmla="*/ 753564 h 1050628"/>
                <a:gd name="connsiteX402" fmla="*/ 1702833 w 2449768"/>
                <a:gd name="connsiteY402" fmla="*/ 750906 h 1050628"/>
                <a:gd name="connsiteX403" fmla="*/ 1210667 w 2449768"/>
                <a:gd name="connsiteY403" fmla="*/ 741791 h 1050628"/>
                <a:gd name="connsiteX404" fmla="*/ 1223959 w 2449768"/>
                <a:gd name="connsiteY404" fmla="*/ 750525 h 1050628"/>
                <a:gd name="connsiteX405" fmla="*/ 1217883 w 2449768"/>
                <a:gd name="connsiteY405" fmla="*/ 774830 h 1050628"/>
                <a:gd name="connsiteX406" fmla="*/ 1193578 w 2449768"/>
                <a:gd name="connsiteY406" fmla="*/ 768754 h 1050628"/>
                <a:gd name="connsiteX407" fmla="*/ 1199654 w 2449768"/>
                <a:gd name="connsiteY407" fmla="*/ 744449 h 1050628"/>
                <a:gd name="connsiteX408" fmla="*/ 1210667 w 2449768"/>
                <a:gd name="connsiteY408" fmla="*/ 741791 h 1050628"/>
                <a:gd name="connsiteX409" fmla="*/ 1450674 w 2449768"/>
                <a:gd name="connsiteY409" fmla="*/ 723563 h 1050628"/>
                <a:gd name="connsiteX410" fmla="*/ 1463966 w 2449768"/>
                <a:gd name="connsiteY410" fmla="*/ 732297 h 1050628"/>
                <a:gd name="connsiteX411" fmla="*/ 1457890 w 2449768"/>
                <a:gd name="connsiteY411" fmla="*/ 756602 h 1050628"/>
                <a:gd name="connsiteX412" fmla="*/ 1433585 w 2449768"/>
                <a:gd name="connsiteY412" fmla="*/ 750526 h 1050628"/>
                <a:gd name="connsiteX413" fmla="*/ 1439661 w 2449768"/>
                <a:gd name="connsiteY413" fmla="*/ 726221 h 1050628"/>
                <a:gd name="connsiteX414" fmla="*/ 1450674 w 2449768"/>
                <a:gd name="connsiteY414" fmla="*/ 723563 h 1050628"/>
                <a:gd name="connsiteX415" fmla="*/ 2021829 w 2449768"/>
                <a:gd name="connsiteY415" fmla="*/ 720525 h 1050628"/>
                <a:gd name="connsiteX416" fmla="*/ 2035121 w 2449768"/>
                <a:gd name="connsiteY416" fmla="*/ 729259 h 1050628"/>
                <a:gd name="connsiteX417" fmla="*/ 2029045 w 2449768"/>
                <a:gd name="connsiteY417" fmla="*/ 753564 h 1050628"/>
                <a:gd name="connsiteX418" fmla="*/ 2004740 w 2449768"/>
                <a:gd name="connsiteY418" fmla="*/ 747488 h 1050628"/>
                <a:gd name="connsiteX419" fmla="*/ 2010816 w 2449768"/>
                <a:gd name="connsiteY419" fmla="*/ 723183 h 1050628"/>
                <a:gd name="connsiteX420" fmla="*/ 2021829 w 2449768"/>
                <a:gd name="connsiteY420" fmla="*/ 720525 h 1050628"/>
                <a:gd name="connsiteX421" fmla="*/ 387352 w 2449768"/>
                <a:gd name="connsiteY421" fmla="*/ 720525 h 1050628"/>
                <a:gd name="connsiteX422" fmla="*/ 400644 w 2449768"/>
                <a:gd name="connsiteY422" fmla="*/ 729259 h 1050628"/>
                <a:gd name="connsiteX423" fmla="*/ 394568 w 2449768"/>
                <a:gd name="connsiteY423" fmla="*/ 753564 h 1050628"/>
                <a:gd name="connsiteX424" fmla="*/ 370263 w 2449768"/>
                <a:gd name="connsiteY424" fmla="*/ 747488 h 1050628"/>
                <a:gd name="connsiteX425" fmla="*/ 376339 w 2449768"/>
                <a:gd name="connsiteY425" fmla="*/ 723183 h 1050628"/>
                <a:gd name="connsiteX426" fmla="*/ 387352 w 2449768"/>
                <a:gd name="connsiteY426" fmla="*/ 720525 h 1050628"/>
                <a:gd name="connsiteX427" fmla="*/ 1049650 w 2449768"/>
                <a:gd name="connsiteY427" fmla="*/ 702297 h 1050628"/>
                <a:gd name="connsiteX428" fmla="*/ 1062942 w 2449768"/>
                <a:gd name="connsiteY428" fmla="*/ 711031 h 1050628"/>
                <a:gd name="connsiteX429" fmla="*/ 1056866 w 2449768"/>
                <a:gd name="connsiteY429" fmla="*/ 735336 h 1050628"/>
                <a:gd name="connsiteX430" fmla="*/ 1032561 w 2449768"/>
                <a:gd name="connsiteY430" fmla="*/ 729260 h 1050628"/>
                <a:gd name="connsiteX431" fmla="*/ 1038637 w 2449768"/>
                <a:gd name="connsiteY431" fmla="*/ 704955 h 1050628"/>
                <a:gd name="connsiteX432" fmla="*/ 1049650 w 2449768"/>
                <a:gd name="connsiteY432" fmla="*/ 702297 h 1050628"/>
                <a:gd name="connsiteX433" fmla="*/ 931165 w 2449768"/>
                <a:gd name="connsiteY433" fmla="*/ 702297 h 1050628"/>
                <a:gd name="connsiteX434" fmla="*/ 944457 w 2449768"/>
                <a:gd name="connsiteY434" fmla="*/ 711031 h 1050628"/>
                <a:gd name="connsiteX435" fmla="*/ 938381 w 2449768"/>
                <a:gd name="connsiteY435" fmla="*/ 735336 h 1050628"/>
                <a:gd name="connsiteX436" fmla="*/ 914076 w 2449768"/>
                <a:gd name="connsiteY436" fmla="*/ 729260 h 1050628"/>
                <a:gd name="connsiteX437" fmla="*/ 920152 w 2449768"/>
                <a:gd name="connsiteY437" fmla="*/ 704955 h 1050628"/>
                <a:gd name="connsiteX438" fmla="*/ 931165 w 2449768"/>
                <a:gd name="connsiteY438" fmla="*/ 702297 h 1050628"/>
                <a:gd name="connsiteX439" fmla="*/ 1547892 w 2449768"/>
                <a:gd name="connsiteY439" fmla="*/ 699259 h 1050628"/>
                <a:gd name="connsiteX440" fmla="*/ 1561184 w 2449768"/>
                <a:gd name="connsiteY440" fmla="*/ 707993 h 1050628"/>
                <a:gd name="connsiteX441" fmla="*/ 1555108 w 2449768"/>
                <a:gd name="connsiteY441" fmla="*/ 732298 h 1050628"/>
                <a:gd name="connsiteX442" fmla="*/ 1530803 w 2449768"/>
                <a:gd name="connsiteY442" fmla="*/ 726222 h 1050628"/>
                <a:gd name="connsiteX443" fmla="*/ 1536879 w 2449768"/>
                <a:gd name="connsiteY443" fmla="*/ 701917 h 1050628"/>
                <a:gd name="connsiteX444" fmla="*/ 1547892 w 2449768"/>
                <a:gd name="connsiteY444" fmla="*/ 699259 h 1050628"/>
                <a:gd name="connsiteX445" fmla="*/ 1313961 w 2449768"/>
                <a:gd name="connsiteY445" fmla="*/ 699259 h 1050628"/>
                <a:gd name="connsiteX446" fmla="*/ 1327253 w 2449768"/>
                <a:gd name="connsiteY446" fmla="*/ 707993 h 1050628"/>
                <a:gd name="connsiteX447" fmla="*/ 1321177 w 2449768"/>
                <a:gd name="connsiteY447" fmla="*/ 732298 h 1050628"/>
                <a:gd name="connsiteX448" fmla="*/ 1296872 w 2449768"/>
                <a:gd name="connsiteY448" fmla="*/ 726222 h 1050628"/>
                <a:gd name="connsiteX449" fmla="*/ 1302948 w 2449768"/>
                <a:gd name="connsiteY449" fmla="*/ 701917 h 1050628"/>
                <a:gd name="connsiteX450" fmla="*/ 1313961 w 2449768"/>
                <a:gd name="connsiteY450" fmla="*/ 699259 h 1050628"/>
                <a:gd name="connsiteX451" fmla="*/ 2413739 w 2449768"/>
                <a:gd name="connsiteY451" fmla="*/ 696220 h 1050628"/>
                <a:gd name="connsiteX452" fmla="*/ 2427031 w 2449768"/>
                <a:gd name="connsiteY452" fmla="*/ 704954 h 1050628"/>
                <a:gd name="connsiteX453" fmla="*/ 2420955 w 2449768"/>
                <a:gd name="connsiteY453" fmla="*/ 729259 h 1050628"/>
                <a:gd name="connsiteX454" fmla="*/ 2396650 w 2449768"/>
                <a:gd name="connsiteY454" fmla="*/ 723183 h 1050628"/>
                <a:gd name="connsiteX455" fmla="*/ 2402726 w 2449768"/>
                <a:gd name="connsiteY455" fmla="*/ 698878 h 1050628"/>
                <a:gd name="connsiteX456" fmla="*/ 2413739 w 2449768"/>
                <a:gd name="connsiteY456" fmla="*/ 696220 h 1050628"/>
                <a:gd name="connsiteX457" fmla="*/ 551408 w 2449768"/>
                <a:gd name="connsiteY457" fmla="*/ 690144 h 1050628"/>
                <a:gd name="connsiteX458" fmla="*/ 564699 w 2449768"/>
                <a:gd name="connsiteY458" fmla="*/ 698878 h 1050628"/>
                <a:gd name="connsiteX459" fmla="*/ 558623 w 2449768"/>
                <a:gd name="connsiteY459" fmla="*/ 723183 h 1050628"/>
                <a:gd name="connsiteX460" fmla="*/ 534319 w 2449768"/>
                <a:gd name="connsiteY460" fmla="*/ 717107 h 1050628"/>
                <a:gd name="connsiteX461" fmla="*/ 540395 w 2449768"/>
                <a:gd name="connsiteY461" fmla="*/ 692802 h 1050628"/>
                <a:gd name="connsiteX462" fmla="*/ 551408 w 2449768"/>
                <a:gd name="connsiteY462" fmla="*/ 690144 h 1050628"/>
                <a:gd name="connsiteX463" fmla="*/ 830909 w 2449768"/>
                <a:gd name="connsiteY463" fmla="*/ 684068 h 1050628"/>
                <a:gd name="connsiteX464" fmla="*/ 844201 w 2449768"/>
                <a:gd name="connsiteY464" fmla="*/ 692802 h 1050628"/>
                <a:gd name="connsiteX465" fmla="*/ 838125 w 2449768"/>
                <a:gd name="connsiteY465" fmla="*/ 717107 h 1050628"/>
                <a:gd name="connsiteX466" fmla="*/ 813820 w 2449768"/>
                <a:gd name="connsiteY466" fmla="*/ 711031 h 1050628"/>
                <a:gd name="connsiteX467" fmla="*/ 819896 w 2449768"/>
                <a:gd name="connsiteY467" fmla="*/ 686726 h 1050628"/>
                <a:gd name="connsiteX468" fmla="*/ 830909 w 2449768"/>
                <a:gd name="connsiteY468" fmla="*/ 684068 h 1050628"/>
                <a:gd name="connsiteX469" fmla="*/ 730653 w 2449768"/>
                <a:gd name="connsiteY469" fmla="*/ 677992 h 1050628"/>
                <a:gd name="connsiteX470" fmla="*/ 743945 w 2449768"/>
                <a:gd name="connsiteY470" fmla="*/ 686726 h 1050628"/>
                <a:gd name="connsiteX471" fmla="*/ 737869 w 2449768"/>
                <a:gd name="connsiteY471" fmla="*/ 711031 h 1050628"/>
                <a:gd name="connsiteX472" fmla="*/ 713564 w 2449768"/>
                <a:gd name="connsiteY472" fmla="*/ 704955 h 1050628"/>
                <a:gd name="connsiteX473" fmla="*/ 719640 w 2449768"/>
                <a:gd name="connsiteY473" fmla="*/ 680650 h 1050628"/>
                <a:gd name="connsiteX474" fmla="*/ 730653 w 2449768"/>
                <a:gd name="connsiteY474" fmla="*/ 677992 h 1050628"/>
                <a:gd name="connsiteX475" fmla="*/ 2228418 w 2449768"/>
                <a:gd name="connsiteY475" fmla="*/ 671916 h 1050628"/>
                <a:gd name="connsiteX476" fmla="*/ 2241710 w 2449768"/>
                <a:gd name="connsiteY476" fmla="*/ 680650 h 1050628"/>
                <a:gd name="connsiteX477" fmla="*/ 2235634 w 2449768"/>
                <a:gd name="connsiteY477" fmla="*/ 704955 h 1050628"/>
                <a:gd name="connsiteX478" fmla="*/ 2211329 w 2449768"/>
                <a:gd name="connsiteY478" fmla="*/ 698879 h 1050628"/>
                <a:gd name="connsiteX479" fmla="*/ 2217405 w 2449768"/>
                <a:gd name="connsiteY479" fmla="*/ 674574 h 1050628"/>
                <a:gd name="connsiteX480" fmla="*/ 2228418 w 2449768"/>
                <a:gd name="connsiteY480" fmla="*/ 671916 h 1050628"/>
                <a:gd name="connsiteX481" fmla="*/ 1839546 w 2449768"/>
                <a:gd name="connsiteY481" fmla="*/ 671916 h 1050628"/>
                <a:gd name="connsiteX482" fmla="*/ 1852838 w 2449768"/>
                <a:gd name="connsiteY482" fmla="*/ 680650 h 1050628"/>
                <a:gd name="connsiteX483" fmla="*/ 1846762 w 2449768"/>
                <a:gd name="connsiteY483" fmla="*/ 704955 h 1050628"/>
                <a:gd name="connsiteX484" fmla="*/ 1822457 w 2449768"/>
                <a:gd name="connsiteY484" fmla="*/ 698879 h 1050628"/>
                <a:gd name="connsiteX485" fmla="*/ 1828533 w 2449768"/>
                <a:gd name="connsiteY485" fmla="*/ 674574 h 1050628"/>
                <a:gd name="connsiteX486" fmla="*/ 1839546 w 2449768"/>
                <a:gd name="connsiteY486" fmla="*/ 671916 h 1050628"/>
                <a:gd name="connsiteX487" fmla="*/ 2109933 w 2449768"/>
                <a:gd name="connsiteY487" fmla="*/ 656726 h 1050628"/>
                <a:gd name="connsiteX488" fmla="*/ 2123225 w 2449768"/>
                <a:gd name="connsiteY488" fmla="*/ 665460 h 1050628"/>
                <a:gd name="connsiteX489" fmla="*/ 2117149 w 2449768"/>
                <a:gd name="connsiteY489" fmla="*/ 689765 h 1050628"/>
                <a:gd name="connsiteX490" fmla="*/ 2092844 w 2449768"/>
                <a:gd name="connsiteY490" fmla="*/ 683689 h 1050628"/>
                <a:gd name="connsiteX491" fmla="*/ 2098920 w 2449768"/>
                <a:gd name="connsiteY491" fmla="*/ 659384 h 1050628"/>
                <a:gd name="connsiteX492" fmla="*/ 2109933 w 2449768"/>
                <a:gd name="connsiteY492" fmla="*/ 656726 h 1050628"/>
                <a:gd name="connsiteX493" fmla="*/ 1632957 w 2449768"/>
                <a:gd name="connsiteY493" fmla="*/ 656726 h 1050628"/>
                <a:gd name="connsiteX494" fmla="*/ 1646249 w 2449768"/>
                <a:gd name="connsiteY494" fmla="*/ 665460 h 1050628"/>
                <a:gd name="connsiteX495" fmla="*/ 1640173 w 2449768"/>
                <a:gd name="connsiteY495" fmla="*/ 689765 h 1050628"/>
                <a:gd name="connsiteX496" fmla="*/ 1615868 w 2449768"/>
                <a:gd name="connsiteY496" fmla="*/ 683689 h 1050628"/>
                <a:gd name="connsiteX497" fmla="*/ 1621944 w 2449768"/>
                <a:gd name="connsiteY497" fmla="*/ 659384 h 1050628"/>
                <a:gd name="connsiteX498" fmla="*/ 1632957 w 2449768"/>
                <a:gd name="connsiteY498" fmla="*/ 656726 h 1050628"/>
                <a:gd name="connsiteX499" fmla="*/ 1165096 w 2449768"/>
                <a:gd name="connsiteY499" fmla="*/ 656726 h 1050628"/>
                <a:gd name="connsiteX500" fmla="*/ 1178387 w 2449768"/>
                <a:gd name="connsiteY500" fmla="*/ 665460 h 1050628"/>
                <a:gd name="connsiteX501" fmla="*/ 1172311 w 2449768"/>
                <a:gd name="connsiteY501" fmla="*/ 689765 h 1050628"/>
                <a:gd name="connsiteX502" fmla="*/ 1148007 w 2449768"/>
                <a:gd name="connsiteY502" fmla="*/ 683689 h 1050628"/>
                <a:gd name="connsiteX503" fmla="*/ 1154083 w 2449768"/>
                <a:gd name="connsiteY503" fmla="*/ 659384 h 1050628"/>
                <a:gd name="connsiteX504" fmla="*/ 1165096 w 2449768"/>
                <a:gd name="connsiteY504" fmla="*/ 656726 h 1050628"/>
                <a:gd name="connsiteX505" fmla="*/ 1948916 w 2449768"/>
                <a:gd name="connsiteY505" fmla="*/ 653688 h 1050628"/>
                <a:gd name="connsiteX506" fmla="*/ 1962208 w 2449768"/>
                <a:gd name="connsiteY506" fmla="*/ 662422 h 1050628"/>
                <a:gd name="connsiteX507" fmla="*/ 1956132 w 2449768"/>
                <a:gd name="connsiteY507" fmla="*/ 686727 h 1050628"/>
                <a:gd name="connsiteX508" fmla="*/ 1931827 w 2449768"/>
                <a:gd name="connsiteY508" fmla="*/ 680651 h 1050628"/>
                <a:gd name="connsiteX509" fmla="*/ 1937903 w 2449768"/>
                <a:gd name="connsiteY509" fmla="*/ 656346 h 1050628"/>
                <a:gd name="connsiteX510" fmla="*/ 1948916 w 2449768"/>
                <a:gd name="connsiteY510" fmla="*/ 653688 h 1050628"/>
                <a:gd name="connsiteX511" fmla="*/ 2328673 w 2449768"/>
                <a:gd name="connsiteY511" fmla="*/ 647611 h 1050628"/>
                <a:gd name="connsiteX512" fmla="*/ 2341965 w 2449768"/>
                <a:gd name="connsiteY512" fmla="*/ 656345 h 1050628"/>
                <a:gd name="connsiteX513" fmla="*/ 2335889 w 2449768"/>
                <a:gd name="connsiteY513" fmla="*/ 680650 h 1050628"/>
                <a:gd name="connsiteX514" fmla="*/ 2311584 w 2449768"/>
                <a:gd name="connsiteY514" fmla="*/ 674574 h 1050628"/>
                <a:gd name="connsiteX515" fmla="*/ 2317660 w 2449768"/>
                <a:gd name="connsiteY515" fmla="*/ 650269 h 1050628"/>
                <a:gd name="connsiteX516" fmla="*/ 2328673 w 2449768"/>
                <a:gd name="connsiteY516" fmla="*/ 647611 h 1050628"/>
                <a:gd name="connsiteX517" fmla="*/ 639512 w 2449768"/>
                <a:gd name="connsiteY517" fmla="*/ 641535 h 1050628"/>
                <a:gd name="connsiteX518" fmla="*/ 652804 w 2449768"/>
                <a:gd name="connsiteY518" fmla="*/ 650269 h 1050628"/>
                <a:gd name="connsiteX519" fmla="*/ 646728 w 2449768"/>
                <a:gd name="connsiteY519" fmla="*/ 674574 h 1050628"/>
                <a:gd name="connsiteX520" fmla="*/ 622423 w 2449768"/>
                <a:gd name="connsiteY520" fmla="*/ 668498 h 1050628"/>
                <a:gd name="connsiteX521" fmla="*/ 628499 w 2449768"/>
                <a:gd name="connsiteY521" fmla="*/ 644193 h 1050628"/>
                <a:gd name="connsiteX522" fmla="*/ 639512 w 2449768"/>
                <a:gd name="connsiteY522" fmla="*/ 641535 h 1050628"/>
                <a:gd name="connsiteX523" fmla="*/ 451152 w 2449768"/>
                <a:gd name="connsiteY523" fmla="*/ 641535 h 1050628"/>
                <a:gd name="connsiteX524" fmla="*/ 464444 w 2449768"/>
                <a:gd name="connsiteY524" fmla="*/ 650269 h 1050628"/>
                <a:gd name="connsiteX525" fmla="*/ 458368 w 2449768"/>
                <a:gd name="connsiteY525" fmla="*/ 674574 h 1050628"/>
                <a:gd name="connsiteX526" fmla="*/ 434063 w 2449768"/>
                <a:gd name="connsiteY526" fmla="*/ 668498 h 1050628"/>
                <a:gd name="connsiteX527" fmla="*/ 440139 w 2449768"/>
                <a:gd name="connsiteY527" fmla="*/ 644193 h 1050628"/>
                <a:gd name="connsiteX528" fmla="*/ 451152 w 2449768"/>
                <a:gd name="connsiteY528" fmla="*/ 641535 h 1050628"/>
                <a:gd name="connsiteX529" fmla="*/ 1739291 w 2449768"/>
                <a:gd name="connsiteY529" fmla="*/ 638497 h 1050628"/>
                <a:gd name="connsiteX530" fmla="*/ 1752582 w 2449768"/>
                <a:gd name="connsiteY530" fmla="*/ 647231 h 1050628"/>
                <a:gd name="connsiteX531" fmla="*/ 1746506 w 2449768"/>
                <a:gd name="connsiteY531" fmla="*/ 671536 h 1050628"/>
                <a:gd name="connsiteX532" fmla="*/ 1722201 w 2449768"/>
                <a:gd name="connsiteY532" fmla="*/ 665460 h 1050628"/>
                <a:gd name="connsiteX533" fmla="*/ 1728277 w 2449768"/>
                <a:gd name="connsiteY533" fmla="*/ 641155 h 1050628"/>
                <a:gd name="connsiteX534" fmla="*/ 1739291 w 2449768"/>
                <a:gd name="connsiteY534" fmla="*/ 638497 h 1050628"/>
                <a:gd name="connsiteX535" fmla="*/ 1429407 w 2449768"/>
                <a:gd name="connsiteY535" fmla="*/ 623307 h 1050628"/>
                <a:gd name="connsiteX536" fmla="*/ 1442699 w 2449768"/>
                <a:gd name="connsiteY536" fmla="*/ 632041 h 1050628"/>
                <a:gd name="connsiteX537" fmla="*/ 1436623 w 2449768"/>
                <a:gd name="connsiteY537" fmla="*/ 656346 h 1050628"/>
                <a:gd name="connsiteX538" fmla="*/ 1412318 w 2449768"/>
                <a:gd name="connsiteY538" fmla="*/ 650270 h 1050628"/>
                <a:gd name="connsiteX539" fmla="*/ 1418394 w 2449768"/>
                <a:gd name="connsiteY539" fmla="*/ 625965 h 1050628"/>
                <a:gd name="connsiteX540" fmla="*/ 1429407 w 2449768"/>
                <a:gd name="connsiteY540" fmla="*/ 623307 h 1050628"/>
                <a:gd name="connsiteX541" fmla="*/ 991927 w 2449768"/>
                <a:gd name="connsiteY541" fmla="*/ 614193 h 1050628"/>
                <a:gd name="connsiteX542" fmla="*/ 1005219 w 2449768"/>
                <a:gd name="connsiteY542" fmla="*/ 622927 h 1050628"/>
                <a:gd name="connsiteX543" fmla="*/ 999143 w 2449768"/>
                <a:gd name="connsiteY543" fmla="*/ 647232 h 1050628"/>
                <a:gd name="connsiteX544" fmla="*/ 974838 w 2449768"/>
                <a:gd name="connsiteY544" fmla="*/ 641156 h 1050628"/>
                <a:gd name="connsiteX545" fmla="*/ 980914 w 2449768"/>
                <a:gd name="connsiteY545" fmla="*/ 616851 h 1050628"/>
                <a:gd name="connsiteX546" fmla="*/ 991927 w 2449768"/>
                <a:gd name="connsiteY546" fmla="*/ 614193 h 1050628"/>
                <a:gd name="connsiteX547" fmla="*/ 1244086 w 2449768"/>
                <a:gd name="connsiteY547" fmla="*/ 589888 h 1050628"/>
                <a:gd name="connsiteX548" fmla="*/ 1257378 w 2449768"/>
                <a:gd name="connsiteY548" fmla="*/ 598622 h 1050628"/>
                <a:gd name="connsiteX549" fmla="*/ 1251302 w 2449768"/>
                <a:gd name="connsiteY549" fmla="*/ 622927 h 1050628"/>
                <a:gd name="connsiteX550" fmla="*/ 1226997 w 2449768"/>
                <a:gd name="connsiteY550" fmla="*/ 616851 h 1050628"/>
                <a:gd name="connsiteX551" fmla="*/ 1233073 w 2449768"/>
                <a:gd name="connsiteY551" fmla="*/ 592546 h 1050628"/>
                <a:gd name="connsiteX552" fmla="*/ 1244086 w 2449768"/>
                <a:gd name="connsiteY552" fmla="*/ 589888 h 1050628"/>
                <a:gd name="connsiteX553" fmla="*/ 1332189 w 2449768"/>
                <a:gd name="connsiteY553" fmla="*/ 586850 h 1050628"/>
                <a:gd name="connsiteX554" fmla="*/ 1345481 w 2449768"/>
                <a:gd name="connsiteY554" fmla="*/ 595584 h 1050628"/>
                <a:gd name="connsiteX555" fmla="*/ 1339405 w 2449768"/>
                <a:gd name="connsiteY555" fmla="*/ 619889 h 1050628"/>
                <a:gd name="connsiteX556" fmla="*/ 1315100 w 2449768"/>
                <a:gd name="connsiteY556" fmla="*/ 613813 h 1050628"/>
                <a:gd name="connsiteX557" fmla="*/ 1321176 w 2449768"/>
                <a:gd name="connsiteY557" fmla="*/ 589508 h 1050628"/>
                <a:gd name="connsiteX558" fmla="*/ 1332189 w 2449768"/>
                <a:gd name="connsiteY558" fmla="*/ 586850 h 1050628"/>
                <a:gd name="connsiteX559" fmla="*/ 867366 w 2449768"/>
                <a:gd name="connsiteY559" fmla="*/ 583812 h 1050628"/>
                <a:gd name="connsiteX560" fmla="*/ 880658 w 2449768"/>
                <a:gd name="connsiteY560" fmla="*/ 592546 h 1050628"/>
                <a:gd name="connsiteX561" fmla="*/ 874582 w 2449768"/>
                <a:gd name="connsiteY561" fmla="*/ 616851 h 1050628"/>
                <a:gd name="connsiteX562" fmla="*/ 850277 w 2449768"/>
                <a:gd name="connsiteY562" fmla="*/ 610775 h 1050628"/>
                <a:gd name="connsiteX563" fmla="*/ 856353 w 2449768"/>
                <a:gd name="connsiteY563" fmla="*/ 586470 h 1050628"/>
                <a:gd name="connsiteX564" fmla="*/ 867366 w 2449768"/>
                <a:gd name="connsiteY564" fmla="*/ 583812 h 1050628"/>
                <a:gd name="connsiteX565" fmla="*/ 2222342 w 2449768"/>
                <a:gd name="connsiteY565" fmla="*/ 576217 h 1050628"/>
                <a:gd name="connsiteX566" fmla="*/ 2235633 w 2449768"/>
                <a:gd name="connsiteY566" fmla="*/ 586470 h 1050628"/>
                <a:gd name="connsiteX567" fmla="*/ 2229557 w 2449768"/>
                <a:gd name="connsiteY567" fmla="*/ 610775 h 1050628"/>
                <a:gd name="connsiteX568" fmla="*/ 2205253 w 2449768"/>
                <a:gd name="connsiteY568" fmla="*/ 604698 h 1050628"/>
                <a:gd name="connsiteX569" fmla="*/ 2211329 w 2449768"/>
                <a:gd name="connsiteY569" fmla="*/ 577356 h 1050628"/>
                <a:gd name="connsiteX570" fmla="*/ 2222342 w 2449768"/>
                <a:gd name="connsiteY570" fmla="*/ 576217 h 1050628"/>
                <a:gd name="connsiteX571" fmla="*/ 1092183 w 2449768"/>
                <a:gd name="connsiteY571" fmla="*/ 571660 h 1050628"/>
                <a:gd name="connsiteX572" fmla="*/ 1105475 w 2449768"/>
                <a:gd name="connsiteY572" fmla="*/ 580394 h 1050628"/>
                <a:gd name="connsiteX573" fmla="*/ 1099399 w 2449768"/>
                <a:gd name="connsiteY573" fmla="*/ 604699 h 1050628"/>
                <a:gd name="connsiteX574" fmla="*/ 1075094 w 2449768"/>
                <a:gd name="connsiteY574" fmla="*/ 598623 h 1050628"/>
                <a:gd name="connsiteX575" fmla="*/ 1081170 w 2449768"/>
                <a:gd name="connsiteY575" fmla="*/ 574318 h 1050628"/>
                <a:gd name="connsiteX576" fmla="*/ 1092183 w 2449768"/>
                <a:gd name="connsiteY576" fmla="*/ 571660 h 1050628"/>
                <a:gd name="connsiteX577" fmla="*/ 2000563 w 2449768"/>
                <a:gd name="connsiteY577" fmla="*/ 568622 h 1050628"/>
                <a:gd name="connsiteX578" fmla="*/ 2013855 w 2449768"/>
                <a:gd name="connsiteY578" fmla="*/ 577356 h 1050628"/>
                <a:gd name="connsiteX579" fmla="*/ 2007779 w 2449768"/>
                <a:gd name="connsiteY579" fmla="*/ 601661 h 1050628"/>
                <a:gd name="connsiteX580" fmla="*/ 1983474 w 2449768"/>
                <a:gd name="connsiteY580" fmla="*/ 595585 h 1050628"/>
                <a:gd name="connsiteX581" fmla="*/ 1989550 w 2449768"/>
                <a:gd name="connsiteY581" fmla="*/ 571280 h 1050628"/>
                <a:gd name="connsiteX582" fmla="*/ 2000563 w 2449768"/>
                <a:gd name="connsiteY582" fmla="*/ 568622 h 1050628"/>
                <a:gd name="connsiteX583" fmla="*/ 745844 w 2449768"/>
                <a:gd name="connsiteY583" fmla="*/ 568622 h 1050628"/>
                <a:gd name="connsiteX584" fmla="*/ 759136 w 2449768"/>
                <a:gd name="connsiteY584" fmla="*/ 577356 h 1050628"/>
                <a:gd name="connsiteX585" fmla="*/ 753060 w 2449768"/>
                <a:gd name="connsiteY585" fmla="*/ 601661 h 1050628"/>
                <a:gd name="connsiteX586" fmla="*/ 728755 w 2449768"/>
                <a:gd name="connsiteY586" fmla="*/ 595585 h 1050628"/>
                <a:gd name="connsiteX587" fmla="*/ 734831 w 2449768"/>
                <a:gd name="connsiteY587" fmla="*/ 571280 h 1050628"/>
                <a:gd name="connsiteX588" fmla="*/ 745844 w 2449768"/>
                <a:gd name="connsiteY588" fmla="*/ 568622 h 1050628"/>
                <a:gd name="connsiteX589" fmla="*/ 533179 w 2449768"/>
                <a:gd name="connsiteY589" fmla="*/ 568622 h 1050628"/>
                <a:gd name="connsiteX590" fmla="*/ 546471 w 2449768"/>
                <a:gd name="connsiteY590" fmla="*/ 577356 h 1050628"/>
                <a:gd name="connsiteX591" fmla="*/ 540395 w 2449768"/>
                <a:gd name="connsiteY591" fmla="*/ 601661 h 1050628"/>
                <a:gd name="connsiteX592" fmla="*/ 516090 w 2449768"/>
                <a:gd name="connsiteY592" fmla="*/ 595585 h 1050628"/>
                <a:gd name="connsiteX593" fmla="*/ 522166 w 2449768"/>
                <a:gd name="connsiteY593" fmla="*/ 571280 h 1050628"/>
                <a:gd name="connsiteX594" fmla="*/ 533179 w 2449768"/>
                <a:gd name="connsiteY594" fmla="*/ 568622 h 1050628"/>
                <a:gd name="connsiteX595" fmla="*/ 1866889 w 2449768"/>
                <a:gd name="connsiteY595" fmla="*/ 565584 h 1050628"/>
                <a:gd name="connsiteX596" fmla="*/ 1880180 w 2449768"/>
                <a:gd name="connsiteY596" fmla="*/ 574318 h 1050628"/>
                <a:gd name="connsiteX597" fmla="*/ 1874104 w 2449768"/>
                <a:gd name="connsiteY597" fmla="*/ 598623 h 1050628"/>
                <a:gd name="connsiteX598" fmla="*/ 1849800 w 2449768"/>
                <a:gd name="connsiteY598" fmla="*/ 592547 h 1050628"/>
                <a:gd name="connsiteX599" fmla="*/ 1855876 w 2449768"/>
                <a:gd name="connsiteY599" fmla="*/ 568242 h 1050628"/>
                <a:gd name="connsiteX600" fmla="*/ 1866889 w 2449768"/>
                <a:gd name="connsiteY600" fmla="*/ 565584 h 1050628"/>
                <a:gd name="connsiteX601" fmla="*/ 1508397 w 2449768"/>
                <a:gd name="connsiteY601" fmla="*/ 565584 h 1050628"/>
                <a:gd name="connsiteX602" fmla="*/ 1521689 w 2449768"/>
                <a:gd name="connsiteY602" fmla="*/ 574318 h 1050628"/>
                <a:gd name="connsiteX603" fmla="*/ 1515613 w 2449768"/>
                <a:gd name="connsiteY603" fmla="*/ 598623 h 1050628"/>
                <a:gd name="connsiteX604" fmla="*/ 1491308 w 2449768"/>
                <a:gd name="connsiteY604" fmla="*/ 592547 h 1050628"/>
                <a:gd name="connsiteX605" fmla="*/ 1497384 w 2449768"/>
                <a:gd name="connsiteY605" fmla="*/ 568242 h 1050628"/>
                <a:gd name="connsiteX606" fmla="*/ 1508397 w 2449768"/>
                <a:gd name="connsiteY606" fmla="*/ 565584 h 1050628"/>
                <a:gd name="connsiteX607" fmla="*/ 2365130 w 2449768"/>
                <a:gd name="connsiteY607" fmla="*/ 556470 h 1050628"/>
                <a:gd name="connsiteX608" fmla="*/ 2378422 w 2449768"/>
                <a:gd name="connsiteY608" fmla="*/ 565204 h 1050628"/>
                <a:gd name="connsiteX609" fmla="*/ 2372346 w 2449768"/>
                <a:gd name="connsiteY609" fmla="*/ 589509 h 1050628"/>
                <a:gd name="connsiteX610" fmla="*/ 2348041 w 2449768"/>
                <a:gd name="connsiteY610" fmla="*/ 583433 h 1050628"/>
                <a:gd name="connsiteX611" fmla="*/ 2354117 w 2449768"/>
                <a:gd name="connsiteY611" fmla="*/ 559128 h 1050628"/>
                <a:gd name="connsiteX612" fmla="*/ 2365130 w 2449768"/>
                <a:gd name="connsiteY612" fmla="*/ 556470 h 1050628"/>
                <a:gd name="connsiteX613" fmla="*/ 1620805 w 2449768"/>
                <a:gd name="connsiteY613" fmla="*/ 550394 h 1050628"/>
                <a:gd name="connsiteX614" fmla="*/ 1634097 w 2449768"/>
                <a:gd name="connsiteY614" fmla="*/ 559128 h 1050628"/>
                <a:gd name="connsiteX615" fmla="*/ 1628021 w 2449768"/>
                <a:gd name="connsiteY615" fmla="*/ 583433 h 1050628"/>
                <a:gd name="connsiteX616" fmla="*/ 1603716 w 2449768"/>
                <a:gd name="connsiteY616" fmla="*/ 577357 h 1050628"/>
                <a:gd name="connsiteX617" fmla="*/ 1609792 w 2449768"/>
                <a:gd name="connsiteY617" fmla="*/ 553052 h 1050628"/>
                <a:gd name="connsiteX618" fmla="*/ 1620805 w 2449768"/>
                <a:gd name="connsiteY618" fmla="*/ 550394 h 1050628"/>
                <a:gd name="connsiteX619" fmla="*/ 2097781 w 2449768"/>
                <a:gd name="connsiteY619" fmla="*/ 544317 h 1050628"/>
                <a:gd name="connsiteX620" fmla="*/ 2111073 w 2449768"/>
                <a:gd name="connsiteY620" fmla="*/ 553051 h 1050628"/>
                <a:gd name="connsiteX621" fmla="*/ 2104997 w 2449768"/>
                <a:gd name="connsiteY621" fmla="*/ 577356 h 1050628"/>
                <a:gd name="connsiteX622" fmla="*/ 2080692 w 2449768"/>
                <a:gd name="connsiteY622" fmla="*/ 571280 h 1050628"/>
                <a:gd name="connsiteX623" fmla="*/ 2086768 w 2449768"/>
                <a:gd name="connsiteY623" fmla="*/ 546975 h 1050628"/>
                <a:gd name="connsiteX624" fmla="*/ 2097781 w 2449768"/>
                <a:gd name="connsiteY624" fmla="*/ 544317 h 1050628"/>
                <a:gd name="connsiteX625" fmla="*/ 1745366 w 2449768"/>
                <a:gd name="connsiteY625" fmla="*/ 538241 h 1050628"/>
                <a:gd name="connsiteX626" fmla="*/ 1758658 w 2449768"/>
                <a:gd name="connsiteY626" fmla="*/ 546975 h 1050628"/>
                <a:gd name="connsiteX627" fmla="*/ 1752582 w 2449768"/>
                <a:gd name="connsiteY627" fmla="*/ 571280 h 1050628"/>
                <a:gd name="connsiteX628" fmla="*/ 1728277 w 2449768"/>
                <a:gd name="connsiteY628" fmla="*/ 565204 h 1050628"/>
                <a:gd name="connsiteX629" fmla="*/ 1734353 w 2449768"/>
                <a:gd name="connsiteY629" fmla="*/ 540899 h 1050628"/>
                <a:gd name="connsiteX630" fmla="*/ 1745366 w 2449768"/>
                <a:gd name="connsiteY630" fmla="*/ 538241 h 1050628"/>
                <a:gd name="connsiteX631" fmla="*/ 624322 w 2449768"/>
                <a:gd name="connsiteY631" fmla="*/ 529127 h 1050628"/>
                <a:gd name="connsiteX632" fmla="*/ 637613 w 2449768"/>
                <a:gd name="connsiteY632" fmla="*/ 537861 h 1050628"/>
                <a:gd name="connsiteX633" fmla="*/ 631537 w 2449768"/>
                <a:gd name="connsiteY633" fmla="*/ 562166 h 1050628"/>
                <a:gd name="connsiteX634" fmla="*/ 607233 w 2449768"/>
                <a:gd name="connsiteY634" fmla="*/ 556090 h 1050628"/>
                <a:gd name="connsiteX635" fmla="*/ 613309 w 2449768"/>
                <a:gd name="connsiteY635" fmla="*/ 531785 h 1050628"/>
                <a:gd name="connsiteX636" fmla="*/ 624322 w 2449768"/>
                <a:gd name="connsiteY636" fmla="*/ 529127 h 1050628"/>
                <a:gd name="connsiteX637" fmla="*/ 958508 w 2449768"/>
                <a:gd name="connsiteY637" fmla="*/ 523051 h 1050628"/>
                <a:gd name="connsiteX638" fmla="*/ 971800 w 2449768"/>
                <a:gd name="connsiteY638" fmla="*/ 531785 h 1050628"/>
                <a:gd name="connsiteX639" fmla="*/ 965724 w 2449768"/>
                <a:gd name="connsiteY639" fmla="*/ 556090 h 1050628"/>
                <a:gd name="connsiteX640" fmla="*/ 941419 w 2449768"/>
                <a:gd name="connsiteY640" fmla="*/ 550014 h 1050628"/>
                <a:gd name="connsiteX641" fmla="*/ 947495 w 2449768"/>
                <a:gd name="connsiteY641" fmla="*/ 525709 h 1050628"/>
                <a:gd name="connsiteX642" fmla="*/ 958508 w 2449768"/>
                <a:gd name="connsiteY642" fmla="*/ 523051 h 1050628"/>
                <a:gd name="connsiteX643" fmla="*/ 1177248 w 2449768"/>
                <a:gd name="connsiteY643" fmla="*/ 507861 h 1050628"/>
                <a:gd name="connsiteX644" fmla="*/ 1190540 w 2449768"/>
                <a:gd name="connsiteY644" fmla="*/ 516595 h 1050628"/>
                <a:gd name="connsiteX645" fmla="*/ 1184464 w 2449768"/>
                <a:gd name="connsiteY645" fmla="*/ 540900 h 1050628"/>
                <a:gd name="connsiteX646" fmla="*/ 1160159 w 2449768"/>
                <a:gd name="connsiteY646" fmla="*/ 534824 h 1050628"/>
                <a:gd name="connsiteX647" fmla="*/ 1166235 w 2449768"/>
                <a:gd name="connsiteY647" fmla="*/ 510519 h 1050628"/>
                <a:gd name="connsiteX648" fmla="*/ 1177248 w 2449768"/>
                <a:gd name="connsiteY648" fmla="*/ 507861 h 1050628"/>
                <a:gd name="connsiteX649" fmla="*/ 1399027 w 2449768"/>
                <a:gd name="connsiteY649" fmla="*/ 504823 h 1050628"/>
                <a:gd name="connsiteX650" fmla="*/ 1412319 w 2449768"/>
                <a:gd name="connsiteY650" fmla="*/ 513557 h 1050628"/>
                <a:gd name="connsiteX651" fmla="*/ 1406243 w 2449768"/>
                <a:gd name="connsiteY651" fmla="*/ 537862 h 1050628"/>
                <a:gd name="connsiteX652" fmla="*/ 1381938 w 2449768"/>
                <a:gd name="connsiteY652" fmla="*/ 531786 h 1050628"/>
                <a:gd name="connsiteX653" fmla="*/ 1388014 w 2449768"/>
                <a:gd name="connsiteY653" fmla="*/ 507481 h 1050628"/>
                <a:gd name="connsiteX654" fmla="*/ 1399027 w 2449768"/>
                <a:gd name="connsiteY654" fmla="*/ 504823 h 1050628"/>
                <a:gd name="connsiteX655" fmla="*/ 2194999 w 2449768"/>
                <a:gd name="connsiteY655" fmla="*/ 492670 h 1050628"/>
                <a:gd name="connsiteX656" fmla="*/ 2208291 w 2449768"/>
                <a:gd name="connsiteY656" fmla="*/ 501404 h 1050628"/>
                <a:gd name="connsiteX657" fmla="*/ 2202214 w 2449768"/>
                <a:gd name="connsiteY657" fmla="*/ 525709 h 1050628"/>
                <a:gd name="connsiteX658" fmla="*/ 2177910 w 2449768"/>
                <a:gd name="connsiteY658" fmla="*/ 519633 h 1050628"/>
                <a:gd name="connsiteX659" fmla="*/ 2183986 w 2449768"/>
                <a:gd name="connsiteY659" fmla="*/ 495328 h 1050628"/>
                <a:gd name="connsiteX660" fmla="*/ 2194999 w 2449768"/>
                <a:gd name="connsiteY660" fmla="*/ 492670 h 1050628"/>
                <a:gd name="connsiteX661" fmla="*/ 1912459 w 2449768"/>
                <a:gd name="connsiteY661" fmla="*/ 480518 h 1050628"/>
                <a:gd name="connsiteX662" fmla="*/ 1925751 w 2449768"/>
                <a:gd name="connsiteY662" fmla="*/ 489252 h 1050628"/>
                <a:gd name="connsiteX663" fmla="*/ 1919675 w 2449768"/>
                <a:gd name="connsiteY663" fmla="*/ 513557 h 1050628"/>
                <a:gd name="connsiteX664" fmla="*/ 1895370 w 2449768"/>
                <a:gd name="connsiteY664" fmla="*/ 507481 h 1050628"/>
                <a:gd name="connsiteX665" fmla="*/ 1901446 w 2449768"/>
                <a:gd name="connsiteY665" fmla="*/ 483176 h 1050628"/>
                <a:gd name="connsiteX666" fmla="*/ 1912459 w 2449768"/>
                <a:gd name="connsiteY666" fmla="*/ 480518 h 1050628"/>
                <a:gd name="connsiteX667" fmla="*/ 803567 w 2449768"/>
                <a:gd name="connsiteY667" fmla="*/ 480518 h 1050628"/>
                <a:gd name="connsiteX668" fmla="*/ 816859 w 2449768"/>
                <a:gd name="connsiteY668" fmla="*/ 489252 h 1050628"/>
                <a:gd name="connsiteX669" fmla="*/ 810783 w 2449768"/>
                <a:gd name="connsiteY669" fmla="*/ 513557 h 1050628"/>
                <a:gd name="connsiteX670" fmla="*/ 786478 w 2449768"/>
                <a:gd name="connsiteY670" fmla="*/ 507481 h 1050628"/>
                <a:gd name="connsiteX671" fmla="*/ 792554 w 2449768"/>
                <a:gd name="connsiteY671" fmla="*/ 483176 h 1050628"/>
                <a:gd name="connsiteX672" fmla="*/ 803567 w 2449768"/>
                <a:gd name="connsiteY672" fmla="*/ 480518 h 1050628"/>
                <a:gd name="connsiteX673" fmla="*/ 1550930 w 2449768"/>
                <a:gd name="connsiteY673" fmla="*/ 471404 h 1050628"/>
                <a:gd name="connsiteX674" fmla="*/ 1564222 w 2449768"/>
                <a:gd name="connsiteY674" fmla="*/ 480138 h 1050628"/>
                <a:gd name="connsiteX675" fmla="*/ 1558146 w 2449768"/>
                <a:gd name="connsiteY675" fmla="*/ 504443 h 1050628"/>
                <a:gd name="connsiteX676" fmla="*/ 1533841 w 2449768"/>
                <a:gd name="connsiteY676" fmla="*/ 498367 h 1050628"/>
                <a:gd name="connsiteX677" fmla="*/ 1539917 w 2449768"/>
                <a:gd name="connsiteY677" fmla="*/ 474062 h 1050628"/>
                <a:gd name="connsiteX678" fmla="*/ 1550930 w 2449768"/>
                <a:gd name="connsiteY678" fmla="*/ 471404 h 1050628"/>
                <a:gd name="connsiteX679" fmla="*/ 2307407 w 2449768"/>
                <a:gd name="connsiteY679" fmla="*/ 465328 h 1050628"/>
                <a:gd name="connsiteX680" fmla="*/ 2320698 w 2449768"/>
                <a:gd name="connsiteY680" fmla="*/ 474062 h 1050628"/>
                <a:gd name="connsiteX681" fmla="*/ 2314622 w 2449768"/>
                <a:gd name="connsiteY681" fmla="*/ 498367 h 1050628"/>
                <a:gd name="connsiteX682" fmla="*/ 2290318 w 2449768"/>
                <a:gd name="connsiteY682" fmla="*/ 492291 h 1050628"/>
                <a:gd name="connsiteX683" fmla="*/ 2296394 w 2449768"/>
                <a:gd name="connsiteY683" fmla="*/ 467986 h 1050628"/>
                <a:gd name="connsiteX684" fmla="*/ 2307407 w 2449768"/>
                <a:gd name="connsiteY684" fmla="*/ 465328 h 1050628"/>
                <a:gd name="connsiteX685" fmla="*/ 1076992 w 2449768"/>
                <a:gd name="connsiteY685" fmla="*/ 462290 h 1050628"/>
                <a:gd name="connsiteX686" fmla="*/ 1090284 w 2449768"/>
                <a:gd name="connsiteY686" fmla="*/ 471024 h 1050628"/>
                <a:gd name="connsiteX687" fmla="*/ 1084208 w 2449768"/>
                <a:gd name="connsiteY687" fmla="*/ 495329 h 1050628"/>
                <a:gd name="connsiteX688" fmla="*/ 1059903 w 2449768"/>
                <a:gd name="connsiteY688" fmla="*/ 489253 h 1050628"/>
                <a:gd name="connsiteX689" fmla="*/ 1065979 w 2449768"/>
                <a:gd name="connsiteY689" fmla="*/ 464948 h 1050628"/>
                <a:gd name="connsiteX690" fmla="*/ 1076992 w 2449768"/>
                <a:gd name="connsiteY690" fmla="*/ 462290 h 1050628"/>
                <a:gd name="connsiteX691" fmla="*/ 2030944 w 2449768"/>
                <a:gd name="connsiteY691" fmla="*/ 456214 h 1050628"/>
                <a:gd name="connsiteX692" fmla="*/ 2044236 w 2449768"/>
                <a:gd name="connsiteY692" fmla="*/ 464948 h 1050628"/>
                <a:gd name="connsiteX693" fmla="*/ 2038160 w 2449768"/>
                <a:gd name="connsiteY693" fmla="*/ 489253 h 1050628"/>
                <a:gd name="connsiteX694" fmla="*/ 2013855 w 2449768"/>
                <a:gd name="connsiteY694" fmla="*/ 483177 h 1050628"/>
                <a:gd name="connsiteX695" fmla="*/ 2019931 w 2449768"/>
                <a:gd name="connsiteY695" fmla="*/ 458872 h 1050628"/>
                <a:gd name="connsiteX696" fmla="*/ 2030944 w 2449768"/>
                <a:gd name="connsiteY696" fmla="*/ 456214 h 1050628"/>
                <a:gd name="connsiteX697" fmla="*/ 1280542 w 2449768"/>
                <a:gd name="connsiteY697" fmla="*/ 453176 h 1050628"/>
                <a:gd name="connsiteX698" fmla="*/ 1293834 w 2449768"/>
                <a:gd name="connsiteY698" fmla="*/ 461910 h 1050628"/>
                <a:gd name="connsiteX699" fmla="*/ 1287758 w 2449768"/>
                <a:gd name="connsiteY699" fmla="*/ 486215 h 1050628"/>
                <a:gd name="connsiteX700" fmla="*/ 1263453 w 2449768"/>
                <a:gd name="connsiteY700" fmla="*/ 480139 h 1050628"/>
                <a:gd name="connsiteX701" fmla="*/ 1269529 w 2449768"/>
                <a:gd name="connsiteY701" fmla="*/ 455834 h 1050628"/>
                <a:gd name="connsiteX702" fmla="*/ 1280542 w 2449768"/>
                <a:gd name="connsiteY702" fmla="*/ 453176 h 1050628"/>
                <a:gd name="connsiteX703" fmla="*/ 679006 w 2449768"/>
                <a:gd name="connsiteY703" fmla="*/ 450138 h 1050628"/>
                <a:gd name="connsiteX704" fmla="*/ 692298 w 2449768"/>
                <a:gd name="connsiteY704" fmla="*/ 458872 h 1050628"/>
                <a:gd name="connsiteX705" fmla="*/ 686222 w 2449768"/>
                <a:gd name="connsiteY705" fmla="*/ 483177 h 1050628"/>
                <a:gd name="connsiteX706" fmla="*/ 661917 w 2449768"/>
                <a:gd name="connsiteY706" fmla="*/ 477101 h 1050628"/>
                <a:gd name="connsiteX707" fmla="*/ 667993 w 2449768"/>
                <a:gd name="connsiteY707" fmla="*/ 452796 h 1050628"/>
                <a:gd name="connsiteX708" fmla="*/ 679006 w 2449768"/>
                <a:gd name="connsiteY708" fmla="*/ 450138 h 1050628"/>
                <a:gd name="connsiteX709" fmla="*/ 1815242 w 2449768"/>
                <a:gd name="connsiteY709" fmla="*/ 447099 h 1050628"/>
                <a:gd name="connsiteX710" fmla="*/ 1828533 w 2449768"/>
                <a:gd name="connsiteY710" fmla="*/ 455833 h 1050628"/>
                <a:gd name="connsiteX711" fmla="*/ 1822457 w 2449768"/>
                <a:gd name="connsiteY711" fmla="*/ 480138 h 1050628"/>
                <a:gd name="connsiteX712" fmla="*/ 1798152 w 2449768"/>
                <a:gd name="connsiteY712" fmla="*/ 474062 h 1050628"/>
                <a:gd name="connsiteX713" fmla="*/ 1804228 w 2449768"/>
                <a:gd name="connsiteY713" fmla="*/ 449757 h 1050628"/>
                <a:gd name="connsiteX714" fmla="*/ 1815242 w 2449768"/>
                <a:gd name="connsiteY714" fmla="*/ 447099 h 1050628"/>
                <a:gd name="connsiteX715" fmla="*/ 1699795 w 2449768"/>
                <a:gd name="connsiteY715" fmla="*/ 444061 h 1050628"/>
                <a:gd name="connsiteX716" fmla="*/ 1713087 w 2449768"/>
                <a:gd name="connsiteY716" fmla="*/ 452795 h 1050628"/>
                <a:gd name="connsiteX717" fmla="*/ 1707011 w 2449768"/>
                <a:gd name="connsiteY717" fmla="*/ 477100 h 1050628"/>
                <a:gd name="connsiteX718" fmla="*/ 1682706 w 2449768"/>
                <a:gd name="connsiteY718" fmla="*/ 471024 h 1050628"/>
                <a:gd name="connsiteX719" fmla="*/ 1688782 w 2449768"/>
                <a:gd name="connsiteY719" fmla="*/ 446719 h 1050628"/>
                <a:gd name="connsiteX720" fmla="*/ 1699795 w 2449768"/>
                <a:gd name="connsiteY720" fmla="*/ 444061 h 1050628"/>
                <a:gd name="connsiteX721" fmla="*/ 888633 w 2449768"/>
                <a:gd name="connsiteY721" fmla="*/ 434947 h 1050628"/>
                <a:gd name="connsiteX722" fmla="*/ 901925 w 2449768"/>
                <a:gd name="connsiteY722" fmla="*/ 443681 h 1050628"/>
                <a:gd name="connsiteX723" fmla="*/ 895849 w 2449768"/>
                <a:gd name="connsiteY723" fmla="*/ 467986 h 1050628"/>
                <a:gd name="connsiteX724" fmla="*/ 871544 w 2449768"/>
                <a:gd name="connsiteY724" fmla="*/ 461910 h 1050628"/>
                <a:gd name="connsiteX725" fmla="*/ 877620 w 2449768"/>
                <a:gd name="connsiteY725" fmla="*/ 437605 h 1050628"/>
                <a:gd name="connsiteX726" fmla="*/ 888633 w 2449768"/>
                <a:gd name="connsiteY726" fmla="*/ 434947 h 1050628"/>
                <a:gd name="connsiteX727" fmla="*/ 2158542 w 2449768"/>
                <a:gd name="connsiteY727" fmla="*/ 407605 h 1050628"/>
                <a:gd name="connsiteX728" fmla="*/ 2171833 w 2449768"/>
                <a:gd name="connsiteY728" fmla="*/ 416339 h 1050628"/>
                <a:gd name="connsiteX729" fmla="*/ 2165757 w 2449768"/>
                <a:gd name="connsiteY729" fmla="*/ 440644 h 1050628"/>
                <a:gd name="connsiteX730" fmla="*/ 2141453 w 2449768"/>
                <a:gd name="connsiteY730" fmla="*/ 434568 h 1050628"/>
                <a:gd name="connsiteX731" fmla="*/ 2147529 w 2449768"/>
                <a:gd name="connsiteY731" fmla="*/ 410263 h 1050628"/>
                <a:gd name="connsiteX732" fmla="*/ 2158542 w 2449768"/>
                <a:gd name="connsiteY732" fmla="*/ 407605 h 1050628"/>
                <a:gd name="connsiteX733" fmla="*/ 1484092 w 2449768"/>
                <a:gd name="connsiteY733" fmla="*/ 407605 h 1050628"/>
                <a:gd name="connsiteX734" fmla="*/ 1497384 w 2449768"/>
                <a:gd name="connsiteY734" fmla="*/ 416339 h 1050628"/>
                <a:gd name="connsiteX735" fmla="*/ 1491308 w 2449768"/>
                <a:gd name="connsiteY735" fmla="*/ 440644 h 1050628"/>
                <a:gd name="connsiteX736" fmla="*/ 1467003 w 2449768"/>
                <a:gd name="connsiteY736" fmla="*/ 434568 h 1050628"/>
                <a:gd name="connsiteX737" fmla="*/ 1473079 w 2449768"/>
                <a:gd name="connsiteY737" fmla="*/ 410263 h 1050628"/>
                <a:gd name="connsiteX738" fmla="*/ 1484092 w 2449768"/>
                <a:gd name="connsiteY738" fmla="*/ 407605 h 1050628"/>
                <a:gd name="connsiteX739" fmla="*/ 1365608 w 2449768"/>
                <a:gd name="connsiteY739" fmla="*/ 404567 h 1050628"/>
                <a:gd name="connsiteX740" fmla="*/ 1378900 w 2449768"/>
                <a:gd name="connsiteY740" fmla="*/ 413301 h 1050628"/>
                <a:gd name="connsiteX741" fmla="*/ 1372824 w 2449768"/>
                <a:gd name="connsiteY741" fmla="*/ 437606 h 1050628"/>
                <a:gd name="connsiteX742" fmla="*/ 1348519 w 2449768"/>
                <a:gd name="connsiteY742" fmla="*/ 431530 h 1050628"/>
                <a:gd name="connsiteX743" fmla="*/ 1354595 w 2449768"/>
                <a:gd name="connsiteY743" fmla="*/ 407225 h 1050628"/>
                <a:gd name="connsiteX744" fmla="*/ 1365608 w 2449768"/>
                <a:gd name="connsiteY744" fmla="*/ 404567 h 1050628"/>
                <a:gd name="connsiteX745" fmla="*/ 988889 w 2449768"/>
                <a:gd name="connsiteY745" fmla="*/ 404567 h 1050628"/>
                <a:gd name="connsiteX746" fmla="*/ 1002180 w 2449768"/>
                <a:gd name="connsiteY746" fmla="*/ 413301 h 1050628"/>
                <a:gd name="connsiteX747" fmla="*/ 996104 w 2449768"/>
                <a:gd name="connsiteY747" fmla="*/ 437606 h 1050628"/>
                <a:gd name="connsiteX748" fmla="*/ 971800 w 2449768"/>
                <a:gd name="connsiteY748" fmla="*/ 431530 h 1050628"/>
                <a:gd name="connsiteX749" fmla="*/ 977876 w 2449768"/>
                <a:gd name="connsiteY749" fmla="*/ 407225 h 1050628"/>
                <a:gd name="connsiteX750" fmla="*/ 988889 w 2449768"/>
                <a:gd name="connsiteY750" fmla="*/ 404567 h 1050628"/>
                <a:gd name="connsiteX751" fmla="*/ 1182565 w 2449768"/>
                <a:gd name="connsiteY751" fmla="*/ 394312 h 1050628"/>
                <a:gd name="connsiteX752" fmla="*/ 1193578 w 2449768"/>
                <a:gd name="connsiteY752" fmla="*/ 404186 h 1050628"/>
                <a:gd name="connsiteX753" fmla="*/ 1187502 w 2449768"/>
                <a:gd name="connsiteY753" fmla="*/ 428491 h 1050628"/>
                <a:gd name="connsiteX754" fmla="*/ 1163197 w 2449768"/>
                <a:gd name="connsiteY754" fmla="*/ 422415 h 1050628"/>
                <a:gd name="connsiteX755" fmla="*/ 1169273 w 2449768"/>
                <a:gd name="connsiteY755" fmla="*/ 398110 h 1050628"/>
                <a:gd name="connsiteX756" fmla="*/ 1182565 w 2449768"/>
                <a:gd name="connsiteY756" fmla="*/ 394312 h 1050628"/>
                <a:gd name="connsiteX757" fmla="*/ 1620805 w 2449768"/>
                <a:gd name="connsiteY757" fmla="*/ 389376 h 1050628"/>
                <a:gd name="connsiteX758" fmla="*/ 1634097 w 2449768"/>
                <a:gd name="connsiteY758" fmla="*/ 398110 h 1050628"/>
                <a:gd name="connsiteX759" fmla="*/ 1628021 w 2449768"/>
                <a:gd name="connsiteY759" fmla="*/ 422415 h 1050628"/>
                <a:gd name="connsiteX760" fmla="*/ 1603716 w 2449768"/>
                <a:gd name="connsiteY760" fmla="*/ 416339 h 1050628"/>
                <a:gd name="connsiteX761" fmla="*/ 1609792 w 2449768"/>
                <a:gd name="connsiteY761" fmla="*/ 392034 h 1050628"/>
                <a:gd name="connsiteX762" fmla="*/ 1620805 w 2449768"/>
                <a:gd name="connsiteY762" fmla="*/ 389376 h 1050628"/>
                <a:gd name="connsiteX763" fmla="*/ 1961068 w 2449768"/>
                <a:gd name="connsiteY763" fmla="*/ 380262 h 1050628"/>
                <a:gd name="connsiteX764" fmla="*/ 1974360 w 2449768"/>
                <a:gd name="connsiteY764" fmla="*/ 388996 h 1050628"/>
                <a:gd name="connsiteX765" fmla="*/ 1968284 w 2449768"/>
                <a:gd name="connsiteY765" fmla="*/ 413301 h 1050628"/>
                <a:gd name="connsiteX766" fmla="*/ 1943979 w 2449768"/>
                <a:gd name="connsiteY766" fmla="*/ 407225 h 1050628"/>
                <a:gd name="connsiteX767" fmla="*/ 1950055 w 2449768"/>
                <a:gd name="connsiteY767" fmla="*/ 382920 h 1050628"/>
                <a:gd name="connsiteX768" fmla="*/ 1961068 w 2449768"/>
                <a:gd name="connsiteY768" fmla="*/ 380262 h 1050628"/>
                <a:gd name="connsiteX769" fmla="*/ 770148 w 2449768"/>
                <a:gd name="connsiteY769" fmla="*/ 380262 h 1050628"/>
                <a:gd name="connsiteX770" fmla="*/ 783440 w 2449768"/>
                <a:gd name="connsiteY770" fmla="*/ 388996 h 1050628"/>
                <a:gd name="connsiteX771" fmla="*/ 777364 w 2449768"/>
                <a:gd name="connsiteY771" fmla="*/ 413301 h 1050628"/>
                <a:gd name="connsiteX772" fmla="*/ 753059 w 2449768"/>
                <a:gd name="connsiteY772" fmla="*/ 407225 h 1050628"/>
                <a:gd name="connsiteX773" fmla="*/ 759135 w 2449768"/>
                <a:gd name="connsiteY773" fmla="*/ 382920 h 1050628"/>
                <a:gd name="connsiteX774" fmla="*/ 770148 w 2449768"/>
                <a:gd name="connsiteY774" fmla="*/ 380262 h 1050628"/>
                <a:gd name="connsiteX775" fmla="*/ 2240571 w 2449768"/>
                <a:gd name="connsiteY775" fmla="*/ 352920 h 1050628"/>
                <a:gd name="connsiteX776" fmla="*/ 2253862 w 2449768"/>
                <a:gd name="connsiteY776" fmla="*/ 361654 h 1050628"/>
                <a:gd name="connsiteX777" fmla="*/ 2247786 w 2449768"/>
                <a:gd name="connsiteY777" fmla="*/ 385959 h 1050628"/>
                <a:gd name="connsiteX778" fmla="*/ 2223481 w 2449768"/>
                <a:gd name="connsiteY778" fmla="*/ 379883 h 1050628"/>
                <a:gd name="connsiteX779" fmla="*/ 2229557 w 2449768"/>
                <a:gd name="connsiteY779" fmla="*/ 355578 h 1050628"/>
                <a:gd name="connsiteX780" fmla="*/ 2240571 w 2449768"/>
                <a:gd name="connsiteY780" fmla="*/ 352920 h 1050628"/>
                <a:gd name="connsiteX781" fmla="*/ 2082590 w 2449768"/>
                <a:gd name="connsiteY781" fmla="*/ 352920 h 1050628"/>
                <a:gd name="connsiteX782" fmla="*/ 2095882 w 2449768"/>
                <a:gd name="connsiteY782" fmla="*/ 361654 h 1050628"/>
                <a:gd name="connsiteX783" fmla="*/ 2089806 w 2449768"/>
                <a:gd name="connsiteY783" fmla="*/ 385959 h 1050628"/>
                <a:gd name="connsiteX784" fmla="*/ 2065501 w 2449768"/>
                <a:gd name="connsiteY784" fmla="*/ 379883 h 1050628"/>
                <a:gd name="connsiteX785" fmla="*/ 2071577 w 2449768"/>
                <a:gd name="connsiteY785" fmla="*/ 355578 h 1050628"/>
                <a:gd name="connsiteX786" fmla="*/ 2082590 w 2449768"/>
                <a:gd name="connsiteY786" fmla="*/ 352920 h 1050628"/>
                <a:gd name="connsiteX787" fmla="*/ 1080030 w 2449768"/>
                <a:gd name="connsiteY787" fmla="*/ 337729 h 1050628"/>
                <a:gd name="connsiteX788" fmla="*/ 1093322 w 2449768"/>
                <a:gd name="connsiteY788" fmla="*/ 346463 h 1050628"/>
                <a:gd name="connsiteX789" fmla="*/ 1087246 w 2449768"/>
                <a:gd name="connsiteY789" fmla="*/ 370768 h 1050628"/>
                <a:gd name="connsiteX790" fmla="*/ 1062941 w 2449768"/>
                <a:gd name="connsiteY790" fmla="*/ 364692 h 1050628"/>
                <a:gd name="connsiteX791" fmla="*/ 1069017 w 2449768"/>
                <a:gd name="connsiteY791" fmla="*/ 340387 h 1050628"/>
                <a:gd name="connsiteX792" fmla="*/ 1080030 w 2449768"/>
                <a:gd name="connsiteY792" fmla="*/ 337729 h 1050628"/>
                <a:gd name="connsiteX793" fmla="*/ 1787899 w 2449768"/>
                <a:gd name="connsiteY793" fmla="*/ 331653 h 1050628"/>
                <a:gd name="connsiteX794" fmla="*/ 1801191 w 2449768"/>
                <a:gd name="connsiteY794" fmla="*/ 340387 h 1050628"/>
                <a:gd name="connsiteX795" fmla="*/ 1795115 w 2449768"/>
                <a:gd name="connsiteY795" fmla="*/ 364692 h 1050628"/>
                <a:gd name="connsiteX796" fmla="*/ 1770810 w 2449768"/>
                <a:gd name="connsiteY796" fmla="*/ 358616 h 1050628"/>
                <a:gd name="connsiteX797" fmla="*/ 1776886 w 2449768"/>
                <a:gd name="connsiteY797" fmla="*/ 334311 h 1050628"/>
                <a:gd name="connsiteX798" fmla="*/ 1787899 w 2449768"/>
                <a:gd name="connsiteY798" fmla="*/ 331653 h 1050628"/>
                <a:gd name="connsiteX799" fmla="*/ 1879040 w 2449768"/>
                <a:gd name="connsiteY799" fmla="*/ 328615 h 1050628"/>
                <a:gd name="connsiteX800" fmla="*/ 1892332 w 2449768"/>
                <a:gd name="connsiteY800" fmla="*/ 337349 h 1050628"/>
                <a:gd name="connsiteX801" fmla="*/ 1886256 w 2449768"/>
                <a:gd name="connsiteY801" fmla="*/ 361654 h 1050628"/>
                <a:gd name="connsiteX802" fmla="*/ 1861951 w 2449768"/>
                <a:gd name="connsiteY802" fmla="*/ 355578 h 1050628"/>
                <a:gd name="connsiteX803" fmla="*/ 1868027 w 2449768"/>
                <a:gd name="connsiteY803" fmla="*/ 331273 h 1050628"/>
                <a:gd name="connsiteX804" fmla="*/ 1879040 w 2449768"/>
                <a:gd name="connsiteY804" fmla="*/ 328615 h 1050628"/>
                <a:gd name="connsiteX805" fmla="*/ 1265352 w 2449768"/>
                <a:gd name="connsiteY805" fmla="*/ 325577 h 1050628"/>
                <a:gd name="connsiteX806" fmla="*/ 1278644 w 2449768"/>
                <a:gd name="connsiteY806" fmla="*/ 334311 h 1050628"/>
                <a:gd name="connsiteX807" fmla="*/ 1272568 w 2449768"/>
                <a:gd name="connsiteY807" fmla="*/ 358616 h 1050628"/>
                <a:gd name="connsiteX808" fmla="*/ 1248263 w 2449768"/>
                <a:gd name="connsiteY808" fmla="*/ 352540 h 1050628"/>
                <a:gd name="connsiteX809" fmla="*/ 1254339 w 2449768"/>
                <a:gd name="connsiteY809" fmla="*/ 328235 h 1050628"/>
                <a:gd name="connsiteX810" fmla="*/ 1265352 w 2449768"/>
                <a:gd name="connsiteY810" fmla="*/ 325577 h 1050628"/>
                <a:gd name="connsiteX811" fmla="*/ 864328 w 2449768"/>
                <a:gd name="connsiteY811" fmla="*/ 319501 h 1050628"/>
                <a:gd name="connsiteX812" fmla="*/ 877620 w 2449768"/>
                <a:gd name="connsiteY812" fmla="*/ 328235 h 1050628"/>
                <a:gd name="connsiteX813" fmla="*/ 871544 w 2449768"/>
                <a:gd name="connsiteY813" fmla="*/ 352540 h 1050628"/>
                <a:gd name="connsiteX814" fmla="*/ 847239 w 2449768"/>
                <a:gd name="connsiteY814" fmla="*/ 346464 h 1050628"/>
                <a:gd name="connsiteX815" fmla="*/ 853315 w 2449768"/>
                <a:gd name="connsiteY815" fmla="*/ 322159 h 1050628"/>
                <a:gd name="connsiteX816" fmla="*/ 864328 w 2449768"/>
                <a:gd name="connsiteY816" fmla="*/ 319501 h 1050628"/>
                <a:gd name="connsiteX817" fmla="*/ 1459788 w 2449768"/>
                <a:gd name="connsiteY817" fmla="*/ 316463 h 1050628"/>
                <a:gd name="connsiteX818" fmla="*/ 1473080 w 2449768"/>
                <a:gd name="connsiteY818" fmla="*/ 325197 h 1050628"/>
                <a:gd name="connsiteX819" fmla="*/ 1467004 w 2449768"/>
                <a:gd name="connsiteY819" fmla="*/ 349502 h 1050628"/>
                <a:gd name="connsiteX820" fmla="*/ 1442699 w 2449768"/>
                <a:gd name="connsiteY820" fmla="*/ 343426 h 1050628"/>
                <a:gd name="connsiteX821" fmla="*/ 1448775 w 2449768"/>
                <a:gd name="connsiteY821" fmla="*/ 319121 h 1050628"/>
                <a:gd name="connsiteX822" fmla="*/ 1459788 w 2449768"/>
                <a:gd name="connsiteY822" fmla="*/ 316463 h 1050628"/>
                <a:gd name="connsiteX823" fmla="*/ 1702833 w 2449768"/>
                <a:gd name="connsiteY823" fmla="*/ 310387 h 1050628"/>
                <a:gd name="connsiteX824" fmla="*/ 1716125 w 2449768"/>
                <a:gd name="connsiteY824" fmla="*/ 319121 h 1050628"/>
                <a:gd name="connsiteX825" fmla="*/ 1710049 w 2449768"/>
                <a:gd name="connsiteY825" fmla="*/ 343426 h 1050628"/>
                <a:gd name="connsiteX826" fmla="*/ 1685744 w 2449768"/>
                <a:gd name="connsiteY826" fmla="*/ 337350 h 1050628"/>
                <a:gd name="connsiteX827" fmla="*/ 1691820 w 2449768"/>
                <a:gd name="connsiteY827" fmla="*/ 313045 h 1050628"/>
                <a:gd name="connsiteX828" fmla="*/ 1702833 w 2449768"/>
                <a:gd name="connsiteY828" fmla="*/ 310387 h 1050628"/>
                <a:gd name="connsiteX829" fmla="*/ 1577893 w 2449768"/>
                <a:gd name="connsiteY829" fmla="*/ 297095 h 1050628"/>
                <a:gd name="connsiteX830" fmla="*/ 1591565 w 2449768"/>
                <a:gd name="connsiteY830" fmla="*/ 306969 h 1050628"/>
                <a:gd name="connsiteX831" fmla="*/ 1585489 w 2449768"/>
                <a:gd name="connsiteY831" fmla="*/ 331274 h 1050628"/>
                <a:gd name="connsiteX832" fmla="*/ 1561184 w 2449768"/>
                <a:gd name="connsiteY832" fmla="*/ 325198 h 1050628"/>
                <a:gd name="connsiteX833" fmla="*/ 1564222 w 2449768"/>
                <a:gd name="connsiteY833" fmla="*/ 300893 h 1050628"/>
                <a:gd name="connsiteX834" fmla="*/ 1577893 w 2449768"/>
                <a:gd name="connsiteY834" fmla="*/ 297095 h 1050628"/>
                <a:gd name="connsiteX835" fmla="*/ 955470 w 2449768"/>
                <a:gd name="connsiteY835" fmla="*/ 295196 h 1050628"/>
                <a:gd name="connsiteX836" fmla="*/ 968762 w 2449768"/>
                <a:gd name="connsiteY836" fmla="*/ 303930 h 1050628"/>
                <a:gd name="connsiteX837" fmla="*/ 962686 w 2449768"/>
                <a:gd name="connsiteY837" fmla="*/ 328235 h 1050628"/>
                <a:gd name="connsiteX838" fmla="*/ 938381 w 2449768"/>
                <a:gd name="connsiteY838" fmla="*/ 322159 h 1050628"/>
                <a:gd name="connsiteX839" fmla="*/ 944457 w 2449768"/>
                <a:gd name="connsiteY839" fmla="*/ 297854 h 1050628"/>
                <a:gd name="connsiteX840" fmla="*/ 955470 w 2449768"/>
                <a:gd name="connsiteY840" fmla="*/ 295196 h 1050628"/>
                <a:gd name="connsiteX841" fmla="*/ 1365608 w 2449768"/>
                <a:gd name="connsiteY841" fmla="*/ 283044 h 1050628"/>
                <a:gd name="connsiteX842" fmla="*/ 1378900 w 2449768"/>
                <a:gd name="connsiteY842" fmla="*/ 291778 h 1050628"/>
                <a:gd name="connsiteX843" fmla="*/ 1372824 w 2449768"/>
                <a:gd name="connsiteY843" fmla="*/ 316083 h 1050628"/>
                <a:gd name="connsiteX844" fmla="*/ 1348519 w 2449768"/>
                <a:gd name="connsiteY844" fmla="*/ 310007 h 1050628"/>
                <a:gd name="connsiteX845" fmla="*/ 1354595 w 2449768"/>
                <a:gd name="connsiteY845" fmla="*/ 285702 h 1050628"/>
                <a:gd name="connsiteX846" fmla="*/ 1365608 w 2449768"/>
                <a:gd name="connsiteY846" fmla="*/ 283044 h 1050628"/>
                <a:gd name="connsiteX847" fmla="*/ 1979296 w 2449768"/>
                <a:gd name="connsiteY847" fmla="*/ 267854 h 1050628"/>
                <a:gd name="connsiteX848" fmla="*/ 1992588 w 2449768"/>
                <a:gd name="connsiteY848" fmla="*/ 276588 h 1050628"/>
                <a:gd name="connsiteX849" fmla="*/ 1986512 w 2449768"/>
                <a:gd name="connsiteY849" fmla="*/ 300893 h 1050628"/>
                <a:gd name="connsiteX850" fmla="*/ 1962207 w 2449768"/>
                <a:gd name="connsiteY850" fmla="*/ 294817 h 1050628"/>
                <a:gd name="connsiteX851" fmla="*/ 1968283 w 2449768"/>
                <a:gd name="connsiteY851" fmla="*/ 270512 h 1050628"/>
                <a:gd name="connsiteX852" fmla="*/ 1979296 w 2449768"/>
                <a:gd name="connsiteY852" fmla="*/ 267854 h 1050628"/>
                <a:gd name="connsiteX853" fmla="*/ 1173830 w 2449768"/>
                <a:gd name="connsiteY853" fmla="*/ 266714 h 1050628"/>
                <a:gd name="connsiteX854" fmla="*/ 1187502 w 2449768"/>
                <a:gd name="connsiteY854" fmla="*/ 276588 h 1050628"/>
                <a:gd name="connsiteX855" fmla="*/ 1181425 w 2449768"/>
                <a:gd name="connsiteY855" fmla="*/ 300893 h 1050628"/>
                <a:gd name="connsiteX856" fmla="*/ 1157121 w 2449768"/>
                <a:gd name="connsiteY856" fmla="*/ 294817 h 1050628"/>
                <a:gd name="connsiteX857" fmla="*/ 1160159 w 2449768"/>
                <a:gd name="connsiteY857" fmla="*/ 270512 h 1050628"/>
                <a:gd name="connsiteX858" fmla="*/ 1173830 w 2449768"/>
                <a:gd name="connsiteY858" fmla="*/ 266714 h 1050628"/>
                <a:gd name="connsiteX859" fmla="*/ 2167656 w 2449768"/>
                <a:gd name="connsiteY859" fmla="*/ 246587 h 1050628"/>
                <a:gd name="connsiteX860" fmla="*/ 2180948 w 2449768"/>
                <a:gd name="connsiteY860" fmla="*/ 255321 h 1050628"/>
                <a:gd name="connsiteX861" fmla="*/ 2174872 w 2449768"/>
                <a:gd name="connsiteY861" fmla="*/ 279626 h 1050628"/>
                <a:gd name="connsiteX862" fmla="*/ 2150567 w 2449768"/>
                <a:gd name="connsiteY862" fmla="*/ 273550 h 1050628"/>
                <a:gd name="connsiteX863" fmla="*/ 2156643 w 2449768"/>
                <a:gd name="connsiteY863" fmla="*/ 249245 h 1050628"/>
                <a:gd name="connsiteX864" fmla="*/ 2167656 w 2449768"/>
                <a:gd name="connsiteY864" fmla="*/ 246587 h 1050628"/>
                <a:gd name="connsiteX865" fmla="*/ 2073477 w 2449768"/>
                <a:gd name="connsiteY865" fmla="*/ 240511 h 1050628"/>
                <a:gd name="connsiteX866" fmla="*/ 2086768 w 2449768"/>
                <a:gd name="connsiteY866" fmla="*/ 249245 h 1050628"/>
                <a:gd name="connsiteX867" fmla="*/ 2080692 w 2449768"/>
                <a:gd name="connsiteY867" fmla="*/ 273550 h 1050628"/>
                <a:gd name="connsiteX868" fmla="*/ 2056387 w 2449768"/>
                <a:gd name="connsiteY868" fmla="*/ 267474 h 1050628"/>
                <a:gd name="connsiteX869" fmla="*/ 2062463 w 2449768"/>
                <a:gd name="connsiteY869" fmla="*/ 243169 h 1050628"/>
                <a:gd name="connsiteX870" fmla="*/ 2073477 w 2449768"/>
                <a:gd name="connsiteY870" fmla="*/ 240511 h 1050628"/>
                <a:gd name="connsiteX871" fmla="*/ 1505359 w 2449768"/>
                <a:gd name="connsiteY871" fmla="*/ 222283 h 1050628"/>
                <a:gd name="connsiteX872" fmla="*/ 1518651 w 2449768"/>
                <a:gd name="connsiteY872" fmla="*/ 231017 h 1050628"/>
                <a:gd name="connsiteX873" fmla="*/ 1512575 w 2449768"/>
                <a:gd name="connsiteY873" fmla="*/ 255322 h 1050628"/>
                <a:gd name="connsiteX874" fmla="*/ 1488270 w 2449768"/>
                <a:gd name="connsiteY874" fmla="*/ 249246 h 1050628"/>
                <a:gd name="connsiteX875" fmla="*/ 1494346 w 2449768"/>
                <a:gd name="connsiteY875" fmla="*/ 224941 h 1050628"/>
                <a:gd name="connsiteX876" fmla="*/ 1505359 w 2449768"/>
                <a:gd name="connsiteY876" fmla="*/ 222283 h 1050628"/>
                <a:gd name="connsiteX877" fmla="*/ 1007117 w 2449768"/>
                <a:gd name="connsiteY877" fmla="*/ 222283 h 1050628"/>
                <a:gd name="connsiteX878" fmla="*/ 1020409 w 2449768"/>
                <a:gd name="connsiteY878" fmla="*/ 231017 h 1050628"/>
                <a:gd name="connsiteX879" fmla="*/ 1014333 w 2449768"/>
                <a:gd name="connsiteY879" fmla="*/ 255322 h 1050628"/>
                <a:gd name="connsiteX880" fmla="*/ 990028 w 2449768"/>
                <a:gd name="connsiteY880" fmla="*/ 249246 h 1050628"/>
                <a:gd name="connsiteX881" fmla="*/ 996104 w 2449768"/>
                <a:gd name="connsiteY881" fmla="*/ 224941 h 1050628"/>
                <a:gd name="connsiteX882" fmla="*/ 1007117 w 2449768"/>
                <a:gd name="connsiteY882" fmla="*/ 222283 h 1050628"/>
                <a:gd name="connsiteX883" fmla="*/ 1298771 w 2449768"/>
                <a:gd name="connsiteY883" fmla="*/ 210131 h 1050628"/>
                <a:gd name="connsiteX884" fmla="*/ 1312063 w 2449768"/>
                <a:gd name="connsiteY884" fmla="*/ 218865 h 1050628"/>
                <a:gd name="connsiteX885" fmla="*/ 1305987 w 2449768"/>
                <a:gd name="connsiteY885" fmla="*/ 243170 h 1050628"/>
                <a:gd name="connsiteX886" fmla="*/ 1281682 w 2449768"/>
                <a:gd name="connsiteY886" fmla="*/ 237094 h 1050628"/>
                <a:gd name="connsiteX887" fmla="*/ 1287758 w 2449768"/>
                <a:gd name="connsiteY887" fmla="*/ 212789 h 1050628"/>
                <a:gd name="connsiteX888" fmla="*/ 1298771 w 2449768"/>
                <a:gd name="connsiteY888" fmla="*/ 210131 h 1050628"/>
                <a:gd name="connsiteX889" fmla="*/ 1881700 w 2449768"/>
                <a:gd name="connsiteY889" fmla="*/ 207472 h 1050628"/>
                <a:gd name="connsiteX890" fmla="*/ 1895371 w 2449768"/>
                <a:gd name="connsiteY890" fmla="*/ 218865 h 1050628"/>
                <a:gd name="connsiteX891" fmla="*/ 1889295 w 2449768"/>
                <a:gd name="connsiteY891" fmla="*/ 243170 h 1050628"/>
                <a:gd name="connsiteX892" fmla="*/ 1864990 w 2449768"/>
                <a:gd name="connsiteY892" fmla="*/ 237094 h 1050628"/>
                <a:gd name="connsiteX893" fmla="*/ 1868028 w 2449768"/>
                <a:gd name="connsiteY893" fmla="*/ 209751 h 1050628"/>
                <a:gd name="connsiteX894" fmla="*/ 1881700 w 2449768"/>
                <a:gd name="connsiteY894" fmla="*/ 207472 h 1050628"/>
                <a:gd name="connsiteX895" fmla="*/ 1657262 w 2449768"/>
                <a:gd name="connsiteY895" fmla="*/ 207093 h 1050628"/>
                <a:gd name="connsiteX896" fmla="*/ 1670554 w 2449768"/>
                <a:gd name="connsiteY896" fmla="*/ 215827 h 1050628"/>
                <a:gd name="connsiteX897" fmla="*/ 1664478 w 2449768"/>
                <a:gd name="connsiteY897" fmla="*/ 240132 h 1050628"/>
                <a:gd name="connsiteX898" fmla="*/ 1637135 w 2449768"/>
                <a:gd name="connsiteY898" fmla="*/ 234056 h 1050628"/>
                <a:gd name="connsiteX899" fmla="*/ 1646249 w 2449768"/>
                <a:gd name="connsiteY899" fmla="*/ 209751 h 1050628"/>
                <a:gd name="connsiteX900" fmla="*/ 1657262 w 2449768"/>
                <a:gd name="connsiteY900" fmla="*/ 207093 h 1050628"/>
                <a:gd name="connsiteX901" fmla="*/ 1769671 w 2449768"/>
                <a:gd name="connsiteY901" fmla="*/ 201017 h 1050628"/>
                <a:gd name="connsiteX902" fmla="*/ 1782962 w 2449768"/>
                <a:gd name="connsiteY902" fmla="*/ 209751 h 1050628"/>
                <a:gd name="connsiteX903" fmla="*/ 1776886 w 2449768"/>
                <a:gd name="connsiteY903" fmla="*/ 234056 h 1050628"/>
                <a:gd name="connsiteX904" fmla="*/ 1752581 w 2449768"/>
                <a:gd name="connsiteY904" fmla="*/ 227980 h 1050628"/>
                <a:gd name="connsiteX905" fmla="*/ 1758657 w 2449768"/>
                <a:gd name="connsiteY905" fmla="*/ 203675 h 1050628"/>
                <a:gd name="connsiteX906" fmla="*/ 1769671 w 2449768"/>
                <a:gd name="connsiteY906" fmla="*/ 201017 h 1050628"/>
                <a:gd name="connsiteX907" fmla="*/ 1089145 w 2449768"/>
                <a:gd name="connsiteY907" fmla="*/ 197978 h 1050628"/>
                <a:gd name="connsiteX908" fmla="*/ 1102437 w 2449768"/>
                <a:gd name="connsiteY908" fmla="*/ 206712 h 1050628"/>
                <a:gd name="connsiteX909" fmla="*/ 1096361 w 2449768"/>
                <a:gd name="connsiteY909" fmla="*/ 231017 h 1050628"/>
                <a:gd name="connsiteX910" fmla="*/ 1072056 w 2449768"/>
                <a:gd name="connsiteY910" fmla="*/ 224941 h 1050628"/>
                <a:gd name="connsiteX911" fmla="*/ 1078132 w 2449768"/>
                <a:gd name="connsiteY911" fmla="*/ 200636 h 1050628"/>
                <a:gd name="connsiteX912" fmla="*/ 1089145 w 2449768"/>
                <a:gd name="connsiteY912" fmla="*/ 197978 h 1050628"/>
                <a:gd name="connsiteX913" fmla="*/ 1395989 w 2449768"/>
                <a:gd name="connsiteY913" fmla="*/ 161522 h 1050628"/>
                <a:gd name="connsiteX914" fmla="*/ 1409281 w 2449768"/>
                <a:gd name="connsiteY914" fmla="*/ 170256 h 1050628"/>
                <a:gd name="connsiteX915" fmla="*/ 1403205 w 2449768"/>
                <a:gd name="connsiteY915" fmla="*/ 194561 h 1050628"/>
                <a:gd name="connsiteX916" fmla="*/ 1378900 w 2449768"/>
                <a:gd name="connsiteY916" fmla="*/ 188485 h 1050628"/>
                <a:gd name="connsiteX917" fmla="*/ 1384976 w 2449768"/>
                <a:gd name="connsiteY917" fmla="*/ 164180 h 1050628"/>
                <a:gd name="connsiteX918" fmla="*/ 1395989 w 2449768"/>
                <a:gd name="connsiteY918" fmla="*/ 161522 h 1050628"/>
                <a:gd name="connsiteX919" fmla="*/ 1967145 w 2449768"/>
                <a:gd name="connsiteY919" fmla="*/ 140255 h 1050628"/>
                <a:gd name="connsiteX920" fmla="*/ 1980436 w 2449768"/>
                <a:gd name="connsiteY920" fmla="*/ 148989 h 1050628"/>
                <a:gd name="connsiteX921" fmla="*/ 1974360 w 2449768"/>
                <a:gd name="connsiteY921" fmla="*/ 173294 h 1050628"/>
                <a:gd name="connsiteX922" fmla="*/ 1950055 w 2449768"/>
                <a:gd name="connsiteY922" fmla="*/ 170256 h 1050628"/>
                <a:gd name="connsiteX923" fmla="*/ 1956131 w 2449768"/>
                <a:gd name="connsiteY923" fmla="*/ 142913 h 1050628"/>
                <a:gd name="connsiteX924" fmla="*/ 1967145 w 2449768"/>
                <a:gd name="connsiteY924" fmla="*/ 140255 h 1050628"/>
                <a:gd name="connsiteX925" fmla="*/ 1234971 w 2449768"/>
                <a:gd name="connsiteY925" fmla="*/ 131141 h 1050628"/>
                <a:gd name="connsiteX926" fmla="*/ 1248263 w 2449768"/>
                <a:gd name="connsiteY926" fmla="*/ 139875 h 1050628"/>
                <a:gd name="connsiteX927" fmla="*/ 1242187 w 2449768"/>
                <a:gd name="connsiteY927" fmla="*/ 164180 h 1050628"/>
                <a:gd name="connsiteX928" fmla="*/ 1217882 w 2449768"/>
                <a:gd name="connsiteY928" fmla="*/ 158104 h 1050628"/>
                <a:gd name="connsiteX929" fmla="*/ 1223958 w 2449768"/>
                <a:gd name="connsiteY929" fmla="*/ 133799 h 1050628"/>
                <a:gd name="connsiteX930" fmla="*/ 1234971 w 2449768"/>
                <a:gd name="connsiteY930" fmla="*/ 131141 h 1050628"/>
                <a:gd name="connsiteX931" fmla="*/ 1149906 w 2449768"/>
                <a:gd name="connsiteY931" fmla="*/ 131141 h 1050628"/>
                <a:gd name="connsiteX932" fmla="*/ 1163198 w 2449768"/>
                <a:gd name="connsiteY932" fmla="*/ 139875 h 1050628"/>
                <a:gd name="connsiteX933" fmla="*/ 1157122 w 2449768"/>
                <a:gd name="connsiteY933" fmla="*/ 164180 h 1050628"/>
                <a:gd name="connsiteX934" fmla="*/ 1132817 w 2449768"/>
                <a:gd name="connsiteY934" fmla="*/ 158104 h 1050628"/>
                <a:gd name="connsiteX935" fmla="*/ 1138893 w 2449768"/>
                <a:gd name="connsiteY935" fmla="*/ 133799 h 1050628"/>
                <a:gd name="connsiteX936" fmla="*/ 1149906 w 2449768"/>
                <a:gd name="connsiteY936" fmla="*/ 131141 h 1050628"/>
                <a:gd name="connsiteX937" fmla="*/ 2064362 w 2449768"/>
                <a:gd name="connsiteY937" fmla="*/ 128103 h 1050628"/>
                <a:gd name="connsiteX938" fmla="*/ 2077654 w 2449768"/>
                <a:gd name="connsiteY938" fmla="*/ 136837 h 1050628"/>
                <a:gd name="connsiteX939" fmla="*/ 2071578 w 2449768"/>
                <a:gd name="connsiteY939" fmla="*/ 161142 h 1050628"/>
                <a:gd name="connsiteX940" fmla="*/ 2047273 w 2449768"/>
                <a:gd name="connsiteY940" fmla="*/ 155066 h 1050628"/>
                <a:gd name="connsiteX941" fmla="*/ 2053349 w 2449768"/>
                <a:gd name="connsiteY941" fmla="*/ 130761 h 1050628"/>
                <a:gd name="connsiteX942" fmla="*/ 2064362 w 2449768"/>
                <a:gd name="connsiteY942" fmla="*/ 128103 h 1050628"/>
                <a:gd name="connsiteX943" fmla="*/ 1496245 w 2449768"/>
                <a:gd name="connsiteY943" fmla="*/ 120887 h 1050628"/>
                <a:gd name="connsiteX944" fmla="*/ 1509537 w 2449768"/>
                <a:gd name="connsiteY944" fmla="*/ 130761 h 1050628"/>
                <a:gd name="connsiteX945" fmla="*/ 1503461 w 2449768"/>
                <a:gd name="connsiteY945" fmla="*/ 155066 h 1050628"/>
                <a:gd name="connsiteX946" fmla="*/ 1479156 w 2449768"/>
                <a:gd name="connsiteY946" fmla="*/ 148990 h 1050628"/>
                <a:gd name="connsiteX947" fmla="*/ 1485232 w 2449768"/>
                <a:gd name="connsiteY947" fmla="*/ 124685 h 1050628"/>
                <a:gd name="connsiteX948" fmla="*/ 1496245 w 2449768"/>
                <a:gd name="connsiteY948" fmla="*/ 120887 h 1050628"/>
                <a:gd name="connsiteX949" fmla="*/ 1599539 w 2449768"/>
                <a:gd name="connsiteY949" fmla="*/ 112913 h 1050628"/>
                <a:gd name="connsiteX950" fmla="*/ 1612831 w 2449768"/>
                <a:gd name="connsiteY950" fmla="*/ 121647 h 1050628"/>
                <a:gd name="connsiteX951" fmla="*/ 1606754 w 2449768"/>
                <a:gd name="connsiteY951" fmla="*/ 145952 h 1050628"/>
                <a:gd name="connsiteX952" fmla="*/ 1582450 w 2449768"/>
                <a:gd name="connsiteY952" fmla="*/ 139876 h 1050628"/>
                <a:gd name="connsiteX953" fmla="*/ 1588526 w 2449768"/>
                <a:gd name="connsiteY953" fmla="*/ 115571 h 1050628"/>
                <a:gd name="connsiteX954" fmla="*/ 1599539 w 2449768"/>
                <a:gd name="connsiteY954" fmla="*/ 112913 h 1050628"/>
                <a:gd name="connsiteX955" fmla="*/ 1836508 w 2449768"/>
                <a:gd name="connsiteY955" fmla="*/ 109875 h 1050628"/>
                <a:gd name="connsiteX956" fmla="*/ 1849800 w 2449768"/>
                <a:gd name="connsiteY956" fmla="*/ 118609 h 1050628"/>
                <a:gd name="connsiteX957" fmla="*/ 1843724 w 2449768"/>
                <a:gd name="connsiteY957" fmla="*/ 142914 h 1050628"/>
                <a:gd name="connsiteX958" fmla="*/ 1819419 w 2449768"/>
                <a:gd name="connsiteY958" fmla="*/ 136838 h 1050628"/>
                <a:gd name="connsiteX959" fmla="*/ 1825495 w 2449768"/>
                <a:gd name="connsiteY959" fmla="*/ 112533 h 1050628"/>
                <a:gd name="connsiteX960" fmla="*/ 1836508 w 2449768"/>
                <a:gd name="connsiteY960" fmla="*/ 109875 h 1050628"/>
                <a:gd name="connsiteX961" fmla="*/ 1708529 w 2449768"/>
                <a:gd name="connsiteY961" fmla="*/ 106837 h 1050628"/>
                <a:gd name="connsiteX962" fmla="*/ 1722201 w 2449768"/>
                <a:gd name="connsiteY962" fmla="*/ 115571 h 1050628"/>
                <a:gd name="connsiteX963" fmla="*/ 1716124 w 2449768"/>
                <a:gd name="connsiteY963" fmla="*/ 139876 h 1050628"/>
                <a:gd name="connsiteX964" fmla="*/ 1691820 w 2449768"/>
                <a:gd name="connsiteY964" fmla="*/ 133800 h 1050628"/>
                <a:gd name="connsiteX965" fmla="*/ 1694858 w 2449768"/>
                <a:gd name="connsiteY965" fmla="*/ 109495 h 1050628"/>
                <a:gd name="connsiteX966" fmla="*/ 1708529 w 2449768"/>
                <a:gd name="connsiteY966" fmla="*/ 106837 h 1050628"/>
                <a:gd name="connsiteX967" fmla="*/ 1301429 w 2449768"/>
                <a:gd name="connsiteY967" fmla="*/ 60126 h 1050628"/>
                <a:gd name="connsiteX968" fmla="*/ 1315101 w 2449768"/>
                <a:gd name="connsiteY968" fmla="*/ 70000 h 1050628"/>
                <a:gd name="connsiteX969" fmla="*/ 1309024 w 2449768"/>
                <a:gd name="connsiteY969" fmla="*/ 94305 h 1050628"/>
                <a:gd name="connsiteX970" fmla="*/ 1284720 w 2449768"/>
                <a:gd name="connsiteY970" fmla="*/ 88229 h 1050628"/>
                <a:gd name="connsiteX971" fmla="*/ 1287758 w 2449768"/>
                <a:gd name="connsiteY971" fmla="*/ 63924 h 1050628"/>
                <a:gd name="connsiteX972" fmla="*/ 1301429 w 2449768"/>
                <a:gd name="connsiteY972" fmla="*/ 60126 h 1050628"/>
                <a:gd name="connsiteX973" fmla="*/ 1930687 w 2449768"/>
                <a:gd name="connsiteY973" fmla="*/ 49113 h 1050628"/>
                <a:gd name="connsiteX974" fmla="*/ 1943979 w 2449768"/>
                <a:gd name="connsiteY974" fmla="*/ 57847 h 1050628"/>
                <a:gd name="connsiteX975" fmla="*/ 1937903 w 2449768"/>
                <a:gd name="connsiteY975" fmla="*/ 82152 h 1050628"/>
                <a:gd name="connsiteX976" fmla="*/ 1913598 w 2449768"/>
                <a:gd name="connsiteY976" fmla="*/ 76076 h 1050628"/>
                <a:gd name="connsiteX977" fmla="*/ 1919674 w 2449768"/>
                <a:gd name="connsiteY977" fmla="*/ 51771 h 1050628"/>
                <a:gd name="connsiteX978" fmla="*/ 1930687 w 2449768"/>
                <a:gd name="connsiteY978" fmla="*/ 49113 h 1050628"/>
                <a:gd name="connsiteX979" fmla="*/ 1402065 w 2449768"/>
                <a:gd name="connsiteY979" fmla="*/ 43037 h 1050628"/>
                <a:gd name="connsiteX980" fmla="*/ 1415357 w 2449768"/>
                <a:gd name="connsiteY980" fmla="*/ 51771 h 1050628"/>
                <a:gd name="connsiteX981" fmla="*/ 1409281 w 2449768"/>
                <a:gd name="connsiteY981" fmla="*/ 76076 h 1050628"/>
                <a:gd name="connsiteX982" fmla="*/ 1384976 w 2449768"/>
                <a:gd name="connsiteY982" fmla="*/ 70000 h 1050628"/>
                <a:gd name="connsiteX983" fmla="*/ 1391052 w 2449768"/>
                <a:gd name="connsiteY983" fmla="*/ 45695 h 1050628"/>
                <a:gd name="connsiteX984" fmla="*/ 1402065 w 2449768"/>
                <a:gd name="connsiteY984" fmla="*/ 43037 h 1050628"/>
                <a:gd name="connsiteX985" fmla="*/ 1806127 w 2449768"/>
                <a:gd name="connsiteY985" fmla="*/ 15695 h 1050628"/>
                <a:gd name="connsiteX986" fmla="*/ 1819419 w 2449768"/>
                <a:gd name="connsiteY986" fmla="*/ 24429 h 1050628"/>
                <a:gd name="connsiteX987" fmla="*/ 1813343 w 2449768"/>
                <a:gd name="connsiteY987" fmla="*/ 48734 h 1050628"/>
                <a:gd name="connsiteX988" fmla="*/ 1789038 w 2449768"/>
                <a:gd name="connsiteY988" fmla="*/ 42658 h 1050628"/>
                <a:gd name="connsiteX989" fmla="*/ 1795114 w 2449768"/>
                <a:gd name="connsiteY989" fmla="*/ 18353 h 1050628"/>
                <a:gd name="connsiteX990" fmla="*/ 1806127 w 2449768"/>
                <a:gd name="connsiteY990" fmla="*/ 15695 h 1050628"/>
                <a:gd name="connsiteX991" fmla="*/ 1499283 w 2449768"/>
                <a:gd name="connsiteY991" fmla="*/ 9619 h 1050628"/>
                <a:gd name="connsiteX992" fmla="*/ 1512575 w 2449768"/>
                <a:gd name="connsiteY992" fmla="*/ 18353 h 1050628"/>
                <a:gd name="connsiteX993" fmla="*/ 1506499 w 2449768"/>
                <a:gd name="connsiteY993" fmla="*/ 45696 h 1050628"/>
                <a:gd name="connsiteX994" fmla="*/ 1482194 w 2449768"/>
                <a:gd name="connsiteY994" fmla="*/ 39620 h 1050628"/>
                <a:gd name="connsiteX995" fmla="*/ 1488270 w 2449768"/>
                <a:gd name="connsiteY995" fmla="*/ 12277 h 1050628"/>
                <a:gd name="connsiteX996" fmla="*/ 1499283 w 2449768"/>
                <a:gd name="connsiteY996" fmla="*/ 9619 h 1050628"/>
                <a:gd name="connsiteX997" fmla="*/ 1699795 w 2449768"/>
                <a:gd name="connsiteY997" fmla="*/ 3543 h 1050628"/>
                <a:gd name="connsiteX998" fmla="*/ 1713087 w 2449768"/>
                <a:gd name="connsiteY998" fmla="*/ 12277 h 1050628"/>
                <a:gd name="connsiteX999" fmla="*/ 1707011 w 2449768"/>
                <a:gd name="connsiteY999" fmla="*/ 36582 h 1050628"/>
                <a:gd name="connsiteX1000" fmla="*/ 1682706 w 2449768"/>
                <a:gd name="connsiteY1000" fmla="*/ 30506 h 1050628"/>
                <a:gd name="connsiteX1001" fmla="*/ 1688782 w 2449768"/>
                <a:gd name="connsiteY1001" fmla="*/ 6201 h 1050628"/>
                <a:gd name="connsiteX1002" fmla="*/ 1699795 w 2449768"/>
                <a:gd name="connsiteY1002" fmla="*/ 3543 h 1050628"/>
                <a:gd name="connsiteX1003" fmla="*/ 1599539 w 2449768"/>
                <a:gd name="connsiteY1003" fmla="*/ 504 h 1050628"/>
                <a:gd name="connsiteX1004" fmla="*/ 1612831 w 2449768"/>
                <a:gd name="connsiteY1004" fmla="*/ 9238 h 1050628"/>
                <a:gd name="connsiteX1005" fmla="*/ 1606754 w 2449768"/>
                <a:gd name="connsiteY1005" fmla="*/ 33543 h 1050628"/>
                <a:gd name="connsiteX1006" fmla="*/ 1582450 w 2449768"/>
                <a:gd name="connsiteY1006" fmla="*/ 27467 h 1050628"/>
                <a:gd name="connsiteX1007" fmla="*/ 1588526 w 2449768"/>
                <a:gd name="connsiteY1007" fmla="*/ 3162 h 1050628"/>
                <a:gd name="connsiteX1008" fmla="*/ 1599539 w 2449768"/>
                <a:gd name="connsiteY1008" fmla="*/ 504 h 10506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</a:cxnLst>
              <a:rect l="l" t="t" r="r" b="b"/>
              <a:pathLst>
                <a:path w="2449768" h="1050628">
                  <a:moveTo>
                    <a:pt x="1553968" y="1045598"/>
                  </a:moveTo>
                  <a:lnTo>
                    <a:pt x="1561623" y="1050628"/>
                  </a:lnTo>
                  <a:lnTo>
                    <a:pt x="1540857" y="1050628"/>
                  </a:lnTo>
                  <a:lnTo>
                    <a:pt x="1542955" y="1048256"/>
                  </a:lnTo>
                  <a:cubicBezTo>
                    <a:pt x="1545993" y="1045218"/>
                    <a:pt x="1549791" y="1044458"/>
                    <a:pt x="1553968" y="1045598"/>
                  </a:cubicBezTo>
                  <a:close/>
                  <a:moveTo>
                    <a:pt x="490647" y="1036483"/>
                  </a:moveTo>
                  <a:cubicBezTo>
                    <a:pt x="494825" y="1037622"/>
                    <a:pt x="499382" y="1040660"/>
                    <a:pt x="503939" y="1045217"/>
                  </a:cubicBezTo>
                  <a:lnTo>
                    <a:pt x="505485" y="1050628"/>
                  </a:lnTo>
                  <a:lnTo>
                    <a:pt x="470645" y="1050628"/>
                  </a:lnTo>
                  <a:lnTo>
                    <a:pt x="469761" y="1046736"/>
                  </a:lnTo>
                  <a:cubicBezTo>
                    <a:pt x="470520" y="1042939"/>
                    <a:pt x="473558" y="1040660"/>
                    <a:pt x="479634" y="1039141"/>
                  </a:cubicBezTo>
                  <a:cubicBezTo>
                    <a:pt x="482672" y="1036103"/>
                    <a:pt x="486470" y="1035343"/>
                    <a:pt x="490647" y="1036483"/>
                  </a:cubicBezTo>
                  <a:close/>
                  <a:moveTo>
                    <a:pt x="326591" y="1030407"/>
                  </a:moveTo>
                  <a:cubicBezTo>
                    <a:pt x="330769" y="1031546"/>
                    <a:pt x="335326" y="1034584"/>
                    <a:pt x="339883" y="1039141"/>
                  </a:cubicBezTo>
                  <a:lnTo>
                    <a:pt x="341999" y="1050628"/>
                  </a:lnTo>
                  <a:lnTo>
                    <a:pt x="308260" y="1050628"/>
                  </a:lnTo>
                  <a:lnTo>
                    <a:pt x="306844" y="1042939"/>
                  </a:lnTo>
                  <a:cubicBezTo>
                    <a:pt x="307983" y="1039141"/>
                    <a:pt x="311021" y="1036103"/>
                    <a:pt x="315578" y="1033065"/>
                  </a:cubicBezTo>
                  <a:cubicBezTo>
                    <a:pt x="318616" y="1030027"/>
                    <a:pt x="322414" y="1029267"/>
                    <a:pt x="326591" y="1030407"/>
                  </a:cubicBezTo>
                  <a:close/>
                  <a:moveTo>
                    <a:pt x="20886" y="1026229"/>
                  </a:moveTo>
                  <a:cubicBezTo>
                    <a:pt x="24684" y="1026989"/>
                    <a:pt x="28482" y="1030027"/>
                    <a:pt x="33039" y="1036103"/>
                  </a:cubicBezTo>
                  <a:cubicBezTo>
                    <a:pt x="37596" y="1040660"/>
                    <a:pt x="38356" y="1045218"/>
                    <a:pt x="36837" y="1049395"/>
                  </a:cubicBezTo>
                  <a:lnTo>
                    <a:pt x="35731" y="1050628"/>
                  </a:lnTo>
                  <a:lnTo>
                    <a:pt x="1976" y="1050628"/>
                  </a:lnTo>
                  <a:lnTo>
                    <a:pt x="0" y="1039901"/>
                  </a:lnTo>
                  <a:cubicBezTo>
                    <a:pt x="1139" y="1036103"/>
                    <a:pt x="4177" y="1033065"/>
                    <a:pt x="8734" y="1030027"/>
                  </a:cubicBezTo>
                  <a:cubicBezTo>
                    <a:pt x="13291" y="1026989"/>
                    <a:pt x="17089" y="1025470"/>
                    <a:pt x="20886" y="1026229"/>
                  </a:cubicBezTo>
                  <a:close/>
                  <a:moveTo>
                    <a:pt x="2100819" y="1024331"/>
                  </a:moveTo>
                  <a:cubicBezTo>
                    <a:pt x="2104997" y="1025470"/>
                    <a:pt x="2109554" y="1028508"/>
                    <a:pt x="2114111" y="1033065"/>
                  </a:cubicBezTo>
                  <a:cubicBezTo>
                    <a:pt x="2118668" y="1037622"/>
                    <a:pt x="2119428" y="1042180"/>
                    <a:pt x="2117909" y="1046357"/>
                  </a:cubicBezTo>
                  <a:lnTo>
                    <a:pt x="2114079" y="1050628"/>
                  </a:lnTo>
                  <a:lnTo>
                    <a:pt x="2083616" y="1050628"/>
                  </a:lnTo>
                  <a:lnTo>
                    <a:pt x="2081072" y="1035724"/>
                  </a:lnTo>
                  <a:cubicBezTo>
                    <a:pt x="2082211" y="1031546"/>
                    <a:pt x="2085249" y="1028508"/>
                    <a:pt x="2089806" y="1026989"/>
                  </a:cubicBezTo>
                  <a:cubicBezTo>
                    <a:pt x="2092844" y="1023951"/>
                    <a:pt x="2096642" y="1023191"/>
                    <a:pt x="2100819" y="1024331"/>
                  </a:cubicBezTo>
                  <a:close/>
                  <a:moveTo>
                    <a:pt x="1192439" y="1024331"/>
                  </a:moveTo>
                  <a:cubicBezTo>
                    <a:pt x="1196617" y="1025470"/>
                    <a:pt x="1201174" y="1028508"/>
                    <a:pt x="1205731" y="1033065"/>
                  </a:cubicBezTo>
                  <a:cubicBezTo>
                    <a:pt x="1210288" y="1037622"/>
                    <a:pt x="1211048" y="1042180"/>
                    <a:pt x="1209529" y="1046357"/>
                  </a:cubicBezTo>
                  <a:lnTo>
                    <a:pt x="1205699" y="1050628"/>
                  </a:lnTo>
                  <a:lnTo>
                    <a:pt x="1175227" y="1050628"/>
                  </a:lnTo>
                  <a:lnTo>
                    <a:pt x="1172692" y="1036863"/>
                  </a:lnTo>
                  <a:cubicBezTo>
                    <a:pt x="1173831" y="1033065"/>
                    <a:pt x="1176869" y="1030027"/>
                    <a:pt x="1181426" y="1026989"/>
                  </a:cubicBezTo>
                  <a:cubicBezTo>
                    <a:pt x="1184464" y="1023951"/>
                    <a:pt x="1188262" y="1023191"/>
                    <a:pt x="1192439" y="1024331"/>
                  </a:cubicBezTo>
                  <a:close/>
                  <a:moveTo>
                    <a:pt x="788376" y="1024331"/>
                  </a:moveTo>
                  <a:cubicBezTo>
                    <a:pt x="792554" y="1025470"/>
                    <a:pt x="797111" y="1028508"/>
                    <a:pt x="801668" y="1033065"/>
                  </a:cubicBezTo>
                  <a:cubicBezTo>
                    <a:pt x="806225" y="1037622"/>
                    <a:pt x="806985" y="1042180"/>
                    <a:pt x="805466" y="1046357"/>
                  </a:cubicBezTo>
                  <a:lnTo>
                    <a:pt x="801636" y="1050628"/>
                  </a:lnTo>
                  <a:lnTo>
                    <a:pt x="771181" y="1050628"/>
                  </a:lnTo>
                  <a:lnTo>
                    <a:pt x="768629" y="1034584"/>
                  </a:lnTo>
                  <a:cubicBezTo>
                    <a:pt x="769768" y="1030787"/>
                    <a:pt x="772806" y="1028508"/>
                    <a:pt x="777363" y="1026989"/>
                  </a:cubicBezTo>
                  <a:cubicBezTo>
                    <a:pt x="780401" y="1023951"/>
                    <a:pt x="784199" y="1023191"/>
                    <a:pt x="788376" y="1024331"/>
                  </a:cubicBezTo>
                  <a:close/>
                  <a:moveTo>
                    <a:pt x="138231" y="1024331"/>
                  </a:moveTo>
                  <a:cubicBezTo>
                    <a:pt x="142409" y="1025470"/>
                    <a:pt x="146966" y="1028508"/>
                    <a:pt x="151523" y="1033065"/>
                  </a:cubicBezTo>
                  <a:cubicBezTo>
                    <a:pt x="156080" y="1037622"/>
                    <a:pt x="156080" y="1042939"/>
                    <a:pt x="154181" y="1047496"/>
                  </a:cubicBezTo>
                  <a:lnTo>
                    <a:pt x="151411" y="1050628"/>
                  </a:lnTo>
                  <a:lnTo>
                    <a:pt x="121019" y="1050628"/>
                  </a:lnTo>
                  <a:lnTo>
                    <a:pt x="118484" y="1036863"/>
                  </a:lnTo>
                  <a:cubicBezTo>
                    <a:pt x="119623" y="1033065"/>
                    <a:pt x="122661" y="1030027"/>
                    <a:pt x="127218" y="1026989"/>
                  </a:cubicBezTo>
                  <a:cubicBezTo>
                    <a:pt x="130256" y="1023951"/>
                    <a:pt x="134054" y="1023191"/>
                    <a:pt x="138231" y="1024331"/>
                  </a:cubicBezTo>
                  <a:close/>
                  <a:moveTo>
                    <a:pt x="894709" y="1021293"/>
                  </a:moveTo>
                  <a:cubicBezTo>
                    <a:pt x="898887" y="1022432"/>
                    <a:pt x="903444" y="1025470"/>
                    <a:pt x="908001" y="1030027"/>
                  </a:cubicBezTo>
                  <a:cubicBezTo>
                    <a:pt x="912558" y="1034584"/>
                    <a:pt x="913318" y="1039142"/>
                    <a:pt x="911799" y="1043319"/>
                  </a:cubicBezTo>
                  <a:lnTo>
                    <a:pt x="905246" y="1050628"/>
                  </a:lnTo>
                  <a:lnTo>
                    <a:pt x="880920" y="1050628"/>
                  </a:lnTo>
                  <a:lnTo>
                    <a:pt x="877620" y="1048256"/>
                  </a:lnTo>
                  <a:cubicBezTo>
                    <a:pt x="871544" y="1033065"/>
                    <a:pt x="871544" y="1026989"/>
                    <a:pt x="883696" y="1023951"/>
                  </a:cubicBezTo>
                  <a:cubicBezTo>
                    <a:pt x="886734" y="1020913"/>
                    <a:pt x="890532" y="1020153"/>
                    <a:pt x="894709" y="1021293"/>
                  </a:cubicBezTo>
                  <a:close/>
                  <a:moveTo>
                    <a:pt x="694197" y="1021293"/>
                  </a:moveTo>
                  <a:cubicBezTo>
                    <a:pt x="698374" y="1022432"/>
                    <a:pt x="702931" y="1025470"/>
                    <a:pt x="707488" y="1030027"/>
                  </a:cubicBezTo>
                  <a:cubicBezTo>
                    <a:pt x="712046" y="1034584"/>
                    <a:pt x="712805" y="1039142"/>
                    <a:pt x="711286" y="1043319"/>
                  </a:cubicBezTo>
                  <a:lnTo>
                    <a:pt x="704733" y="1050628"/>
                  </a:lnTo>
                  <a:lnTo>
                    <a:pt x="680408" y="1050628"/>
                  </a:lnTo>
                  <a:lnTo>
                    <a:pt x="677108" y="1048256"/>
                  </a:lnTo>
                  <a:cubicBezTo>
                    <a:pt x="671032" y="1036103"/>
                    <a:pt x="677108" y="1030027"/>
                    <a:pt x="683184" y="1023951"/>
                  </a:cubicBezTo>
                  <a:cubicBezTo>
                    <a:pt x="686222" y="1020913"/>
                    <a:pt x="690020" y="1020153"/>
                    <a:pt x="694197" y="1021293"/>
                  </a:cubicBezTo>
                  <a:close/>
                  <a:moveTo>
                    <a:pt x="596979" y="1021293"/>
                  </a:moveTo>
                  <a:cubicBezTo>
                    <a:pt x="601157" y="1022432"/>
                    <a:pt x="605714" y="1025470"/>
                    <a:pt x="610271" y="1030027"/>
                  </a:cubicBezTo>
                  <a:cubicBezTo>
                    <a:pt x="614828" y="1034584"/>
                    <a:pt x="615588" y="1039142"/>
                    <a:pt x="614069" y="1043319"/>
                  </a:cubicBezTo>
                  <a:lnTo>
                    <a:pt x="607516" y="1050628"/>
                  </a:lnTo>
                  <a:lnTo>
                    <a:pt x="583190" y="1050628"/>
                  </a:lnTo>
                  <a:lnTo>
                    <a:pt x="579890" y="1048256"/>
                  </a:lnTo>
                  <a:cubicBezTo>
                    <a:pt x="573814" y="1033065"/>
                    <a:pt x="576852" y="1026989"/>
                    <a:pt x="585966" y="1023951"/>
                  </a:cubicBezTo>
                  <a:cubicBezTo>
                    <a:pt x="589004" y="1020913"/>
                    <a:pt x="592802" y="1020153"/>
                    <a:pt x="596979" y="1021293"/>
                  </a:cubicBezTo>
                  <a:close/>
                  <a:moveTo>
                    <a:pt x="1086106" y="1015217"/>
                  </a:moveTo>
                  <a:cubicBezTo>
                    <a:pt x="1090284" y="1016356"/>
                    <a:pt x="1094841" y="1019394"/>
                    <a:pt x="1099398" y="1023951"/>
                  </a:cubicBezTo>
                  <a:cubicBezTo>
                    <a:pt x="1108512" y="1033065"/>
                    <a:pt x="1099398" y="1045218"/>
                    <a:pt x="1093322" y="1048256"/>
                  </a:cubicBezTo>
                  <a:lnTo>
                    <a:pt x="1082478" y="1050628"/>
                  </a:lnTo>
                  <a:lnTo>
                    <a:pt x="1080771" y="1050628"/>
                  </a:lnTo>
                  <a:lnTo>
                    <a:pt x="1069017" y="1042180"/>
                  </a:lnTo>
                  <a:cubicBezTo>
                    <a:pt x="1062941" y="1030027"/>
                    <a:pt x="1065979" y="1023951"/>
                    <a:pt x="1075093" y="1017875"/>
                  </a:cubicBezTo>
                  <a:cubicBezTo>
                    <a:pt x="1078131" y="1014837"/>
                    <a:pt x="1081929" y="1014077"/>
                    <a:pt x="1086106" y="1015217"/>
                  </a:cubicBezTo>
                  <a:close/>
                  <a:moveTo>
                    <a:pt x="1313961" y="1009141"/>
                  </a:moveTo>
                  <a:cubicBezTo>
                    <a:pt x="1318139" y="1010280"/>
                    <a:pt x="1322696" y="1013318"/>
                    <a:pt x="1327253" y="1017875"/>
                  </a:cubicBezTo>
                  <a:cubicBezTo>
                    <a:pt x="1336367" y="1026989"/>
                    <a:pt x="1327253" y="1039142"/>
                    <a:pt x="1321177" y="1042180"/>
                  </a:cubicBezTo>
                  <a:cubicBezTo>
                    <a:pt x="1315101" y="1045218"/>
                    <a:pt x="1302948" y="1048256"/>
                    <a:pt x="1296872" y="1036104"/>
                  </a:cubicBezTo>
                  <a:cubicBezTo>
                    <a:pt x="1290796" y="1023951"/>
                    <a:pt x="1293834" y="1017875"/>
                    <a:pt x="1302948" y="1011799"/>
                  </a:cubicBezTo>
                  <a:cubicBezTo>
                    <a:pt x="1305986" y="1008761"/>
                    <a:pt x="1309784" y="1008001"/>
                    <a:pt x="1313961" y="1009141"/>
                  </a:cubicBezTo>
                  <a:close/>
                  <a:moveTo>
                    <a:pt x="2337788" y="996989"/>
                  </a:moveTo>
                  <a:cubicBezTo>
                    <a:pt x="2341966" y="998128"/>
                    <a:pt x="2346523" y="1001166"/>
                    <a:pt x="2351080" y="1005723"/>
                  </a:cubicBezTo>
                  <a:cubicBezTo>
                    <a:pt x="2360194" y="1014837"/>
                    <a:pt x="2354118" y="1023952"/>
                    <a:pt x="2345004" y="1030028"/>
                  </a:cubicBezTo>
                  <a:cubicBezTo>
                    <a:pt x="2338927" y="1033066"/>
                    <a:pt x="2326775" y="1036104"/>
                    <a:pt x="2320699" y="1023952"/>
                  </a:cubicBezTo>
                  <a:cubicBezTo>
                    <a:pt x="2314623" y="1008761"/>
                    <a:pt x="2317661" y="1002685"/>
                    <a:pt x="2326775" y="999647"/>
                  </a:cubicBezTo>
                  <a:cubicBezTo>
                    <a:pt x="2329813" y="996609"/>
                    <a:pt x="2333611" y="995849"/>
                    <a:pt x="2337788" y="996989"/>
                  </a:cubicBezTo>
                  <a:close/>
                  <a:moveTo>
                    <a:pt x="1429407" y="990912"/>
                  </a:moveTo>
                  <a:cubicBezTo>
                    <a:pt x="1433585" y="992051"/>
                    <a:pt x="1438142" y="995089"/>
                    <a:pt x="1442699" y="999646"/>
                  </a:cubicBezTo>
                  <a:cubicBezTo>
                    <a:pt x="1451813" y="1008760"/>
                    <a:pt x="1445737" y="1017875"/>
                    <a:pt x="1436623" y="1023951"/>
                  </a:cubicBezTo>
                  <a:cubicBezTo>
                    <a:pt x="1430547" y="1026989"/>
                    <a:pt x="1418394" y="1030027"/>
                    <a:pt x="1412318" y="1017875"/>
                  </a:cubicBezTo>
                  <a:cubicBezTo>
                    <a:pt x="1406242" y="1005722"/>
                    <a:pt x="1409280" y="996608"/>
                    <a:pt x="1418394" y="993570"/>
                  </a:cubicBezTo>
                  <a:cubicBezTo>
                    <a:pt x="1421432" y="990532"/>
                    <a:pt x="1425230" y="989772"/>
                    <a:pt x="1429407" y="990912"/>
                  </a:cubicBezTo>
                  <a:close/>
                  <a:moveTo>
                    <a:pt x="1672452" y="987874"/>
                  </a:moveTo>
                  <a:cubicBezTo>
                    <a:pt x="1676630" y="989013"/>
                    <a:pt x="1681187" y="992051"/>
                    <a:pt x="1685744" y="996608"/>
                  </a:cubicBezTo>
                  <a:cubicBezTo>
                    <a:pt x="1694858" y="1005722"/>
                    <a:pt x="1688782" y="1014837"/>
                    <a:pt x="1679668" y="1020913"/>
                  </a:cubicBezTo>
                  <a:cubicBezTo>
                    <a:pt x="1673592" y="1023951"/>
                    <a:pt x="1661439" y="1026989"/>
                    <a:pt x="1655363" y="1014837"/>
                  </a:cubicBezTo>
                  <a:cubicBezTo>
                    <a:pt x="1649287" y="1002684"/>
                    <a:pt x="1649287" y="993570"/>
                    <a:pt x="1661439" y="990532"/>
                  </a:cubicBezTo>
                  <a:cubicBezTo>
                    <a:pt x="1664477" y="987494"/>
                    <a:pt x="1668275" y="986734"/>
                    <a:pt x="1672452" y="987874"/>
                  </a:cubicBezTo>
                  <a:close/>
                  <a:moveTo>
                    <a:pt x="1803089" y="975722"/>
                  </a:moveTo>
                  <a:cubicBezTo>
                    <a:pt x="1807266" y="976861"/>
                    <a:pt x="1811824" y="979899"/>
                    <a:pt x="1816381" y="984456"/>
                  </a:cubicBezTo>
                  <a:cubicBezTo>
                    <a:pt x="1825495" y="993570"/>
                    <a:pt x="1819419" y="1002685"/>
                    <a:pt x="1810305" y="1008761"/>
                  </a:cubicBezTo>
                  <a:cubicBezTo>
                    <a:pt x="1804228" y="1011799"/>
                    <a:pt x="1792076" y="1014837"/>
                    <a:pt x="1786000" y="1002685"/>
                  </a:cubicBezTo>
                  <a:cubicBezTo>
                    <a:pt x="1779924" y="987494"/>
                    <a:pt x="1782962" y="981418"/>
                    <a:pt x="1792076" y="978380"/>
                  </a:cubicBezTo>
                  <a:cubicBezTo>
                    <a:pt x="1795114" y="975342"/>
                    <a:pt x="1798912" y="974582"/>
                    <a:pt x="1803089" y="975722"/>
                  </a:cubicBezTo>
                  <a:close/>
                  <a:moveTo>
                    <a:pt x="2030944" y="969646"/>
                  </a:moveTo>
                  <a:cubicBezTo>
                    <a:pt x="2035121" y="970785"/>
                    <a:pt x="2039679" y="973823"/>
                    <a:pt x="2044236" y="978380"/>
                  </a:cubicBezTo>
                  <a:cubicBezTo>
                    <a:pt x="2053350" y="987494"/>
                    <a:pt x="2047274" y="996609"/>
                    <a:pt x="2038160" y="1002685"/>
                  </a:cubicBezTo>
                  <a:cubicBezTo>
                    <a:pt x="2032083" y="1005723"/>
                    <a:pt x="2019931" y="1008761"/>
                    <a:pt x="2013855" y="996609"/>
                  </a:cubicBezTo>
                  <a:cubicBezTo>
                    <a:pt x="2007779" y="981418"/>
                    <a:pt x="2010817" y="975342"/>
                    <a:pt x="2019931" y="972304"/>
                  </a:cubicBezTo>
                  <a:cubicBezTo>
                    <a:pt x="2022969" y="969266"/>
                    <a:pt x="2026767" y="968506"/>
                    <a:pt x="2030944" y="969646"/>
                  </a:cubicBezTo>
                  <a:close/>
                  <a:moveTo>
                    <a:pt x="405581" y="966608"/>
                  </a:moveTo>
                  <a:cubicBezTo>
                    <a:pt x="409759" y="967747"/>
                    <a:pt x="414316" y="970785"/>
                    <a:pt x="418873" y="975342"/>
                  </a:cubicBezTo>
                  <a:cubicBezTo>
                    <a:pt x="427987" y="984456"/>
                    <a:pt x="418873" y="996609"/>
                    <a:pt x="412797" y="999647"/>
                  </a:cubicBezTo>
                  <a:cubicBezTo>
                    <a:pt x="406721" y="1002685"/>
                    <a:pt x="394568" y="1005723"/>
                    <a:pt x="388492" y="993571"/>
                  </a:cubicBezTo>
                  <a:cubicBezTo>
                    <a:pt x="382416" y="978380"/>
                    <a:pt x="385454" y="972304"/>
                    <a:pt x="394568" y="969266"/>
                  </a:cubicBezTo>
                  <a:cubicBezTo>
                    <a:pt x="397606" y="966228"/>
                    <a:pt x="401404" y="965468"/>
                    <a:pt x="405581" y="966608"/>
                  </a:cubicBezTo>
                  <a:close/>
                  <a:moveTo>
                    <a:pt x="2225380" y="957494"/>
                  </a:moveTo>
                  <a:cubicBezTo>
                    <a:pt x="2229557" y="958633"/>
                    <a:pt x="2234114" y="961671"/>
                    <a:pt x="2238671" y="966228"/>
                  </a:cubicBezTo>
                  <a:cubicBezTo>
                    <a:pt x="2247785" y="975342"/>
                    <a:pt x="2241709" y="984457"/>
                    <a:pt x="2232595" y="990533"/>
                  </a:cubicBezTo>
                  <a:cubicBezTo>
                    <a:pt x="2226519" y="993571"/>
                    <a:pt x="2214366" y="996609"/>
                    <a:pt x="2208290" y="984457"/>
                  </a:cubicBezTo>
                  <a:cubicBezTo>
                    <a:pt x="2202214" y="969266"/>
                    <a:pt x="2202214" y="963190"/>
                    <a:pt x="2214366" y="960152"/>
                  </a:cubicBezTo>
                  <a:cubicBezTo>
                    <a:pt x="2217405" y="957114"/>
                    <a:pt x="2221202" y="956354"/>
                    <a:pt x="2225380" y="957494"/>
                  </a:cubicBezTo>
                  <a:close/>
                  <a:moveTo>
                    <a:pt x="1927649" y="954456"/>
                  </a:moveTo>
                  <a:cubicBezTo>
                    <a:pt x="1931827" y="955595"/>
                    <a:pt x="1936384" y="958633"/>
                    <a:pt x="1940941" y="963190"/>
                  </a:cubicBezTo>
                  <a:cubicBezTo>
                    <a:pt x="1950055" y="972304"/>
                    <a:pt x="1940941" y="984457"/>
                    <a:pt x="1934865" y="987495"/>
                  </a:cubicBezTo>
                  <a:cubicBezTo>
                    <a:pt x="1928788" y="990533"/>
                    <a:pt x="1916636" y="993571"/>
                    <a:pt x="1910560" y="981419"/>
                  </a:cubicBezTo>
                  <a:cubicBezTo>
                    <a:pt x="1904484" y="969266"/>
                    <a:pt x="1907522" y="963190"/>
                    <a:pt x="1916636" y="957114"/>
                  </a:cubicBezTo>
                  <a:cubicBezTo>
                    <a:pt x="1919674" y="954076"/>
                    <a:pt x="1923472" y="953316"/>
                    <a:pt x="1927649" y="954456"/>
                  </a:cubicBezTo>
                  <a:close/>
                  <a:moveTo>
                    <a:pt x="244564" y="954456"/>
                  </a:moveTo>
                  <a:cubicBezTo>
                    <a:pt x="248742" y="955595"/>
                    <a:pt x="253299" y="958633"/>
                    <a:pt x="257856" y="963190"/>
                  </a:cubicBezTo>
                  <a:cubicBezTo>
                    <a:pt x="266970" y="972304"/>
                    <a:pt x="257856" y="984457"/>
                    <a:pt x="251780" y="987495"/>
                  </a:cubicBezTo>
                  <a:cubicBezTo>
                    <a:pt x="245703" y="990533"/>
                    <a:pt x="233551" y="993571"/>
                    <a:pt x="227475" y="981419"/>
                  </a:cubicBezTo>
                  <a:cubicBezTo>
                    <a:pt x="221399" y="969266"/>
                    <a:pt x="224437" y="963190"/>
                    <a:pt x="233551" y="957114"/>
                  </a:cubicBezTo>
                  <a:cubicBezTo>
                    <a:pt x="236589" y="954076"/>
                    <a:pt x="240387" y="953316"/>
                    <a:pt x="244564" y="954456"/>
                  </a:cubicBezTo>
                  <a:close/>
                  <a:moveTo>
                    <a:pt x="2431968" y="951418"/>
                  </a:moveTo>
                  <a:cubicBezTo>
                    <a:pt x="2436146" y="952557"/>
                    <a:pt x="2440703" y="955595"/>
                    <a:pt x="2445260" y="960152"/>
                  </a:cubicBezTo>
                  <a:cubicBezTo>
                    <a:pt x="2454374" y="969266"/>
                    <a:pt x="2448298" y="978381"/>
                    <a:pt x="2439184" y="984457"/>
                  </a:cubicBezTo>
                  <a:cubicBezTo>
                    <a:pt x="2433108" y="987495"/>
                    <a:pt x="2420955" y="990533"/>
                    <a:pt x="2414879" y="978381"/>
                  </a:cubicBezTo>
                  <a:cubicBezTo>
                    <a:pt x="2408803" y="963190"/>
                    <a:pt x="2411841" y="957114"/>
                    <a:pt x="2420955" y="954076"/>
                  </a:cubicBezTo>
                  <a:cubicBezTo>
                    <a:pt x="2423993" y="951038"/>
                    <a:pt x="2427791" y="950278"/>
                    <a:pt x="2431968" y="951418"/>
                  </a:cubicBezTo>
                  <a:close/>
                  <a:moveTo>
                    <a:pt x="1553968" y="948380"/>
                  </a:moveTo>
                  <a:cubicBezTo>
                    <a:pt x="1558145" y="949519"/>
                    <a:pt x="1562702" y="952557"/>
                    <a:pt x="1567259" y="957114"/>
                  </a:cubicBezTo>
                  <a:cubicBezTo>
                    <a:pt x="1576374" y="966228"/>
                    <a:pt x="1570298" y="975343"/>
                    <a:pt x="1561183" y="981419"/>
                  </a:cubicBezTo>
                  <a:cubicBezTo>
                    <a:pt x="1555107" y="984457"/>
                    <a:pt x="1542955" y="987495"/>
                    <a:pt x="1536879" y="975343"/>
                  </a:cubicBezTo>
                  <a:cubicBezTo>
                    <a:pt x="1530803" y="963190"/>
                    <a:pt x="1536879" y="957114"/>
                    <a:pt x="1542955" y="951038"/>
                  </a:cubicBezTo>
                  <a:cubicBezTo>
                    <a:pt x="1545993" y="948000"/>
                    <a:pt x="1549791" y="947240"/>
                    <a:pt x="1553968" y="948380"/>
                  </a:cubicBezTo>
                  <a:close/>
                  <a:moveTo>
                    <a:pt x="1222819" y="933189"/>
                  </a:moveTo>
                  <a:cubicBezTo>
                    <a:pt x="1226997" y="934328"/>
                    <a:pt x="1231554" y="937366"/>
                    <a:pt x="1236111" y="941923"/>
                  </a:cubicBezTo>
                  <a:cubicBezTo>
                    <a:pt x="1245225" y="951037"/>
                    <a:pt x="1239149" y="960152"/>
                    <a:pt x="1230035" y="966228"/>
                  </a:cubicBezTo>
                  <a:cubicBezTo>
                    <a:pt x="1223959" y="969266"/>
                    <a:pt x="1211806" y="972304"/>
                    <a:pt x="1205730" y="960152"/>
                  </a:cubicBezTo>
                  <a:cubicBezTo>
                    <a:pt x="1199654" y="947999"/>
                    <a:pt x="1202692" y="938885"/>
                    <a:pt x="1211806" y="935847"/>
                  </a:cubicBezTo>
                  <a:cubicBezTo>
                    <a:pt x="1214844" y="932809"/>
                    <a:pt x="1218642" y="932049"/>
                    <a:pt x="1222819" y="933189"/>
                  </a:cubicBezTo>
                  <a:close/>
                  <a:moveTo>
                    <a:pt x="1031421" y="930151"/>
                  </a:moveTo>
                  <a:cubicBezTo>
                    <a:pt x="1035599" y="931290"/>
                    <a:pt x="1040156" y="934328"/>
                    <a:pt x="1044713" y="938885"/>
                  </a:cubicBezTo>
                  <a:cubicBezTo>
                    <a:pt x="1053827" y="947999"/>
                    <a:pt x="1047751" y="957114"/>
                    <a:pt x="1038637" y="963190"/>
                  </a:cubicBezTo>
                  <a:cubicBezTo>
                    <a:pt x="1032561" y="966228"/>
                    <a:pt x="1020408" y="969266"/>
                    <a:pt x="1014332" y="957114"/>
                  </a:cubicBezTo>
                  <a:cubicBezTo>
                    <a:pt x="1008256" y="941923"/>
                    <a:pt x="1011294" y="935847"/>
                    <a:pt x="1020408" y="932809"/>
                  </a:cubicBezTo>
                  <a:cubicBezTo>
                    <a:pt x="1023446" y="929771"/>
                    <a:pt x="1027244" y="929011"/>
                    <a:pt x="1031421" y="930151"/>
                  </a:cubicBezTo>
                  <a:close/>
                  <a:moveTo>
                    <a:pt x="931165" y="930151"/>
                  </a:moveTo>
                  <a:cubicBezTo>
                    <a:pt x="935343" y="931290"/>
                    <a:pt x="939900" y="934328"/>
                    <a:pt x="944457" y="938885"/>
                  </a:cubicBezTo>
                  <a:cubicBezTo>
                    <a:pt x="953571" y="947999"/>
                    <a:pt x="947495" y="957114"/>
                    <a:pt x="938381" y="963190"/>
                  </a:cubicBezTo>
                  <a:cubicBezTo>
                    <a:pt x="932305" y="966228"/>
                    <a:pt x="920152" y="969266"/>
                    <a:pt x="914076" y="957114"/>
                  </a:cubicBezTo>
                  <a:cubicBezTo>
                    <a:pt x="908000" y="944961"/>
                    <a:pt x="911038" y="935847"/>
                    <a:pt x="920152" y="932809"/>
                  </a:cubicBezTo>
                  <a:cubicBezTo>
                    <a:pt x="923190" y="929771"/>
                    <a:pt x="926988" y="929011"/>
                    <a:pt x="931165" y="930151"/>
                  </a:cubicBezTo>
                  <a:close/>
                  <a:moveTo>
                    <a:pt x="123041" y="930151"/>
                  </a:moveTo>
                  <a:cubicBezTo>
                    <a:pt x="127219" y="931290"/>
                    <a:pt x="131776" y="934328"/>
                    <a:pt x="136333" y="938885"/>
                  </a:cubicBezTo>
                  <a:cubicBezTo>
                    <a:pt x="145447" y="947999"/>
                    <a:pt x="139371" y="957114"/>
                    <a:pt x="130257" y="963190"/>
                  </a:cubicBezTo>
                  <a:cubicBezTo>
                    <a:pt x="124181" y="966228"/>
                    <a:pt x="112028" y="969266"/>
                    <a:pt x="105952" y="957114"/>
                  </a:cubicBezTo>
                  <a:cubicBezTo>
                    <a:pt x="99876" y="944961"/>
                    <a:pt x="99876" y="935847"/>
                    <a:pt x="112028" y="932809"/>
                  </a:cubicBezTo>
                  <a:cubicBezTo>
                    <a:pt x="115066" y="929771"/>
                    <a:pt x="118864" y="929011"/>
                    <a:pt x="123041" y="930151"/>
                  </a:cubicBezTo>
                  <a:close/>
                  <a:moveTo>
                    <a:pt x="524065" y="917999"/>
                  </a:moveTo>
                  <a:cubicBezTo>
                    <a:pt x="528243" y="919138"/>
                    <a:pt x="532800" y="922176"/>
                    <a:pt x="537357" y="926733"/>
                  </a:cubicBezTo>
                  <a:cubicBezTo>
                    <a:pt x="546471" y="935847"/>
                    <a:pt x="540395" y="944962"/>
                    <a:pt x="531281" y="951038"/>
                  </a:cubicBezTo>
                  <a:cubicBezTo>
                    <a:pt x="525204" y="954076"/>
                    <a:pt x="513052" y="957114"/>
                    <a:pt x="506976" y="944962"/>
                  </a:cubicBezTo>
                  <a:cubicBezTo>
                    <a:pt x="500900" y="932809"/>
                    <a:pt x="500900" y="926733"/>
                    <a:pt x="513052" y="920657"/>
                  </a:cubicBezTo>
                  <a:cubicBezTo>
                    <a:pt x="516090" y="917619"/>
                    <a:pt x="519888" y="916859"/>
                    <a:pt x="524065" y="917999"/>
                  </a:cubicBezTo>
                  <a:close/>
                  <a:moveTo>
                    <a:pt x="824833" y="911923"/>
                  </a:moveTo>
                  <a:cubicBezTo>
                    <a:pt x="829011" y="913062"/>
                    <a:pt x="833568" y="916100"/>
                    <a:pt x="838125" y="920657"/>
                  </a:cubicBezTo>
                  <a:cubicBezTo>
                    <a:pt x="847239" y="929771"/>
                    <a:pt x="841163" y="938886"/>
                    <a:pt x="832049" y="944962"/>
                  </a:cubicBezTo>
                  <a:cubicBezTo>
                    <a:pt x="825973" y="948000"/>
                    <a:pt x="813820" y="951038"/>
                    <a:pt x="807744" y="938886"/>
                  </a:cubicBezTo>
                  <a:cubicBezTo>
                    <a:pt x="801668" y="926733"/>
                    <a:pt x="801668" y="920657"/>
                    <a:pt x="813820" y="914581"/>
                  </a:cubicBezTo>
                  <a:cubicBezTo>
                    <a:pt x="816858" y="911543"/>
                    <a:pt x="820656" y="910783"/>
                    <a:pt x="824833" y="911923"/>
                  </a:cubicBezTo>
                  <a:close/>
                  <a:moveTo>
                    <a:pt x="2137276" y="905847"/>
                  </a:moveTo>
                  <a:cubicBezTo>
                    <a:pt x="2141453" y="906986"/>
                    <a:pt x="2146010" y="910024"/>
                    <a:pt x="2150567" y="914581"/>
                  </a:cubicBezTo>
                  <a:cubicBezTo>
                    <a:pt x="2159682" y="923695"/>
                    <a:pt x="2153605" y="932810"/>
                    <a:pt x="2144491" y="938886"/>
                  </a:cubicBezTo>
                  <a:cubicBezTo>
                    <a:pt x="2138415" y="941924"/>
                    <a:pt x="2126263" y="944962"/>
                    <a:pt x="2120187" y="932810"/>
                  </a:cubicBezTo>
                  <a:cubicBezTo>
                    <a:pt x="2114111" y="917619"/>
                    <a:pt x="2120187" y="914581"/>
                    <a:pt x="2126263" y="908505"/>
                  </a:cubicBezTo>
                  <a:cubicBezTo>
                    <a:pt x="2129301" y="905467"/>
                    <a:pt x="2133099" y="904707"/>
                    <a:pt x="2137276" y="905847"/>
                  </a:cubicBezTo>
                  <a:close/>
                  <a:moveTo>
                    <a:pt x="630397" y="905847"/>
                  </a:moveTo>
                  <a:cubicBezTo>
                    <a:pt x="634575" y="906986"/>
                    <a:pt x="639132" y="910024"/>
                    <a:pt x="643689" y="914581"/>
                  </a:cubicBezTo>
                  <a:cubicBezTo>
                    <a:pt x="652803" y="923695"/>
                    <a:pt x="646727" y="932810"/>
                    <a:pt x="637613" y="938886"/>
                  </a:cubicBezTo>
                  <a:cubicBezTo>
                    <a:pt x="631537" y="941924"/>
                    <a:pt x="619384" y="944962"/>
                    <a:pt x="613308" y="932810"/>
                  </a:cubicBezTo>
                  <a:cubicBezTo>
                    <a:pt x="607232" y="917619"/>
                    <a:pt x="610270" y="911543"/>
                    <a:pt x="619384" y="908505"/>
                  </a:cubicBezTo>
                  <a:cubicBezTo>
                    <a:pt x="622422" y="905467"/>
                    <a:pt x="626220" y="904707"/>
                    <a:pt x="630397" y="905847"/>
                  </a:cubicBezTo>
                  <a:close/>
                  <a:moveTo>
                    <a:pt x="1332189" y="896733"/>
                  </a:moveTo>
                  <a:cubicBezTo>
                    <a:pt x="1336367" y="897872"/>
                    <a:pt x="1340924" y="900910"/>
                    <a:pt x="1345481" y="905467"/>
                  </a:cubicBezTo>
                  <a:cubicBezTo>
                    <a:pt x="1354595" y="914581"/>
                    <a:pt x="1348519" y="923696"/>
                    <a:pt x="1339405" y="929772"/>
                  </a:cubicBezTo>
                  <a:cubicBezTo>
                    <a:pt x="1333328" y="932810"/>
                    <a:pt x="1321176" y="935848"/>
                    <a:pt x="1315100" y="923696"/>
                  </a:cubicBezTo>
                  <a:cubicBezTo>
                    <a:pt x="1309024" y="911543"/>
                    <a:pt x="1312062" y="902429"/>
                    <a:pt x="1321176" y="899391"/>
                  </a:cubicBezTo>
                  <a:cubicBezTo>
                    <a:pt x="1324214" y="896353"/>
                    <a:pt x="1328012" y="895593"/>
                    <a:pt x="1332189" y="896733"/>
                  </a:cubicBezTo>
                  <a:close/>
                  <a:moveTo>
                    <a:pt x="724577" y="890656"/>
                  </a:moveTo>
                  <a:cubicBezTo>
                    <a:pt x="728755" y="891795"/>
                    <a:pt x="733312" y="894833"/>
                    <a:pt x="737869" y="899390"/>
                  </a:cubicBezTo>
                  <a:cubicBezTo>
                    <a:pt x="746983" y="908504"/>
                    <a:pt x="740907" y="917619"/>
                    <a:pt x="731793" y="923695"/>
                  </a:cubicBezTo>
                  <a:cubicBezTo>
                    <a:pt x="725716" y="926733"/>
                    <a:pt x="713564" y="929771"/>
                    <a:pt x="707488" y="917619"/>
                  </a:cubicBezTo>
                  <a:cubicBezTo>
                    <a:pt x="701412" y="902428"/>
                    <a:pt x="704450" y="896352"/>
                    <a:pt x="713564" y="893314"/>
                  </a:cubicBezTo>
                  <a:cubicBezTo>
                    <a:pt x="716602" y="890276"/>
                    <a:pt x="720400" y="889516"/>
                    <a:pt x="724577" y="890656"/>
                  </a:cubicBezTo>
                  <a:close/>
                  <a:moveTo>
                    <a:pt x="1435484" y="884580"/>
                  </a:moveTo>
                  <a:cubicBezTo>
                    <a:pt x="1439662" y="885719"/>
                    <a:pt x="1444219" y="888757"/>
                    <a:pt x="1448776" y="893314"/>
                  </a:cubicBezTo>
                  <a:cubicBezTo>
                    <a:pt x="1457890" y="902428"/>
                    <a:pt x="1451814" y="911543"/>
                    <a:pt x="1442700" y="917619"/>
                  </a:cubicBezTo>
                  <a:cubicBezTo>
                    <a:pt x="1436624" y="920657"/>
                    <a:pt x="1424471" y="923695"/>
                    <a:pt x="1418395" y="911543"/>
                  </a:cubicBezTo>
                  <a:cubicBezTo>
                    <a:pt x="1412319" y="899390"/>
                    <a:pt x="1415357" y="890276"/>
                    <a:pt x="1424471" y="887238"/>
                  </a:cubicBezTo>
                  <a:cubicBezTo>
                    <a:pt x="1427509" y="884200"/>
                    <a:pt x="1431307" y="883440"/>
                    <a:pt x="1435484" y="884580"/>
                  </a:cubicBezTo>
                  <a:close/>
                  <a:moveTo>
                    <a:pt x="1131677" y="884580"/>
                  </a:moveTo>
                  <a:cubicBezTo>
                    <a:pt x="1135855" y="885719"/>
                    <a:pt x="1140412" y="888757"/>
                    <a:pt x="1144969" y="893314"/>
                  </a:cubicBezTo>
                  <a:cubicBezTo>
                    <a:pt x="1154083" y="902428"/>
                    <a:pt x="1144969" y="914581"/>
                    <a:pt x="1138893" y="917619"/>
                  </a:cubicBezTo>
                  <a:cubicBezTo>
                    <a:pt x="1132817" y="920657"/>
                    <a:pt x="1120664" y="923695"/>
                    <a:pt x="1114588" y="911543"/>
                  </a:cubicBezTo>
                  <a:cubicBezTo>
                    <a:pt x="1108512" y="896352"/>
                    <a:pt x="1111550" y="890276"/>
                    <a:pt x="1120664" y="887238"/>
                  </a:cubicBezTo>
                  <a:cubicBezTo>
                    <a:pt x="1123702" y="884200"/>
                    <a:pt x="1127500" y="883440"/>
                    <a:pt x="1131677" y="884580"/>
                  </a:cubicBezTo>
                  <a:close/>
                  <a:moveTo>
                    <a:pt x="1757518" y="881542"/>
                  </a:moveTo>
                  <a:cubicBezTo>
                    <a:pt x="1761695" y="882681"/>
                    <a:pt x="1766253" y="885719"/>
                    <a:pt x="1770810" y="890276"/>
                  </a:cubicBezTo>
                  <a:cubicBezTo>
                    <a:pt x="1779924" y="899390"/>
                    <a:pt x="1773848" y="908505"/>
                    <a:pt x="1764734" y="914581"/>
                  </a:cubicBezTo>
                  <a:cubicBezTo>
                    <a:pt x="1758657" y="917619"/>
                    <a:pt x="1746505" y="920657"/>
                    <a:pt x="1740429" y="908505"/>
                  </a:cubicBezTo>
                  <a:cubicBezTo>
                    <a:pt x="1734353" y="896352"/>
                    <a:pt x="1734353" y="890276"/>
                    <a:pt x="1746505" y="884200"/>
                  </a:cubicBezTo>
                  <a:cubicBezTo>
                    <a:pt x="1749543" y="881162"/>
                    <a:pt x="1753341" y="880402"/>
                    <a:pt x="1757518" y="881542"/>
                  </a:cubicBezTo>
                  <a:close/>
                  <a:moveTo>
                    <a:pt x="1654224" y="881542"/>
                  </a:moveTo>
                  <a:cubicBezTo>
                    <a:pt x="1658402" y="882681"/>
                    <a:pt x="1662959" y="885719"/>
                    <a:pt x="1667516" y="890276"/>
                  </a:cubicBezTo>
                  <a:cubicBezTo>
                    <a:pt x="1676630" y="899390"/>
                    <a:pt x="1670554" y="908505"/>
                    <a:pt x="1661440" y="914581"/>
                  </a:cubicBezTo>
                  <a:cubicBezTo>
                    <a:pt x="1655364" y="917619"/>
                    <a:pt x="1643211" y="920657"/>
                    <a:pt x="1637135" y="908505"/>
                  </a:cubicBezTo>
                  <a:cubicBezTo>
                    <a:pt x="1631059" y="896352"/>
                    <a:pt x="1634097" y="890276"/>
                    <a:pt x="1643211" y="884200"/>
                  </a:cubicBezTo>
                  <a:cubicBezTo>
                    <a:pt x="1646249" y="881162"/>
                    <a:pt x="1650047" y="880402"/>
                    <a:pt x="1654224" y="881542"/>
                  </a:cubicBezTo>
                  <a:close/>
                  <a:moveTo>
                    <a:pt x="2346903" y="878504"/>
                  </a:moveTo>
                  <a:cubicBezTo>
                    <a:pt x="2351080" y="879643"/>
                    <a:pt x="2355637" y="882681"/>
                    <a:pt x="2360194" y="887238"/>
                  </a:cubicBezTo>
                  <a:cubicBezTo>
                    <a:pt x="2369308" y="896352"/>
                    <a:pt x="2363232" y="905467"/>
                    <a:pt x="2354118" y="911543"/>
                  </a:cubicBezTo>
                  <a:cubicBezTo>
                    <a:pt x="2348042" y="914581"/>
                    <a:pt x="2335889" y="917619"/>
                    <a:pt x="2329813" y="905467"/>
                  </a:cubicBezTo>
                  <a:cubicBezTo>
                    <a:pt x="2323737" y="893314"/>
                    <a:pt x="2326775" y="887238"/>
                    <a:pt x="2335889" y="881162"/>
                  </a:cubicBezTo>
                  <a:cubicBezTo>
                    <a:pt x="2338928" y="878124"/>
                    <a:pt x="2342725" y="877364"/>
                    <a:pt x="2346903" y="878504"/>
                  </a:cubicBezTo>
                  <a:close/>
                  <a:moveTo>
                    <a:pt x="320515" y="872428"/>
                  </a:moveTo>
                  <a:cubicBezTo>
                    <a:pt x="324693" y="873567"/>
                    <a:pt x="329250" y="876605"/>
                    <a:pt x="333807" y="881162"/>
                  </a:cubicBezTo>
                  <a:cubicBezTo>
                    <a:pt x="342921" y="890276"/>
                    <a:pt x="336845" y="899391"/>
                    <a:pt x="327731" y="905467"/>
                  </a:cubicBezTo>
                  <a:cubicBezTo>
                    <a:pt x="321654" y="908505"/>
                    <a:pt x="309502" y="911543"/>
                    <a:pt x="303426" y="899391"/>
                  </a:cubicBezTo>
                  <a:cubicBezTo>
                    <a:pt x="297350" y="887238"/>
                    <a:pt x="300388" y="881162"/>
                    <a:pt x="309502" y="875086"/>
                  </a:cubicBezTo>
                  <a:cubicBezTo>
                    <a:pt x="312540" y="872048"/>
                    <a:pt x="316338" y="871288"/>
                    <a:pt x="320515" y="872428"/>
                  </a:cubicBezTo>
                  <a:close/>
                  <a:moveTo>
                    <a:pt x="1876003" y="866352"/>
                  </a:moveTo>
                  <a:cubicBezTo>
                    <a:pt x="1880180" y="867491"/>
                    <a:pt x="1884737" y="870529"/>
                    <a:pt x="1889294" y="875086"/>
                  </a:cubicBezTo>
                  <a:cubicBezTo>
                    <a:pt x="1898408" y="884200"/>
                    <a:pt x="1889294" y="896353"/>
                    <a:pt x="1883218" y="899391"/>
                  </a:cubicBezTo>
                  <a:cubicBezTo>
                    <a:pt x="1877142" y="902429"/>
                    <a:pt x="1864989" y="905467"/>
                    <a:pt x="1858913" y="893315"/>
                  </a:cubicBezTo>
                  <a:cubicBezTo>
                    <a:pt x="1852837" y="878124"/>
                    <a:pt x="1855875" y="872048"/>
                    <a:pt x="1864989" y="869010"/>
                  </a:cubicBezTo>
                  <a:cubicBezTo>
                    <a:pt x="1868028" y="865972"/>
                    <a:pt x="1871825" y="865212"/>
                    <a:pt x="1876003" y="866352"/>
                  </a:cubicBezTo>
                  <a:close/>
                  <a:moveTo>
                    <a:pt x="2000563" y="857238"/>
                  </a:moveTo>
                  <a:cubicBezTo>
                    <a:pt x="2004740" y="858377"/>
                    <a:pt x="2009298" y="861415"/>
                    <a:pt x="2013855" y="865972"/>
                  </a:cubicBezTo>
                  <a:cubicBezTo>
                    <a:pt x="2022969" y="875086"/>
                    <a:pt x="2013855" y="887239"/>
                    <a:pt x="2007779" y="890277"/>
                  </a:cubicBezTo>
                  <a:cubicBezTo>
                    <a:pt x="2001702" y="893315"/>
                    <a:pt x="1989550" y="896353"/>
                    <a:pt x="1983474" y="884201"/>
                  </a:cubicBezTo>
                  <a:cubicBezTo>
                    <a:pt x="1977398" y="872048"/>
                    <a:pt x="1980436" y="865972"/>
                    <a:pt x="1989550" y="859896"/>
                  </a:cubicBezTo>
                  <a:cubicBezTo>
                    <a:pt x="1992588" y="856858"/>
                    <a:pt x="1996386" y="856098"/>
                    <a:pt x="2000563" y="857238"/>
                  </a:cubicBezTo>
                  <a:close/>
                  <a:moveTo>
                    <a:pt x="420771" y="857238"/>
                  </a:moveTo>
                  <a:cubicBezTo>
                    <a:pt x="424948" y="858377"/>
                    <a:pt x="429505" y="861415"/>
                    <a:pt x="434062" y="865972"/>
                  </a:cubicBezTo>
                  <a:cubicBezTo>
                    <a:pt x="443177" y="875086"/>
                    <a:pt x="437101" y="884201"/>
                    <a:pt x="427986" y="890277"/>
                  </a:cubicBezTo>
                  <a:cubicBezTo>
                    <a:pt x="421910" y="893315"/>
                    <a:pt x="409758" y="896353"/>
                    <a:pt x="403682" y="884201"/>
                  </a:cubicBezTo>
                  <a:cubicBezTo>
                    <a:pt x="397606" y="872048"/>
                    <a:pt x="403682" y="865972"/>
                    <a:pt x="409758" y="859896"/>
                  </a:cubicBezTo>
                  <a:cubicBezTo>
                    <a:pt x="412796" y="856858"/>
                    <a:pt x="416594" y="856098"/>
                    <a:pt x="420771" y="857238"/>
                  </a:cubicBezTo>
                  <a:close/>
                  <a:moveTo>
                    <a:pt x="2237532" y="848124"/>
                  </a:moveTo>
                  <a:cubicBezTo>
                    <a:pt x="2241710" y="849263"/>
                    <a:pt x="2246267" y="852301"/>
                    <a:pt x="2250824" y="856858"/>
                  </a:cubicBezTo>
                  <a:cubicBezTo>
                    <a:pt x="2259938" y="865972"/>
                    <a:pt x="2250824" y="878125"/>
                    <a:pt x="2244748" y="881163"/>
                  </a:cubicBezTo>
                  <a:cubicBezTo>
                    <a:pt x="2238672" y="884201"/>
                    <a:pt x="2226519" y="887239"/>
                    <a:pt x="2220443" y="875087"/>
                  </a:cubicBezTo>
                  <a:cubicBezTo>
                    <a:pt x="2214367" y="859896"/>
                    <a:pt x="2217405" y="853820"/>
                    <a:pt x="2226519" y="850782"/>
                  </a:cubicBezTo>
                  <a:cubicBezTo>
                    <a:pt x="2229557" y="847744"/>
                    <a:pt x="2233355" y="846984"/>
                    <a:pt x="2237532" y="848124"/>
                  </a:cubicBezTo>
                  <a:close/>
                  <a:moveTo>
                    <a:pt x="211145" y="848124"/>
                  </a:moveTo>
                  <a:cubicBezTo>
                    <a:pt x="215322" y="849263"/>
                    <a:pt x="219879" y="852301"/>
                    <a:pt x="224436" y="856858"/>
                  </a:cubicBezTo>
                  <a:cubicBezTo>
                    <a:pt x="233551" y="865972"/>
                    <a:pt x="227475" y="875087"/>
                    <a:pt x="218360" y="881163"/>
                  </a:cubicBezTo>
                  <a:cubicBezTo>
                    <a:pt x="212284" y="884201"/>
                    <a:pt x="200132" y="887239"/>
                    <a:pt x="194056" y="875087"/>
                  </a:cubicBezTo>
                  <a:cubicBezTo>
                    <a:pt x="187980" y="859896"/>
                    <a:pt x="194056" y="856858"/>
                    <a:pt x="200132" y="850782"/>
                  </a:cubicBezTo>
                  <a:cubicBezTo>
                    <a:pt x="203170" y="847744"/>
                    <a:pt x="206967" y="846984"/>
                    <a:pt x="211145" y="848124"/>
                  </a:cubicBezTo>
                  <a:close/>
                  <a:moveTo>
                    <a:pt x="1511435" y="839009"/>
                  </a:moveTo>
                  <a:cubicBezTo>
                    <a:pt x="1515613" y="840148"/>
                    <a:pt x="1520170" y="843186"/>
                    <a:pt x="1524727" y="847743"/>
                  </a:cubicBezTo>
                  <a:cubicBezTo>
                    <a:pt x="1533841" y="856857"/>
                    <a:pt x="1527765" y="865972"/>
                    <a:pt x="1518651" y="872048"/>
                  </a:cubicBezTo>
                  <a:cubicBezTo>
                    <a:pt x="1512575" y="875086"/>
                    <a:pt x="1500422" y="878124"/>
                    <a:pt x="1494346" y="865972"/>
                  </a:cubicBezTo>
                  <a:cubicBezTo>
                    <a:pt x="1488270" y="850781"/>
                    <a:pt x="1491308" y="844705"/>
                    <a:pt x="1500422" y="841667"/>
                  </a:cubicBezTo>
                  <a:cubicBezTo>
                    <a:pt x="1503460" y="838629"/>
                    <a:pt x="1507258" y="837869"/>
                    <a:pt x="1511435" y="839009"/>
                  </a:cubicBezTo>
                  <a:close/>
                  <a:moveTo>
                    <a:pt x="1253200" y="826857"/>
                  </a:moveTo>
                  <a:cubicBezTo>
                    <a:pt x="1257378" y="827996"/>
                    <a:pt x="1261935" y="831034"/>
                    <a:pt x="1266492" y="835591"/>
                  </a:cubicBezTo>
                  <a:cubicBezTo>
                    <a:pt x="1275606" y="844705"/>
                    <a:pt x="1269530" y="853820"/>
                    <a:pt x="1260416" y="859896"/>
                  </a:cubicBezTo>
                  <a:cubicBezTo>
                    <a:pt x="1254340" y="862934"/>
                    <a:pt x="1242187" y="865972"/>
                    <a:pt x="1236111" y="853820"/>
                  </a:cubicBezTo>
                  <a:cubicBezTo>
                    <a:pt x="1230035" y="841667"/>
                    <a:pt x="1233073" y="832553"/>
                    <a:pt x="1242187" y="829515"/>
                  </a:cubicBezTo>
                  <a:cubicBezTo>
                    <a:pt x="1245225" y="826477"/>
                    <a:pt x="1249023" y="825717"/>
                    <a:pt x="1253200" y="826857"/>
                  </a:cubicBezTo>
                  <a:close/>
                  <a:moveTo>
                    <a:pt x="2428930" y="814705"/>
                  </a:moveTo>
                  <a:cubicBezTo>
                    <a:pt x="2433107" y="815844"/>
                    <a:pt x="2437664" y="818882"/>
                    <a:pt x="2442221" y="823439"/>
                  </a:cubicBezTo>
                  <a:cubicBezTo>
                    <a:pt x="2451336" y="832553"/>
                    <a:pt x="2445259" y="841668"/>
                    <a:pt x="2436145" y="847744"/>
                  </a:cubicBezTo>
                  <a:cubicBezTo>
                    <a:pt x="2430069" y="850782"/>
                    <a:pt x="2417917" y="853820"/>
                    <a:pt x="2411841" y="841668"/>
                  </a:cubicBezTo>
                  <a:cubicBezTo>
                    <a:pt x="2405765" y="829515"/>
                    <a:pt x="2411841" y="823439"/>
                    <a:pt x="2417917" y="817363"/>
                  </a:cubicBezTo>
                  <a:cubicBezTo>
                    <a:pt x="2420955" y="814325"/>
                    <a:pt x="2424753" y="813565"/>
                    <a:pt x="2428930" y="814705"/>
                  </a:cubicBezTo>
                  <a:close/>
                  <a:moveTo>
                    <a:pt x="991927" y="814705"/>
                  </a:moveTo>
                  <a:cubicBezTo>
                    <a:pt x="996104" y="815844"/>
                    <a:pt x="1000661" y="818882"/>
                    <a:pt x="1005218" y="823439"/>
                  </a:cubicBezTo>
                  <a:cubicBezTo>
                    <a:pt x="1014333" y="832553"/>
                    <a:pt x="1005218" y="844706"/>
                    <a:pt x="999142" y="847744"/>
                  </a:cubicBezTo>
                  <a:cubicBezTo>
                    <a:pt x="993066" y="850782"/>
                    <a:pt x="980914" y="853820"/>
                    <a:pt x="974838" y="841668"/>
                  </a:cubicBezTo>
                  <a:cubicBezTo>
                    <a:pt x="968762" y="829515"/>
                    <a:pt x="974838" y="823439"/>
                    <a:pt x="980914" y="817363"/>
                  </a:cubicBezTo>
                  <a:cubicBezTo>
                    <a:pt x="983952" y="814325"/>
                    <a:pt x="987750" y="813565"/>
                    <a:pt x="991927" y="814705"/>
                  </a:cubicBezTo>
                  <a:close/>
                  <a:moveTo>
                    <a:pt x="894709" y="814705"/>
                  </a:moveTo>
                  <a:cubicBezTo>
                    <a:pt x="898887" y="815844"/>
                    <a:pt x="903444" y="818882"/>
                    <a:pt x="908001" y="823439"/>
                  </a:cubicBezTo>
                  <a:cubicBezTo>
                    <a:pt x="917115" y="832553"/>
                    <a:pt x="911039" y="841668"/>
                    <a:pt x="901925" y="847744"/>
                  </a:cubicBezTo>
                  <a:cubicBezTo>
                    <a:pt x="895849" y="850782"/>
                    <a:pt x="883696" y="853820"/>
                    <a:pt x="877620" y="841668"/>
                  </a:cubicBezTo>
                  <a:cubicBezTo>
                    <a:pt x="871544" y="829515"/>
                    <a:pt x="874582" y="823439"/>
                    <a:pt x="883696" y="817363"/>
                  </a:cubicBezTo>
                  <a:cubicBezTo>
                    <a:pt x="886734" y="814325"/>
                    <a:pt x="890532" y="813565"/>
                    <a:pt x="894709" y="814705"/>
                  </a:cubicBezTo>
                  <a:close/>
                  <a:moveTo>
                    <a:pt x="2088668" y="805591"/>
                  </a:moveTo>
                  <a:cubicBezTo>
                    <a:pt x="2092845" y="806730"/>
                    <a:pt x="2097402" y="809768"/>
                    <a:pt x="2101959" y="814325"/>
                  </a:cubicBezTo>
                  <a:cubicBezTo>
                    <a:pt x="2111073" y="823439"/>
                    <a:pt x="2104997" y="832554"/>
                    <a:pt x="2095883" y="838630"/>
                  </a:cubicBezTo>
                  <a:cubicBezTo>
                    <a:pt x="2089807" y="841668"/>
                    <a:pt x="2077654" y="844706"/>
                    <a:pt x="2071578" y="832554"/>
                  </a:cubicBezTo>
                  <a:cubicBezTo>
                    <a:pt x="2065502" y="817363"/>
                    <a:pt x="2068540" y="811287"/>
                    <a:pt x="2077654" y="808249"/>
                  </a:cubicBezTo>
                  <a:cubicBezTo>
                    <a:pt x="2080693" y="805211"/>
                    <a:pt x="2084490" y="804451"/>
                    <a:pt x="2088668" y="805591"/>
                  </a:cubicBezTo>
                  <a:close/>
                  <a:moveTo>
                    <a:pt x="575712" y="802553"/>
                  </a:moveTo>
                  <a:cubicBezTo>
                    <a:pt x="579890" y="803692"/>
                    <a:pt x="584447" y="806730"/>
                    <a:pt x="589004" y="811287"/>
                  </a:cubicBezTo>
                  <a:cubicBezTo>
                    <a:pt x="598118" y="820401"/>
                    <a:pt x="589004" y="832554"/>
                    <a:pt x="582928" y="835592"/>
                  </a:cubicBezTo>
                  <a:cubicBezTo>
                    <a:pt x="576852" y="838630"/>
                    <a:pt x="564699" y="841668"/>
                    <a:pt x="558623" y="829516"/>
                  </a:cubicBezTo>
                  <a:cubicBezTo>
                    <a:pt x="552547" y="817363"/>
                    <a:pt x="555585" y="811287"/>
                    <a:pt x="564699" y="805211"/>
                  </a:cubicBezTo>
                  <a:cubicBezTo>
                    <a:pt x="567737" y="802173"/>
                    <a:pt x="571535" y="801413"/>
                    <a:pt x="575712" y="802553"/>
                  </a:cubicBezTo>
                  <a:close/>
                  <a:moveTo>
                    <a:pt x="1602577" y="796477"/>
                  </a:moveTo>
                  <a:cubicBezTo>
                    <a:pt x="1606755" y="797616"/>
                    <a:pt x="1611312" y="800654"/>
                    <a:pt x="1615869" y="805211"/>
                  </a:cubicBezTo>
                  <a:cubicBezTo>
                    <a:pt x="1624983" y="814325"/>
                    <a:pt x="1615869" y="826478"/>
                    <a:pt x="1609793" y="829516"/>
                  </a:cubicBezTo>
                  <a:cubicBezTo>
                    <a:pt x="1603717" y="832554"/>
                    <a:pt x="1591564" y="835592"/>
                    <a:pt x="1585488" y="823440"/>
                  </a:cubicBezTo>
                  <a:cubicBezTo>
                    <a:pt x="1579412" y="811287"/>
                    <a:pt x="1582450" y="805211"/>
                    <a:pt x="1591564" y="799135"/>
                  </a:cubicBezTo>
                  <a:cubicBezTo>
                    <a:pt x="1594602" y="796097"/>
                    <a:pt x="1598400" y="795337"/>
                    <a:pt x="1602577" y="796477"/>
                  </a:cubicBezTo>
                  <a:close/>
                  <a:moveTo>
                    <a:pt x="1104335" y="793438"/>
                  </a:moveTo>
                  <a:cubicBezTo>
                    <a:pt x="1108513" y="794577"/>
                    <a:pt x="1113070" y="797615"/>
                    <a:pt x="1117627" y="802172"/>
                  </a:cubicBezTo>
                  <a:cubicBezTo>
                    <a:pt x="1126741" y="811286"/>
                    <a:pt x="1117627" y="823439"/>
                    <a:pt x="1111551" y="826477"/>
                  </a:cubicBezTo>
                  <a:cubicBezTo>
                    <a:pt x="1105474" y="829515"/>
                    <a:pt x="1093322" y="832553"/>
                    <a:pt x="1087246" y="820401"/>
                  </a:cubicBezTo>
                  <a:cubicBezTo>
                    <a:pt x="1081170" y="805210"/>
                    <a:pt x="1084208" y="799134"/>
                    <a:pt x="1093322" y="796096"/>
                  </a:cubicBezTo>
                  <a:cubicBezTo>
                    <a:pt x="1096360" y="793058"/>
                    <a:pt x="1100158" y="792298"/>
                    <a:pt x="1104335" y="793438"/>
                  </a:cubicBezTo>
                  <a:close/>
                  <a:moveTo>
                    <a:pt x="791415" y="793438"/>
                  </a:moveTo>
                  <a:cubicBezTo>
                    <a:pt x="795593" y="794577"/>
                    <a:pt x="800150" y="797615"/>
                    <a:pt x="804707" y="802172"/>
                  </a:cubicBezTo>
                  <a:cubicBezTo>
                    <a:pt x="813821" y="811286"/>
                    <a:pt x="807745" y="820401"/>
                    <a:pt x="798631" y="826477"/>
                  </a:cubicBezTo>
                  <a:cubicBezTo>
                    <a:pt x="792555" y="829515"/>
                    <a:pt x="780402" y="832553"/>
                    <a:pt x="774326" y="820401"/>
                  </a:cubicBezTo>
                  <a:cubicBezTo>
                    <a:pt x="768250" y="805210"/>
                    <a:pt x="771288" y="799134"/>
                    <a:pt x="780402" y="796096"/>
                  </a:cubicBezTo>
                  <a:cubicBezTo>
                    <a:pt x="783440" y="793058"/>
                    <a:pt x="787238" y="792298"/>
                    <a:pt x="791415" y="793438"/>
                  </a:cubicBezTo>
                  <a:close/>
                  <a:moveTo>
                    <a:pt x="1371684" y="784324"/>
                  </a:moveTo>
                  <a:cubicBezTo>
                    <a:pt x="1375862" y="785463"/>
                    <a:pt x="1380419" y="788501"/>
                    <a:pt x="1384976" y="793058"/>
                  </a:cubicBezTo>
                  <a:cubicBezTo>
                    <a:pt x="1394090" y="802172"/>
                    <a:pt x="1384976" y="814325"/>
                    <a:pt x="1378900" y="817363"/>
                  </a:cubicBezTo>
                  <a:cubicBezTo>
                    <a:pt x="1372824" y="820401"/>
                    <a:pt x="1360671" y="823439"/>
                    <a:pt x="1354595" y="811287"/>
                  </a:cubicBezTo>
                  <a:cubicBezTo>
                    <a:pt x="1348519" y="796096"/>
                    <a:pt x="1351557" y="790020"/>
                    <a:pt x="1360671" y="786982"/>
                  </a:cubicBezTo>
                  <a:cubicBezTo>
                    <a:pt x="1363709" y="783944"/>
                    <a:pt x="1367507" y="783184"/>
                    <a:pt x="1371684" y="784324"/>
                  </a:cubicBezTo>
                  <a:close/>
                  <a:moveTo>
                    <a:pt x="472418" y="781286"/>
                  </a:moveTo>
                  <a:cubicBezTo>
                    <a:pt x="476596" y="782425"/>
                    <a:pt x="481153" y="785463"/>
                    <a:pt x="485710" y="790020"/>
                  </a:cubicBezTo>
                  <a:cubicBezTo>
                    <a:pt x="494824" y="799134"/>
                    <a:pt x="488748" y="808249"/>
                    <a:pt x="479634" y="814325"/>
                  </a:cubicBezTo>
                  <a:cubicBezTo>
                    <a:pt x="473557" y="817363"/>
                    <a:pt x="461405" y="820401"/>
                    <a:pt x="455329" y="808249"/>
                  </a:cubicBezTo>
                  <a:cubicBezTo>
                    <a:pt x="449253" y="796096"/>
                    <a:pt x="452291" y="790020"/>
                    <a:pt x="461405" y="783944"/>
                  </a:cubicBezTo>
                  <a:cubicBezTo>
                    <a:pt x="464443" y="780906"/>
                    <a:pt x="468241" y="780146"/>
                    <a:pt x="472418" y="781286"/>
                  </a:cubicBezTo>
                  <a:close/>
                  <a:moveTo>
                    <a:pt x="1803089" y="778248"/>
                  </a:moveTo>
                  <a:cubicBezTo>
                    <a:pt x="1807266" y="779387"/>
                    <a:pt x="1811824" y="782425"/>
                    <a:pt x="1816381" y="786982"/>
                  </a:cubicBezTo>
                  <a:cubicBezTo>
                    <a:pt x="1825495" y="796096"/>
                    <a:pt x="1816381" y="808249"/>
                    <a:pt x="1810305" y="811287"/>
                  </a:cubicBezTo>
                  <a:cubicBezTo>
                    <a:pt x="1804228" y="814325"/>
                    <a:pt x="1792076" y="817363"/>
                    <a:pt x="1786000" y="805211"/>
                  </a:cubicBezTo>
                  <a:cubicBezTo>
                    <a:pt x="1779924" y="793058"/>
                    <a:pt x="1779924" y="786982"/>
                    <a:pt x="1792076" y="780906"/>
                  </a:cubicBezTo>
                  <a:cubicBezTo>
                    <a:pt x="1795114" y="777868"/>
                    <a:pt x="1798912" y="777108"/>
                    <a:pt x="1803089" y="778248"/>
                  </a:cubicBezTo>
                  <a:close/>
                  <a:moveTo>
                    <a:pt x="675968" y="772172"/>
                  </a:moveTo>
                  <a:cubicBezTo>
                    <a:pt x="680146" y="773311"/>
                    <a:pt x="684703" y="776349"/>
                    <a:pt x="689260" y="780906"/>
                  </a:cubicBezTo>
                  <a:cubicBezTo>
                    <a:pt x="698374" y="790020"/>
                    <a:pt x="689260" y="802173"/>
                    <a:pt x="683184" y="805211"/>
                  </a:cubicBezTo>
                  <a:cubicBezTo>
                    <a:pt x="677107" y="808249"/>
                    <a:pt x="664955" y="811287"/>
                    <a:pt x="658879" y="799135"/>
                  </a:cubicBezTo>
                  <a:cubicBezTo>
                    <a:pt x="652803" y="786982"/>
                    <a:pt x="652803" y="780906"/>
                    <a:pt x="664955" y="774830"/>
                  </a:cubicBezTo>
                  <a:cubicBezTo>
                    <a:pt x="667993" y="771792"/>
                    <a:pt x="671791" y="771032"/>
                    <a:pt x="675968" y="772172"/>
                  </a:cubicBezTo>
                  <a:close/>
                  <a:moveTo>
                    <a:pt x="302287" y="769134"/>
                  </a:moveTo>
                  <a:cubicBezTo>
                    <a:pt x="306465" y="770273"/>
                    <a:pt x="311022" y="773311"/>
                    <a:pt x="315579" y="777868"/>
                  </a:cubicBezTo>
                  <a:cubicBezTo>
                    <a:pt x="324693" y="786982"/>
                    <a:pt x="318617" y="796097"/>
                    <a:pt x="309503" y="802173"/>
                  </a:cubicBezTo>
                  <a:cubicBezTo>
                    <a:pt x="303427" y="805211"/>
                    <a:pt x="291274" y="808249"/>
                    <a:pt x="285198" y="796097"/>
                  </a:cubicBezTo>
                  <a:cubicBezTo>
                    <a:pt x="279122" y="780906"/>
                    <a:pt x="282160" y="774830"/>
                    <a:pt x="291274" y="771792"/>
                  </a:cubicBezTo>
                  <a:cubicBezTo>
                    <a:pt x="294312" y="768754"/>
                    <a:pt x="298110" y="767994"/>
                    <a:pt x="302287" y="769134"/>
                  </a:cubicBezTo>
                  <a:close/>
                  <a:moveTo>
                    <a:pt x="2313484" y="766096"/>
                  </a:moveTo>
                  <a:cubicBezTo>
                    <a:pt x="2317661" y="767235"/>
                    <a:pt x="2322218" y="770273"/>
                    <a:pt x="2326775" y="774830"/>
                  </a:cubicBezTo>
                  <a:cubicBezTo>
                    <a:pt x="2335890" y="783944"/>
                    <a:pt x="2329814" y="793059"/>
                    <a:pt x="2320699" y="799135"/>
                  </a:cubicBezTo>
                  <a:cubicBezTo>
                    <a:pt x="2314623" y="802173"/>
                    <a:pt x="2302471" y="805211"/>
                    <a:pt x="2296395" y="793059"/>
                  </a:cubicBezTo>
                  <a:cubicBezTo>
                    <a:pt x="2290319" y="780906"/>
                    <a:pt x="2296395" y="774830"/>
                    <a:pt x="2302471" y="768754"/>
                  </a:cubicBezTo>
                  <a:cubicBezTo>
                    <a:pt x="2305509" y="765716"/>
                    <a:pt x="2309307" y="764956"/>
                    <a:pt x="2313484" y="766096"/>
                  </a:cubicBezTo>
                  <a:close/>
                  <a:moveTo>
                    <a:pt x="1921574" y="766096"/>
                  </a:moveTo>
                  <a:cubicBezTo>
                    <a:pt x="1925751" y="767235"/>
                    <a:pt x="1930308" y="770273"/>
                    <a:pt x="1934865" y="774830"/>
                  </a:cubicBezTo>
                  <a:cubicBezTo>
                    <a:pt x="1943980" y="783944"/>
                    <a:pt x="1934865" y="796097"/>
                    <a:pt x="1928789" y="799135"/>
                  </a:cubicBezTo>
                  <a:cubicBezTo>
                    <a:pt x="1922713" y="802173"/>
                    <a:pt x="1910561" y="805211"/>
                    <a:pt x="1904485" y="793059"/>
                  </a:cubicBezTo>
                  <a:cubicBezTo>
                    <a:pt x="1898409" y="780906"/>
                    <a:pt x="1904485" y="774830"/>
                    <a:pt x="1910561" y="768754"/>
                  </a:cubicBezTo>
                  <a:cubicBezTo>
                    <a:pt x="1913599" y="765716"/>
                    <a:pt x="1917397" y="764956"/>
                    <a:pt x="1921574" y="766096"/>
                  </a:cubicBezTo>
                  <a:close/>
                  <a:moveTo>
                    <a:pt x="2176771" y="756982"/>
                  </a:moveTo>
                  <a:cubicBezTo>
                    <a:pt x="2180948" y="758121"/>
                    <a:pt x="2185505" y="761159"/>
                    <a:pt x="2190062" y="765716"/>
                  </a:cubicBezTo>
                  <a:cubicBezTo>
                    <a:pt x="2199177" y="774830"/>
                    <a:pt x="2190062" y="786983"/>
                    <a:pt x="2183986" y="790021"/>
                  </a:cubicBezTo>
                  <a:cubicBezTo>
                    <a:pt x="2177910" y="793059"/>
                    <a:pt x="2165758" y="796097"/>
                    <a:pt x="2159682" y="783945"/>
                  </a:cubicBezTo>
                  <a:cubicBezTo>
                    <a:pt x="2153606" y="771792"/>
                    <a:pt x="2159682" y="765716"/>
                    <a:pt x="2165758" y="759640"/>
                  </a:cubicBezTo>
                  <a:cubicBezTo>
                    <a:pt x="2168796" y="756602"/>
                    <a:pt x="2172594" y="755842"/>
                    <a:pt x="2176771" y="756982"/>
                  </a:cubicBezTo>
                  <a:close/>
                  <a:moveTo>
                    <a:pt x="1702833" y="750906"/>
                  </a:moveTo>
                  <a:cubicBezTo>
                    <a:pt x="1707011" y="752045"/>
                    <a:pt x="1711568" y="755083"/>
                    <a:pt x="1716125" y="759640"/>
                  </a:cubicBezTo>
                  <a:cubicBezTo>
                    <a:pt x="1725239" y="768754"/>
                    <a:pt x="1716125" y="780907"/>
                    <a:pt x="1710049" y="783945"/>
                  </a:cubicBezTo>
                  <a:cubicBezTo>
                    <a:pt x="1703973" y="786983"/>
                    <a:pt x="1691820" y="790021"/>
                    <a:pt x="1685744" y="777869"/>
                  </a:cubicBezTo>
                  <a:cubicBezTo>
                    <a:pt x="1679668" y="765716"/>
                    <a:pt x="1682706" y="759640"/>
                    <a:pt x="1691820" y="753564"/>
                  </a:cubicBezTo>
                  <a:cubicBezTo>
                    <a:pt x="1694858" y="750526"/>
                    <a:pt x="1698656" y="749766"/>
                    <a:pt x="1702833" y="750906"/>
                  </a:cubicBezTo>
                  <a:close/>
                  <a:moveTo>
                    <a:pt x="1210667" y="741791"/>
                  </a:moveTo>
                  <a:cubicBezTo>
                    <a:pt x="1214845" y="742930"/>
                    <a:pt x="1219402" y="745968"/>
                    <a:pt x="1223959" y="750525"/>
                  </a:cubicBezTo>
                  <a:cubicBezTo>
                    <a:pt x="1233073" y="759639"/>
                    <a:pt x="1226997" y="768754"/>
                    <a:pt x="1217883" y="774830"/>
                  </a:cubicBezTo>
                  <a:cubicBezTo>
                    <a:pt x="1211806" y="777868"/>
                    <a:pt x="1199654" y="780906"/>
                    <a:pt x="1193578" y="768754"/>
                  </a:cubicBezTo>
                  <a:cubicBezTo>
                    <a:pt x="1187502" y="753563"/>
                    <a:pt x="1190540" y="747487"/>
                    <a:pt x="1199654" y="744449"/>
                  </a:cubicBezTo>
                  <a:cubicBezTo>
                    <a:pt x="1202692" y="741411"/>
                    <a:pt x="1206490" y="740651"/>
                    <a:pt x="1210667" y="741791"/>
                  </a:cubicBezTo>
                  <a:close/>
                  <a:moveTo>
                    <a:pt x="1450674" y="723563"/>
                  </a:moveTo>
                  <a:cubicBezTo>
                    <a:pt x="1454852" y="724702"/>
                    <a:pt x="1459409" y="727740"/>
                    <a:pt x="1463966" y="732297"/>
                  </a:cubicBezTo>
                  <a:cubicBezTo>
                    <a:pt x="1473080" y="741411"/>
                    <a:pt x="1463966" y="753564"/>
                    <a:pt x="1457890" y="756602"/>
                  </a:cubicBezTo>
                  <a:cubicBezTo>
                    <a:pt x="1451814" y="759640"/>
                    <a:pt x="1439661" y="762678"/>
                    <a:pt x="1433585" y="750526"/>
                  </a:cubicBezTo>
                  <a:cubicBezTo>
                    <a:pt x="1427509" y="738373"/>
                    <a:pt x="1430547" y="732297"/>
                    <a:pt x="1439661" y="726221"/>
                  </a:cubicBezTo>
                  <a:cubicBezTo>
                    <a:pt x="1442699" y="723183"/>
                    <a:pt x="1446497" y="722423"/>
                    <a:pt x="1450674" y="723563"/>
                  </a:cubicBezTo>
                  <a:close/>
                  <a:moveTo>
                    <a:pt x="2021829" y="720525"/>
                  </a:moveTo>
                  <a:cubicBezTo>
                    <a:pt x="2026007" y="721664"/>
                    <a:pt x="2030564" y="724702"/>
                    <a:pt x="2035121" y="729259"/>
                  </a:cubicBezTo>
                  <a:cubicBezTo>
                    <a:pt x="2044235" y="738373"/>
                    <a:pt x="2038159" y="747488"/>
                    <a:pt x="2029045" y="753564"/>
                  </a:cubicBezTo>
                  <a:cubicBezTo>
                    <a:pt x="2022969" y="756602"/>
                    <a:pt x="2010816" y="759640"/>
                    <a:pt x="2004740" y="747488"/>
                  </a:cubicBezTo>
                  <a:cubicBezTo>
                    <a:pt x="1998664" y="735335"/>
                    <a:pt x="2001702" y="726221"/>
                    <a:pt x="2010816" y="723183"/>
                  </a:cubicBezTo>
                  <a:cubicBezTo>
                    <a:pt x="2013854" y="720145"/>
                    <a:pt x="2017652" y="719385"/>
                    <a:pt x="2021829" y="720525"/>
                  </a:cubicBezTo>
                  <a:close/>
                  <a:moveTo>
                    <a:pt x="387352" y="720525"/>
                  </a:moveTo>
                  <a:cubicBezTo>
                    <a:pt x="391530" y="721664"/>
                    <a:pt x="396087" y="724702"/>
                    <a:pt x="400644" y="729259"/>
                  </a:cubicBezTo>
                  <a:cubicBezTo>
                    <a:pt x="409758" y="738373"/>
                    <a:pt x="403682" y="747488"/>
                    <a:pt x="394568" y="753564"/>
                  </a:cubicBezTo>
                  <a:cubicBezTo>
                    <a:pt x="388492" y="756602"/>
                    <a:pt x="376339" y="759640"/>
                    <a:pt x="370263" y="747488"/>
                  </a:cubicBezTo>
                  <a:cubicBezTo>
                    <a:pt x="364187" y="732297"/>
                    <a:pt x="367225" y="726221"/>
                    <a:pt x="376339" y="723183"/>
                  </a:cubicBezTo>
                  <a:cubicBezTo>
                    <a:pt x="379377" y="720145"/>
                    <a:pt x="383175" y="719385"/>
                    <a:pt x="387352" y="720525"/>
                  </a:cubicBezTo>
                  <a:close/>
                  <a:moveTo>
                    <a:pt x="1049650" y="702297"/>
                  </a:moveTo>
                  <a:cubicBezTo>
                    <a:pt x="1053828" y="703436"/>
                    <a:pt x="1058385" y="706474"/>
                    <a:pt x="1062942" y="711031"/>
                  </a:cubicBezTo>
                  <a:cubicBezTo>
                    <a:pt x="1072056" y="720145"/>
                    <a:pt x="1062942" y="732298"/>
                    <a:pt x="1056866" y="735336"/>
                  </a:cubicBezTo>
                  <a:cubicBezTo>
                    <a:pt x="1050790" y="738374"/>
                    <a:pt x="1038637" y="741412"/>
                    <a:pt x="1032561" y="729260"/>
                  </a:cubicBezTo>
                  <a:cubicBezTo>
                    <a:pt x="1026485" y="717107"/>
                    <a:pt x="1029523" y="707993"/>
                    <a:pt x="1038637" y="704955"/>
                  </a:cubicBezTo>
                  <a:cubicBezTo>
                    <a:pt x="1041675" y="701917"/>
                    <a:pt x="1045473" y="701157"/>
                    <a:pt x="1049650" y="702297"/>
                  </a:cubicBezTo>
                  <a:close/>
                  <a:moveTo>
                    <a:pt x="931165" y="702297"/>
                  </a:moveTo>
                  <a:cubicBezTo>
                    <a:pt x="935343" y="703436"/>
                    <a:pt x="939900" y="706474"/>
                    <a:pt x="944457" y="711031"/>
                  </a:cubicBezTo>
                  <a:cubicBezTo>
                    <a:pt x="953571" y="720145"/>
                    <a:pt x="947495" y="729260"/>
                    <a:pt x="938381" y="735336"/>
                  </a:cubicBezTo>
                  <a:cubicBezTo>
                    <a:pt x="932305" y="738374"/>
                    <a:pt x="920152" y="741412"/>
                    <a:pt x="914076" y="729260"/>
                  </a:cubicBezTo>
                  <a:cubicBezTo>
                    <a:pt x="908000" y="717107"/>
                    <a:pt x="911038" y="711031"/>
                    <a:pt x="920152" y="704955"/>
                  </a:cubicBezTo>
                  <a:cubicBezTo>
                    <a:pt x="923190" y="701917"/>
                    <a:pt x="926988" y="701157"/>
                    <a:pt x="931165" y="702297"/>
                  </a:cubicBezTo>
                  <a:close/>
                  <a:moveTo>
                    <a:pt x="1547892" y="699259"/>
                  </a:moveTo>
                  <a:cubicBezTo>
                    <a:pt x="1552070" y="700398"/>
                    <a:pt x="1556627" y="703436"/>
                    <a:pt x="1561184" y="707993"/>
                  </a:cubicBezTo>
                  <a:cubicBezTo>
                    <a:pt x="1570298" y="717107"/>
                    <a:pt x="1561184" y="729260"/>
                    <a:pt x="1555108" y="732298"/>
                  </a:cubicBezTo>
                  <a:cubicBezTo>
                    <a:pt x="1549032" y="735336"/>
                    <a:pt x="1536879" y="738374"/>
                    <a:pt x="1530803" y="726222"/>
                  </a:cubicBezTo>
                  <a:cubicBezTo>
                    <a:pt x="1524727" y="711031"/>
                    <a:pt x="1527765" y="704955"/>
                    <a:pt x="1536879" y="701917"/>
                  </a:cubicBezTo>
                  <a:cubicBezTo>
                    <a:pt x="1539917" y="698879"/>
                    <a:pt x="1543715" y="698119"/>
                    <a:pt x="1547892" y="699259"/>
                  </a:cubicBezTo>
                  <a:close/>
                  <a:moveTo>
                    <a:pt x="1313961" y="699259"/>
                  </a:moveTo>
                  <a:cubicBezTo>
                    <a:pt x="1318139" y="700398"/>
                    <a:pt x="1322696" y="703436"/>
                    <a:pt x="1327253" y="707993"/>
                  </a:cubicBezTo>
                  <a:cubicBezTo>
                    <a:pt x="1336367" y="717107"/>
                    <a:pt x="1330291" y="726222"/>
                    <a:pt x="1321177" y="732298"/>
                  </a:cubicBezTo>
                  <a:cubicBezTo>
                    <a:pt x="1315101" y="735336"/>
                    <a:pt x="1302948" y="738374"/>
                    <a:pt x="1296872" y="726222"/>
                  </a:cubicBezTo>
                  <a:cubicBezTo>
                    <a:pt x="1290796" y="714069"/>
                    <a:pt x="1293834" y="707993"/>
                    <a:pt x="1302948" y="701917"/>
                  </a:cubicBezTo>
                  <a:cubicBezTo>
                    <a:pt x="1305986" y="698879"/>
                    <a:pt x="1309784" y="698119"/>
                    <a:pt x="1313961" y="699259"/>
                  </a:cubicBezTo>
                  <a:close/>
                  <a:moveTo>
                    <a:pt x="2413739" y="696220"/>
                  </a:moveTo>
                  <a:cubicBezTo>
                    <a:pt x="2417917" y="697359"/>
                    <a:pt x="2422474" y="700397"/>
                    <a:pt x="2427031" y="704954"/>
                  </a:cubicBezTo>
                  <a:cubicBezTo>
                    <a:pt x="2436145" y="714068"/>
                    <a:pt x="2430069" y="723183"/>
                    <a:pt x="2420955" y="729259"/>
                  </a:cubicBezTo>
                  <a:cubicBezTo>
                    <a:pt x="2414878" y="732297"/>
                    <a:pt x="2402726" y="735335"/>
                    <a:pt x="2396650" y="723183"/>
                  </a:cubicBezTo>
                  <a:cubicBezTo>
                    <a:pt x="2390574" y="711030"/>
                    <a:pt x="2390574" y="701916"/>
                    <a:pt x="2402726" y="698878"/>
                  </a:cubicBezTo>
                  <a:cubicBezTo>
                    <a:pt x="2405764" y="695840"/>
                    <a:pt x="2409562" y="695080"/>
                    <a:pt x="2413739" y="696220"/>
                  </a:cubicBezTo>
                  <a:close/>
                  <a:moveTo>
                    <a:pt x="551408" y="690144"/>
                  </a:moveTo>
                  <a:cubicBezTo>
                    <a:pt x="555585" y="691283"/>
                    <a:pt x="560142" y="694321"/>
                    <a:pt x="564699" y="698878"/>
                  </a:cubicBezTo>
                  <a:cubicBezTo>
                    <a:pt x="573814" y="707992"/>
                    <a:pt x="567737" y="717107"/>
                    <a:pt x="558623" y="723183"/>
                  </a:cubicBezTo>
                  <a:cubicBezTo>
                    <a:pt x="552547" y="726221"/>
                    <a:pt x="540395" y="729259"/>
                    <a:pt x="534319" y="717107"/>
                  </a:cubicBezTo>
                  <a:cubicBezTo>
                    <a:pt x="528243" y="704954"/>
                    <a:pt x="534319" y="698878"/>
                    <a:pt x="540395" y="692802"/>
                  </a:cubicBezTo>
                  <a:cubicBezTo>
                    <a:pt x="543433" y="689764"/>
                    <a:pt x="547231" y="689004"/>
                    <a:pt x="551408" y="690144"/>
                  </a:cubicBezTo>
                  <a:close/>
                  <a:moveTo>
                    <a:pt x="830909" y="684068"/>
                  </a:moveTo>
                  <a:cubicBezTo>
                    <a:pt x="835087" y="685207"/>
                    <a:pt x="839644" y="688245"/>
                    <a:pt x="844201" y="692802"/>
                  </a:cubicBezTo>
                  <a:cubicBezTo>
                    <a:pt x="853315" y="701916"/>
                    <a:pt x="844201" y="714069"/>
                    <a:pt x="838125" y="717107"/>
                  </a:cubicBezTo>
                  <a:cubicBezTo>
                    <a:pt x="832048" y="720145"/>
                    <a:pt x="819896" y="723183"/>
                    <a:pt x="813820" y="711031"/>
                  </a:cubicBezTo>
                  <a:cubicBezTo>
                    <a:pt x="807744" y="698878"/>
                    <a:pt x="810782" y="692802"/>
                    <a:pt x="819896" y="686726"/>
                  </a:cubicBezTo>
                  <a:cubicBezTo>
                    <a:pt x="822934" y="683688"/>
                    <a:pt x="826732" y="682928"/>
                    <a:pt x="830909" y="684068"/>
                  </a:cubicBezTo>
                  <a:close/>
                  <a:moveTo>
                    <a:pt x="730653" y="677992"/>
                  </a:moveTo>
                  <a:cubicBezTo>
                    <a:pt x="734831" y="679131"/>
                    <a:pt x="739388" y="682169"/>
                    <a:pt x="743945" y="686726"/>
                  </a:cubicBezTo>
                  <a:cubicBezTo>
                    <a:pt x="753059" y="695840"/>
                    <a:pt x="743945" y="707993"/>
                    <a:pt x="737869" y="711031"/>
                  </a:cubicBezTo>
                  <a:cubicBezTo>
                    <a:pt x="731793" y="714069"/>
                    <a:pt x="719640" y="717107"/>
                    <a:pt x="713564" y="704955"/>
                  </a:cubicBezTo>
                  <a:cubicBezTo>
                    <a:pt x="707488" y="692802"/>
                    <a:pt x="710526" y="686726"/>
                    <a:pt x="719640" y="680650"/>
                  </a:cubicBezTo>
                  <a:cubicBezTo>
                    <a:pt x="722678" y="677612"/>
                    <a:pt x="726476" y="676852"/>
                    <a:pt x="730653" y="677992"/>
                  </a:cubicBezTo>
                  <a:close/>
                  <a:moveTo>
                    <a:pt x="2228418" y="671916"/>
                  </a:moveTo>
                  <a:cubicBezTo>
                    <a:pt x="2232595" y="673055"/>
                    <a:pt x="2237153" y="676093"/>
                    <a:pt x="2241710" y="680650"/>
                  </a:cubicBezTo>
                  <a:cubicBezTo>
                    <a:pt x="2250824" y="689764"/>
                    <a:pt x="2244748" y="698879"/>
                    <a:pt x="2235634" y="704955"/>
                  </a:cubicBezTo>
                  <a:cubicBezTo>
                    <a:pt x="2229557" y="707993"/>
                    <a:pt x="2217405" y="711031"/>
                    <a:pt x="2211329" y="698879"/>
                  </a:cubicBezTo>
                  <a:cubicBezTo>
                    <a:pt x="2205253" y="686726"/>
                    <a:pt x="2208291" y="680650"/>
                    <a:pt x="2217405" y="674574"/>
                  </a:cubicBezTo>
                  <a:cubicBezTo>
                    <a:pt x="2220443" y="671536"/>
                    <a:pt x="2224241" y="670776"/>
                    <a:pt x="2228418" y="671916"/>
                  </a:cubicBezTo>
                  <a:close/>
                  <a:moveTo>
                    <a:pt x="1839546" y="671916"/>
                  </a:moveTo>
                  <a:cubicBezTo>
                    <a:pt x="1843724" y="673055"/>
                    <a:pt x="1848281" y="676093"/>
                    <a:pt x="1852838" y="680650"/>
                  </a:cubicBezTo>
                  <a:cubicBezTo>
                    <a:pt x="1861952" y="689764"/>
                    <a:pt x="1855876" y="698879"/>
                    <a:pt x="1846762" y="704955"/>
                  </a:cubicBezTo>
                  <a:cubicBezTo>
                    <a:pt x="1840686" y="707993"/>
                    <a:pt x="1828533" y="711031"/>
                    <a:pt x="1822457" y="698879"/>
                  </a:cubicBezTo>
                  <a:cubicBezTo>
                    <a:pt x="1816381" y="686726"/>
                    <a:pt x="1819419" y="677612"/>
                    <a:pt x="1828533" y="674574"/>
                  </a:cubicBezTo>
                  <a:cubicBezTo>
                    <a:pt x="1831571" y="671536"/>
                    <a:pt x="1835369" y="670776"/>
                    <a:pt x="1839546" y="671916"/>
                  </a:cubicBezTo>
                  <a:close/>
                  <a:moveTo>
                    <a:pt x="2109933" y="656726"/>
                  </a:moveTo>
                  <a:cubicBezTo>
                    <a:pt x="2114111" y="657865"/>
                    <a:pt x="2118668" y="660903"/>
                    <a:pt x="2123225" y="665460"/>
                  </a:cubicBezTo>
                  <a:cubicBezTo>
                    <a:pt x="2132339" y="674574"/>
                    <a:pt x="2126263" y="683689"/>
                    <a:pt x="2117149" y="689765"/>
                  </a:cubicBezTo>
                  <a:cubicBezTo>
                    <a:pt x="2111072" y="692803"/>
                    <a:pt x="2098920" y="695841"/>
                    <a:pt x="2092844" y="683689"/>
                  </a:cubicBezTo>
                  <a:cubicBezTo>
                    <a:pt x="2086768" y="671536"/>
                    <a:pt x="2089806" y="665460"/>
                    <a:pt x="2098920" y="659384"/>
                  </a:cubicBezTo>
                  <a:cubicBezTo>
                    <a:pt x="2101958" y="656346"/>
                    <a:pt x="2105756" y="655586"/>
                    <a:pt x="2109933" y="656726"/>
                  </a:cubicBezTo>
                  <a:close/>
                  <a:moveTo>
                    <a:pt x="1632957" y="656726"/>
                  </a:moveTo>
                  <a:cubicBezTo>
                    <a:pt x="1637135" y="657865"/>
                    <a:pt x="1641692" y="660903"/>
                    <a:pt x="1646249" y="665460"/>
                  </a:cubicBezTo>
                  <a:cubicBezTo>
                    <a:pt x="1655363" y="674574"/>
                    <a:pt x="1649287" y="683689"/>
                    <a:pt x="1640173" y="689765"/>
                  </a:cubicBezTo>
                  <a:cubicBezTo>
                    <a:pt x="1634097" y="692803"/>
                    <a:pt x="1621944" y="695841"/>
                    <a:pt x="1615868" y="683689"/>
                  </a:cubicBezTo>
                  <a:cubicBezTo>
                    <a:pt x="1609792" y="668498"/>
                    <a:pt x="1612830" y="662422"/>
                    <a:pt x="1621944" y="659384"/>
                  </a:cubicBezTo>
                  <a:cubicBezTo>
                    <a:pt x="1624982" y="656346"/>
                    <a:pt x="1628780" y="655586"/>
                    <a:pt x="1632957" y="656726"/>
                  </a:cubicBezTo>
                  <a:close/>
                  <a:moveTo>
                    <a:pt x="1165096" y="656726"/>
                  </a:moveTo>
                  <a:cubicBezTo>
                    <a:pt x="1169273" y="657865"/>
                    <a:pt x="1173830" y="660903"/>
                    <a:pt x="1178387" y="665460"/>
                  </a:cubicBezTo>
                  <a:cubicBezTo>
                    <a:pt x="1187502" y="674574"/>
                    <a:pt x="1178387" y="686727"/>
                    <a:pt x="1172311" y="689765"/>
                  </a:cubicBezTo>
                  <a:cubicBezTo>
                    <a:pt x="1166235" y="692803"/>
                    <a:pt x="1154083" y="695841"/>
                    <a:pt x="1148007" y="683689"/>
                  </a:cubicBezTo>
                  <a:cubicBezTo>
                    <a:pt x="1141931" y="671536"/>
                    <a:pt x="1148007" y="665460"/>
                    <a:pt x="1154083" y="659384"/>
                  </a:cubicBezTo>
                  <a:cubicBezTo>
                    <a:pt x="1157121" y="656346"/>
                    <a:pt x="1160919" y="655586"/>
                    <a:pt x="1165096" y="656726"/>
                  </a:cubicBezTo>
                  <a:close/>
                  <a:moveTo>
                    <a:pt x="1948916" y="653688"/>
                  </a:moveTo>
                  <a:cubicBezTo>
                    <a:pt x="1953094" y="654827"/>
                    <a:pt x="1957651" y="657865"/>
                    <a:pt x="1962208" y="662422"/>
                  </a:cubicBezTo>
                  <a:cubicBezTo>
                    <a:pt x="1971322" y="671536"/>
                    <a:pt x="1965246" y="680651"/>
                    <a:pt x="1956132" y="686727"/>
                  </a:cubicBezTo>
                  <a:cubicBezTo>
                    <a:pt x="1950056" y="689765"/>
                    <a:pt x="1937903" y="692803"/>
                    <a:pt x="1931827" y="680651"/>
                  </a:cubicBezTo>
                  <a:cubicBezTo>
                    <a:pt x="1925751" y="665460"/>
                    <a:pt x="1928789" y="659384"/>
                    <a:pt x="1937903" y="656346"/>
                  </a:cubicBezTo>
                  <a:cubicBezTo>
                    <a:pt x="1940941" y="653308"/>
                    <a:pt x="1944739" y="652548"/>
                    <a:pt x="1948916" y="653688"/>
                  </a:cubicBezTo>
                  <a:close/>
                  <a:moveTo>
                    <a:pt x="2328673" y="647611"/>
                  </a:moveTo>
                  <a:cubicBezTo>
                    <a:pt x="2332851" y="648750"/>
                    <a:pt x="2337408" y="651788"/>
                    <a:pt x="2341965" y="656345"/>
                  </a:cubicBezTo>
                  <a:cubicBezTo>
                    <a:pt x="2351079" y="665459"/>
                    <a:pt x="2345003" y="674574"/>
                    <a:pt x="2335889" y="680650"/>
                  </a:cubicBezTo>
                  <a:cubicBezTo>
                    <a:pt x="2329813" y="683688"/>
                    <a:pt x="2317660" y="686726"/>
                    <a:pt x="2311584" y="674574"/>
                  </a:cubicBezTo>
                  <a:cubicBezTo>
                    <a:pt x="2305508" y="662421"/>
                    <a:pt x="2308546" y="656345"/>
                    <a:pt x="2317660" y="650269"/>
                  </a:cubicBezTo>
                  <a:cubicBezTo>
                    <a:pt x="2320698" y="647231"/>
                    <a:pt x="2324496" y="646471"/>
                    <a:pt x="2328673" y="647611"/>
                  </a:cubicBezTo>
                  <a:close/>
                  <a:moveTo>
                    <a:pt x="639512" y="641535"/>
                  </a:moveTo>
                  <a:cubicBezTo>
                    <a:pt x="643690" y="642674"/>
                    <a:pt x="648247" y="645712"/>
                    <a:pt x="652804" y="650269"/>
                  </a:cubicBezTo>
                  <a:cubicBezTo>
                    <a:pt x="661918" y="659383"/>
                    <a:pt x="655842" y="668498"/>
                    <a:pt x="646728" y="674574"/>
                  </a:cubicBezTo>
                  <a:cubicBezTo>
                    <a:pt x="640651" y="677612"/>
                    <a:pt x="628499" y="680650"/>
                    <a:pt x="622423" y="668498"/>
                  </a:cubicBezTo>
                  <a:cubicBezTo>
                    <a:pt x="616347" y="653307"/>
                    <a:pt x="619385" y="647231"/>
                    <a:pt x="628499" y="644193"/>
                  </a:cubicBezTo>
                  <a:cubicBezTo>
                    <a:pt x="631537" y="641155"/>
                    <a:pt x="635335" y="640395"/>
                    <a:pt x="639512" y="641535"/>
                  </a:cubicBezTo>
                  <a:close/>
                  <a:moveTo>
                    <a:pt x="451152" y="641535"/>
                  </a:moveTo>
                  <a:cubicBezTo>
                    <a:pt x="455330" y="642674"/>
                    <a:pt x="459887" y="645712"/>
                    <a:pt x="464444" y="650269"/>
                  </a:cubicBezTo>
                  <a:cubicBezTo>
                    <a:pt x="473558" y="659383"/>
                    <a:pt x="464444" y="671536"/>
                    <a:pt x="458368" y="674574"/>
                  </a:cubicBezTo>
                  <a:cubicBezTo>
                    <a:pt x="452292" y="677612"/>
                    <a:pt x="440139" y="680650"/>
                    <a:pt x="434063" y="668498"/>
                  </a:cubicBezTo>
                  <a:cubicBezTo>
                    <a:pt x="427987" y="656345"/>
                    <a:pt x="431025" y="647231"/>
                    <a:pt x="440139" y="644193"/>
                  </a:cubicBezTo>
                  <a:cubicBezTo>
                    <a:pt x="443177" y="641155"/>
                    <a:pt x="446975" y="640395"/>
                    <a:pt x="451152" y="641535"/>
                  </a:cubicBezTo>
                  <a:close/>
                  <a:moveTo>
                    <a:pt x="1739291" y="638497"/>
                  </a:moveTo>
                  <a:cubicBezTo>
                    <a:pt x="1743468" y="639636"/>
                    <a:pt x="1748025" y="642674"/>
                    <a:pt x="1752582" y="647231"/>
                  </a:cubicBezTo>
                  <a:cubicBezTo>
                    <a:pt x="1761696" y="656345"/>
                    <a:pt x="1755620" y="665460"/>
                    <a:pt x="1746506" y="671536"/>
                  </a:cubicBezTo>
                  <a:cubicBezTo>
                    <a:pt x="1740430" y="674574"/>
                    <a:pt x="1728277" y="677612"/>
                    <a:pt x="1722201" y="665460"/>
                  </a:cubicBezTo>
                  <a:cubicBezTo>
                    <a:pt x="1716125" y="650269"/>
                    <a:pt x="1719163" y="644193"/>
                    <a:pt x="1728277" y="641155"/>
                  </a:cubicBezTo>
                  <a:cubicBezTo>
                    <a:pt x="1731316" y="638117"/>
                    <a:pt x="1735113" y="637357"/>
                    <a:pt x="1739291" y="638497"/>
                  </a:cubicBezTo>
                  <a:close/>
                  <a:moveTo>
                    <a:pt x="1429407" y="623307"/>
                  </a:moveTo>
                  <a:cubicBezTo>
                    <a:pt x="1433585" y="624446"/>
                    <a:pt x="1438142" y="627484"/>
                    <a:pt x="1442699" y="632041"/>
                  </a:cubicBezTo>
                  <a:cubicBezTo>
                    <a:pt x="1451813" y="641155"/>
                    <a:pt x="1445737" y="650270"/>
                    <a:pt x="1436623" y="656346"/>
                  </a:cubicBezTo>
                  <a:cubicBezTo>
                    <a:pt x="1430547" y="659384"/>
                    <a:pt x="1418394" y="662422"/>
                    <a:pt x="1412318" y="650270"/>
                  </a:cubicBezTo>
                  <a:cubicBezTo>
                    <a:pt x="1406242" y="638117"/>
                    <a:pt x="1409280" y="629003"/>
                    <a:pt x="1418394" y="625965"/>
                  </a:cubicBezTo>
                  <a:cubicBezTo>
                    <a:pt x="1421432" y="622927"/>
                    <a:pt x="1425230" y="622167"/>
                    <a:pt x="1429407" y="623307"/>
                  </a:cubicBezTo>
                  <a:close/>
                  <a:moveTo>
                    <a:pt x="991927" y="614193"/>
                  </a:moveTo>
                  <a:cubicBezTo>
                    <a:pt x="996105" y="615332"/>
                    <a:pt x="1000662" y="618370"/>
                    <a:pt x="1005219" y="622927"/>
                  </a:cubicBezTo>
                  <a:cubicBezTo>
                    <a:pt x="1014333" y="632041"/>
                    <a:pt x="1008257" y="641156"/>
                    <a:pt x="999143" y="647232"/>
                  </a:cubicBezTo>
                  <a:cubicBezTo>
                    <a:pt x="993067" y="650270"/>
                    <a:pt x="980914" y="653308"/>
                    <a:pt x="974838" y="641156"/>
                  </a:cubicBezTo>
                  <a:cubicBezTo>
                    <a:pt x="968762" y="629003"/>
                    <a:pt x="971800" y="619889"/>
                    <a:pt x="980914" y="616851"/>
                  </a:cubicBezTo>
                  <a:cubicBezTo>
                    <a:pt x="983952" y="613813"/>
                    <a:pt x="987750" y="613053"/>
                    <a:pt x="991927" y="614193"/>
                  </a:cubicBezTo>
                  <a:close/>
                  <a:moveTo>
                    <a:pt x="1244086" y="589888"/>
                  </a:moveTo>
                  <a:cubicBezTo>
                    <a:pt x="1248264" y="591027"/>
                    <a:pt x="1252821" y="594065"/>
                    <a:pt x="1257378" y="598622"/>
                  </a:cubicBezTo>
                  <a:cubicBezTo>
                    <a:pt x="1266492" y="607736"/>
                    <a:pt x="1260416" y="616851"/>
                    <a:pt x="1251302" y="622927"/>
                  </a:cubicBezTo>
                  <a:cubicBezTo>
                    <a:pt x="1245226" y="625965"/>
                    <a:pt x="1233073" y="629003"/>
                    <a:pt x="1226997" y="616851"/>
                  </a:cubicBezTo>
                  <a:cubicBezTo>
                    <a:pt x="1220921" y="601660"/>
                    <a:pt x="1223959" y="595584"/>
                    <a:pt x="1233073" y="592546"/>
                  </a:cubicBezTo>
                  <a:cubicBezTo>
                    <a:pt x="1236111" y="589508"/>
                    <a:pt x="1239909" y="588748"/>
                    <a:pt x="1244086" y="589888"/>
                  </a:cubicBezTo>
                  <a:close/>
                  <a:moveTo>
                    <a:pt x="1332189" y="586850"/>
                  </a:moveTo>
                  <a:cubicBezTo>
                    <a:pt x="1336367" y="587989"/>
                    <a:pt x="1340924" y="591027"/>
                    <a:pt x="1345481" y="595584"/>
                  </a:cubicBezTo>
                  <a:cubicBezTo>
                    <a:pt x="1354595" y="604698"/>
                    <a:pt x="1345481" y="616851"/>
                    <a:pt x="1339405" y="619889"/>
                  </a:cubicBezTo>
                  <a:cubicBezTo>
                    <a:pt x="1333328" y="622927"/>
                    <a:pt x="1321176" y="625965"/>
                    <a:pt x="1315100" y="613813"/>
                  </a:cubicBezTo>
                  <a:cubicBezTo>
                    <a:pt x="1309024" y="601660"/>
                    <a:pt x="1312062" y="595584"/>
                    <a:pt x="1321176" y="589508"/>
                  </a:cubicBezTo>
                  <a:cubicBezTo>
                    <a:pt x="1324214" y="586470"/>
                    <a:pt x="1328012" y="585710"/>
                    <a:pt x="1332189" y="586850"/>
                  </a:cubicBezTo>
                  <a:close/>
                  <a:moveTo>
                    <a:pt x="867366" y="583812"/>
                  </a:moveTo>
                  <a:cubicBezTo>
                    <a:pt x="871544" y="584951"/>
                    <a:pt x="876101" y="587989"/>
                    <a:pt x="880658" y="592546"/>
                  </a:cubicBezTo>
                  <a:cubicBezTo>
                    <a:pt x="889772" y="601660"/>
                    <a:pt x="880658" y="613813"/>
                    <a:pt x="874582" y="616851"/>
                  </a:cubicBezTo>
                  <a:cubicBezTo>
                    <a:pt x="868506" y="619889"/>
                    <a:pt x="856353" y="622927"/>
                    <a:pt x="850277" y="610775"/>
                  </a:cubicBezTo>
                  <a:cubicBezTo>
                    <a:pt x="844201" y="595584"/>
                    <a:pt x="847239" y="589508"/>
                    <a:pt x="856353" y="586470"/>
                  </a:cubicBezTo>
                  <a:cubicBezTo>
                    <a:pt x="859391" y="583432"/>
                    <a:pt x="863189" y="582672"/>
                    <a:pt x="867366" y="583812"/>
                  </a:cubicBezTo>
                  <a:close/>
                  <a:moveTo>
                    <a:pt x="2222342" y="576217"/>
                  </a:moveTo>
                  <a:cubicBezTo>
                    <a:pt x="2226519" y="577356"/>
                    <a:pt x="2231076" y="580394"/>
                    <a:pt x="2235633" y="586470"/>
                  </a:cubicBezTo>
                  <a:cubicBezTo>
                    <a:pt x="2244748" y="595584"/>
                    <a:pt x="2238672" y="604698"/>
                    <a:pt x="2229557" y="610775"/>
                  </a:cubicBezTo>
                  <a:cubicBezTo>
                    <a:pt x="2223481" y="613813"/>
                    <a:pt x="2211329" y="616851"/>
                    <a:pt x="2205253" y="604698"/>
                  </a:cubicBezTo>
                  <a:cubicBezTo>
                    <a:pt x="2199177" y="589508"/>
                    <a:pt x="2205253" y="580394"/>
                    <a:pt x="2211329" y="577356"/>
                  </a:cubicBezTo>
                  <a:cubicBezTo>
                    <a:pt x="2214367" y="575837"/>
                    <a:pt x="2218165" y="575077"/>
                    <a:pt x="2222342" y="576217"/>
                  </a:cubicBezTo>
                  <a:close/>
                  <a:moveTo>
                    <a:pt x="1092183" y="571660"/>
                  </a:moveTo>
                  <a:cubicBezTo>
                    <a:pt x="1096361" y="572799"/>
                    <a:pt x="1100918" y="575837"/>
                    <a:pt x="1105475" y="580394"/>
                  </a:cubicBezTo>
                  <a:cubicBezTo>
                    <a:pt x="1114589" y="589508"/>
                    <a:pt x="1108513" y="598623"/>
                    <a:pt x="1099399" y="604699"/>
                  </a:cubicBezTo>
                  <a:cubicBezTo>
                    <a:pt x="1093322" y="607737"/>
                    <a:pt x="1081170" y="610775"/>
                    <a:pt x="1075094" y="598623"/>
                  </a:cubicBezTo>
                  <a:cubicBezTo>
                    <a:pt x="1069018" y="586470"/>
                    <a:pt x="1069018" y="580394"/>
                    <a:pt x="1081170" y="574318"/>
                  </a:cubicBezTo>
                  <a:cubicBezTo>
                    <a:pt x="1084208" y="571280"/>
                    <a:pt x="1088006" y="570520"/>
                    <a:pt x="1092183" y="571660"/>
                  </a:cubicBezTo>
                  <a:close/>
                  <a:moveTo>
                    <a:pt x="2000563" y="568622"/>
                  </a:moveTo>
                  <a:cubicBezTo>
                    <a:pt x="2004740" y="569761"/>
                    <a:pt x="2009298" y="572799"/>
                    <a:pt x="2013855" y="577356"/>
                  </a:cubicBezTo>
                  <a:cubicBezTo>
                    <a:pt x="2022969" y="586470"/>
                    <a:pt x="2016893" y="595585"/>
                    <a:pt x="2007779" y="601661"/>
                  </a:cubicBezTo>
                  <a:cubicBezTo>
                    <a:pt x="2001702" y="604699"/>
                    <a:pt x="1989550" y="607737"/>
                    <a:pt x="1983474" y="595585"/>
                  </a:cubicBezTo>
                  <a:cubicBezTo>
                    <a:pt x="1977398" y="583432"/>
                    <a:pt x="1980436" y="577356"/>
                    <a:pt x="1989550" y="571280"/>
                  </a:cubicBezTo>
                  <a:cubicBezTo>
                    <a:pt x="1992588" y="568242"/>
                    <a:pt x="1996386" y="567482"/>
                    <a:pt x="2000563" y="568622"/>
                  </a:cubicBezTo>
                  <a:close/>
                  <a:moveTo>
                    <a:pt x="745844" y="568622"/>
                  </a:moveTo>
                  <a:cubicBezTo>
                    <a:pt x="750022" y="569761"/>
                    <a:pt x="754579" y="572799"/>
                    <a:pt x="759136" y="577356"/>
                  </a:cubicBezTo>
                  <a:cubicBezTo>
                    <a:pt x="768250" y="586470"/>
                    <a:pt x="759136" y="598623"/>
                    <a:pt x="753060" y="601661"/>
                  </a:cubicBezTo>
                  <a:cubicBezTo>
                    <a:pt x="746984" y="604699"/>
                    <a:pt x="734831" y="607737"/>
                    <a:pt x="728755" y="595585"/>
                  </a:cubicBezTo>
                  <a:cubicBezTo>
                    <a:pt x="722679" y="580394"/>
                    <a:pt x="725717" y="574318"/>
                    <a:pt x="734831" y="571280"/>
                  </a:cubicBezTo>
                  <a:cubicBezTo>
                    <a:pt x="737869" y="568242"/>
                    <a:pt x="741667" y="567482"/>
                    <a:pt x="745844" y="568622"/>
                  </a:cubicBezTo>
                  <a:close/>
                  <a:moveTo>
                    <a:pt x="533179" y="568622"/>
                  </a:moveTo>
                  <a:cubicBezTo>
                    <a:pt x="537357" y="569761"/>
                    <a:pt x="541914" y="572799"/>
                    <a:pt x="546471" y="577356"/>
                  </a:cubicBezTo>
                  <a:cubicBezTo>
                    <a:pt x="555585" y="586470"/>
                    <a:pt x="549509" y="595585"/>
                    <a:pt x="540395" y="601661"/>
                  </a:cubicBezTo>
                  <a:cubicBezTo>
                    <a:pt x="534318" y="604699"/>
                    <a:pt x="522166" y="607737"/>
                    <a:pt x="516090" y="595585"/>
                  </a:cubicBezTo>
                  <a:cubicBezTo>
                    <a:pt x="510014" y="580394"/>
                    <a:pt x="513052" y="574318"/>
                    <a:pt x="522166" y="571280"/>
                  </a:cubicBezTo>
                  <a:cubicBezTo>
                    <a:pt x="525204" y="568242"/>
                    <a:pt x="529002" y="567482"/>
                    <a:pt x="533179" y="568622"/>
                  </a:cubicBezTo>
                  <a:close/>
                  <a:moveTo>
                    <a:pt x="1866889" y="565584"/>
                  </a:moveTo>
                  <a:cubicBezTo>
                    <a:pt x="1871066" y="566723"/>
                    <a:pt x="1875623" y="569761"/>
                    <a:pt x="1880180" y="574318"/>
                  </a:cubicBezTo>
                  <a:cubicBezTo>
                    <a:pt x="1889295" y="583432"/>
                    <a:pt x="1883218" y="592547"/>
                    <a:pt x="1874104" y="598623"/>
                  </a:cubicBezTo>
                  <a:cubicBezTo>
                    <a:pt x="1868028" y="601661"/>
                    <a:pt x="1855876" y="604699"/>
                    <a:pt x="1849800" y="592547"/>
                  </a:cubicBezTo>
                  <a:cubicBezTo>
                    <a:pt x="1843724" y="577356"/>
                    <a:pt x="1849800" y="574318"/>
                    <a:pt x="1855876" y="568242"/>
                  </a:cubicBezTo>
                  <a:cubicBezTo>
                    <a:pt x="1858914" y="565204"/>
                    <a:pt x="1862712" y="564444"/>
                    <a:pt x="1866889" y="565584"/>
                  </a:cubicBezTo>
                  <a:close/>
                  <a:moveTo>
                    <a:pt x="1508397" y="565584"/>
                  </a:moveTo>
                  <a:cubicBezTo>
                    <a:pt x="1512575" y="566723"/>
                    <a:pt x="1517132" y="569761"/>
                    <a:pt x="1521689" y="574318"/>
                  </a:cubicBezTo>
                  <a:cubicBezTo>
                    <a:pt x="1530803" y="583432"/>
                    <a:pt x="1524727" y="592547"/>
                    <a:pt x="1515613" y="598623"/>
                  </a:cubicBezTo>
                  <a:cubicBezTo>
                    <a:pt x="1509537" y="601661"/>
                    <a:pt x="1497384" y="604699"/>
                    <a:pt x="1491308" y="592547"/>
                  </a:cubicBezTo>
                  <a:cubicBezTo>
                    <a:pt x="1485232" y="577356"/>
                    <a:pt x="1488270" y="571280"/>
                    <a:pt x="1497384" y="568242"/>
                  </a:cubicBezTo>
                  <a:cubicBezTo>
                    <a:pt x="1500422" y="565204"/>
                    <a:pt x="1504220" y="564444"/>
                    <a:pt x="1508397" y="565584"/>
                  </a:cubicBezTo>
                  <a:close/>
                  <a:moveTo>
                    <a:pt x="2365130" y="556470"/>
                  </a:moveTo>
                  <a:cubicBezTo>
                    <a:pt x="2369307" y="557609"/>
                    <a:pt x="2373865" y="560647"/>
                    <a:pt x="2378422" y="565204"/>
                  </a:cubicBezTo>
                  <a:cubicBezTo>
                    <a:pt x="2387536" y="574318"/>
                    <a:pt x="2381460" y="583433"/>
                    <a:pt x="2372346" y="589509"/>
                  </a:cubicBezTo>
                  <a:cubicBezTo>
                    <a:pt x="2366269" y="592547"/>
                    <a:pt x="2354117" y="595585"/>
                    <a:pt x="2348041" y="583433"/>
                  </a:cubicBezTo>
                  <a:cubicBezTo>
                    <a:pt x="2341965" y="568242"/>
                    <a:pt x="2345003" y="562166"/>
                    <a:pt x="2354117" y="559128"/>
                  </a:cubicBezTo>
                  <a:cubicBezTo>
                    <a:pt x="2357155" y="556090"/>
                    <a:pt x="2360953" y="555330"/>
                    <a:pt x="2365130" y="556470"/>
                  </a:cubicBezTo>
                  <a:close/>
                  <a:moveTo>
                    <a:pt x="1620805" y="550394"/>
                  </a:moveTo>
                  <a:cubicBezTo>
                    <a:pt x="1624983" y="551533"/>
                    <a:pt x="1629540" y="554571"/>
                    <a:pt x="1634097" y="559128"/>
                  </a:cubicBezTo>
                  <a:cubicBezTo>
                    <a:pt x="1643211" y="568242"/>
                    <a:pt x="1637135" y="577357"/>
                    <a:pt x="1628021" y="583433"/>
                  </a:cubicBezTo>
                  <a:cubicBezTo>
                    <a:pt x="1621944" y="586471"/>
                    <a:pt x="1609792" y="589509"/>
                    <a:pt x="1603716" y="577357"/>
                  </a:cubicBezTo>
                  <a:cubicBezTo>
                    <a:pt x="1597640" y="562166"/>
                    <a:pt x="1597640" y="556090"/>
                    <a:pt x="1609792" y="553052"/>
                  </a:cubicBezTo>
                  <a:cubicBezTo>
                    <a:pt x="1612830" y="550014"/>
                    <a:pt x="1616628" y="549254"/>
                    <a:pt x="1620805" y="550394"/>
                  </a:cubicBezTo>
                  <a:close/>
                  <a:moveTo>
                    <a:pt x="2097781" y="544317"/>
                  </a:moveTo>
                  <a:cubicBezTo>
                    <a:pt x="2101959" y="545456"/>
                    <a:pt x="2106516" y="548494"/>
                    <a:pt x="2111073" y="553051"/>
                  </a:cubicBezTo>
                  <a:cubicBezTo>
                    <a:pt x="2120187" y="562165"/>
                    <a:pt x="2114111" y="571280"/>
                    <a:pt x="2104997" y="577356"/>
                  </a:cubicBezTo>
                  <a:cubicBezTo>
                    <a:pt x="2098921" y="580394"/>
                    <a:pt x="2086768" y="583432"/>
                    <a:pt x="2080692" y="571280"/>
                  </a:cubicBezTo>
                  <a:cubicBezTo>
                    <a:pt x="2074616" y="559127"/>
                    <a:pt x="2074616" y="553051"/>
                    <a:pt x="2086768" y="546975"/>
                  </a:cubicBezTo>
                  <a:cubicBezTo>
                    <a:pt x="2089806" y="543937"/>
                    <a:pt x="2093604" y="543177"/>
                    <a:pt x="2097781" y="544317"/>
                  </a:cubicBezTo>
                  <a:close/>
                  <a:moveTo>
                    <a:pt x="1745366" y="538241"/>
                  </a:moveTo>
                  <a:cubicBezTo>
                    <a:pt x="1749544" y="539380"/>
                    <a:pt x="1754101" y="542418"/>
                    <a:pt x="1758658" y="546975"/>
                  </a:cubicBezTo>
                  <a:cubicBezTo>
                    <a:pt x="1767772" y="556089"/>
                    <a:pt x="1761696" y="565204"/>
                    <a:pt x="1752582" y="571280"/>
                  </a:cubicBezTo>
                  <a:cubicBezTo>
                    <a:pt x="1746505" y="574318"/>
                    <a:pt x="1734353" y="577356"/>
                    <a:pt x="1728277" y="565204"/>
                  </a:cubicBezTo>
                  <a:cubicBezTo>
                    <a:pt x="1722201" y="553051"/>
                    <a:pt x="1725239" y="546975"/>
                    <a:pt x="1734353" y="540899"/>
                  </a:cubicBezTo>
                  <a:cubicBezTo>
                    <a:pt x="1737391" y="537861"/>
                    <a:pt x="1741189" y="537101"/>
                    <a:pt x="1745366" y="538241"/>
                  </a:cubicBezTo>
                  <a:close/>
                  <a:moveTo>
                    <a:pt x="624322" y="529127"/>
                  </a:moveTo>
                  <a:cubicBezTo>
                    <a:pt x="628499" y="530266"/>
                    <a:pt x="633056" y="533304"/>
                    <a:pt x="637613" y="537861"/>
                  </a:cubicBezTo>
                  <a:cubicBezTo>
                    <a:pt x="646728" y="546975"/>
                    <a:pt x="640651" y="556090"/>
                    <a:pt x="631537" y="562166"/>
                  </a:cubicBezTo>
                  <a:cubicBezTo>
                    <a:pt x="625461" y="565204"/>
                    <a:pt x="613309" y="568242"/>
                    <a:pt x="607233" y="556090"/>
                  </a:cubicBezTo>
                  <a:cubicBezTo>
                    <a:pt x="601157" y="540899"/>
                    <a:pt x="607233" y="537861"/>
                    <a:pt x="613309" y="531785"/>
                  </a:cubicBezTo>
                  <a:cubicBezTo>
                    <a:pt x="616347" y="528747"/>
                    <a:pt x="620145" y="527987"/>
                    <a:pt x="624322" y="529127"/>
                  </a:cubicBezTo>
                  <a:close/>
                  <a:moveTo>
                    <a:pt x="958508" y="523051"/>
                  </a:moveTo>
                  <a:cubicBezTo>
                    <a:pt x="962686" y="524190"/>
                    <a:pt x="967243" y="527228"/>
                    <a:pt x="971800" y="531785"/>
                  </a:cubicBezTo>
                  <a:cubicBezTo>
                    <a:pt x="980914" y="540899"/>
                    <a:pt x="974838" y="550014"/>
                    <a:pt x="965724" y="556090"/>
                  </a:cubicBezTo>
                  <a:cubicBezTo>
                    <a:pt x="959648" y="559128"/>
                    <a:pt x="947495" y="562166"/>
                    <a:pt x="941419" y="550014"/>
                  </a:cubicBezTo>
                  <a:cubicBezTo>
                    <a:pt x="935343" y="534823"/>
                    <a:pt x="938381" y="528747"/>
                    <a:pt x="947495" y="525709"/>
                  </a:cubicBezTo>
                  <a:cubicBezTo>
                    <a:pt x="950533" y="522671"/>
                    <a:pt x="954331" y="521911"/>
                    <a:pt x="958508" y="523051"/>
                  </a:cubicBezTo>
                  <a:close/>
                  <a:moveTo>
                    <a:pt x="1177248" y="507861"/>
                  </a:moveTo>
                  <a:cubicBezTo>
                    <a:pt x="1181426" y="509000"/>
                    <a:pt x="1185983" y="512038"/>
                    <a:pt x="1190540" y="516595"/>
                  </a:cubicBezTo>
                  <a:cubicBezTo>
                    <a:pt x="1199654" y="525709"/>
                    <a:pt x="1190540" y="537862"/>
                    <a:pt x="1184464" y="540900"/>
                  </a:cubicBezTo>
                  <a:cubicBezTo>
                    <a:pt x="1178388" y="543938"/>
                    <a:pt x="1166235" y="546976"/>
                    <a:pt x="1160159" y="534824"/>
                  </a:cubicBezTo>
                  <a:cubicBezTo>
                    <a:pt x="1154083" y="522671"/>
                    <a:pt x="1157121" y="516595"/>
                    <a:pt x="1166235" y="510519"/>
                  </a:cubicBezTo>
                  <a:cubicBezTo>
                    <a:pt x="1169273" y="507481"/>
                    <a:pt x="1173071" y="506721"/>
                    <a:pt x="1177248" y="507861"/>
                  </a:cubicBezTo>
                  <a:close/>
                  <a:moveTo>
                    <a:pt x="1399027" y="504823"/>
                  </a:moveTo>
                  <a:cubicBezTo>
                    <a:pt x="1403205" y="505962"/>
                    <a:pt x="1407762" y="509000"/>
                    <a:pt x="1412319" y="513557"/>
                  </a:cubicBezTo>
                  <a:cubicBezTo>
                    <a:pt x="1421433" y="522671"/>
                    <a:pt x="1412319" y="534824"/>
                    <a:pt x="1406243" y="537862"/>
                  </a:cubicBezTo>
                  <a:cubicBezTo>
                    <a:pt x="1400167" y="540900"/>
                    <a:pt x="1388014" y="543938"/>
                    <a:pt x="1381938" y="531786"/>
                  </a:cubicBezTo>
                  <a:cubicBezTo>
                    <a:pt x="1375862" y="516595"/>
                    <a:pt x="1378900" y="510519"/>
                    <a:pt x="1388014" y="507481"/>
                  </a:cubicBezTo>
                  <a:cubicBezTo>
                    <a:pt x="1391052" y="504443"/>
                    <a:pt x="1394850" y="503683"/>
                    <a:pt x="1399027" y="504823"/>
                  </a:cubicBezTo>
                  <a:close/>
                  <a:moveTo>
                    <a:pt x="2194999" y="492670"/>
                  </a:moveTo>
                  <a:cubicBezTo>
                    <a:pt x="2199176" y="493809"/>
                    <a:pt x="2203734" y="496847"/>
                    <a:pt x="2208291" y="501404"/>
                  </a:cubicBezTo>
                  <a:cubicBezTo>
                    <a:pt x="2217405" y="510518"/>
                    <a:pt x="2208291" y="522671"/>
                    <a:pt x="2202214" y="525709"/>
                  </a:cubicBezTo>
                  <a:cubicBezTo>
                    <a:pt x="2196138" y="528747"/>
                    <a:pt x="2183986" y="531785"/>
                    <a:pt x="2177910" y="519633"/>
                  </a:cubicBezTo>
                  <a:cubicBezTo>
                    <a:pt x="2174872" y="504442"/>
                    <a:pt x="2174872" y="498366"/>
                    <a:pt x="2183986" y="495328"/>
                  </a:cubicBezTo>
                  <a:cubicBezTo>
                    <a:pt x="2187024" y="492290"/>
                    <a:pt x="2190822" y="491530"/>
                    <a:pt x="2194999" y="492670"/>
                  </a:cubicBezTo>
                  <a:close/>
                  <a:moveTo>
                    <a:pt x="1912459" y="480518"/>
                  </a:moveTo>
                  <a:cubicBezTo>
                    <a:pt x="1916637" y="481657"/>
                    <a:pt x="1921194" y="484695"/>
                    <a:pt x="1925751" y="489252"/>
                  </a:cubicBezTo>
                  <a:cubicBezTo>
                    <a:pt x="1934865" y="498366"/>
                    <a:pt x="1925751" y="510519"/>
                    <a:pt x="1919675" y="513557"/>
                  </a:cubicBezTo>
                  <a:cubicBezTo>
                    <a:pt x="1913598" y="516595"/>
                    <a:pt x="1901446" y="519633"/>
                    <a:pt x="1895370" y="507481"/>
                  </a:cubicBezTo>
                  <a:cubicBezTo>
                    <a:pt x="1889294" y="495328"/>
                    <a:pt x="1892332" y="486214"/>
                    <a:pt x="1901446" y="483176"/>
                  </a:cubicBezTo>
                  <a:cubicBezTo>
                    <a:pt x="1904484" y="480138"/>
                    <a:pt x="1908282" y="479378"/>
                    <a:pt x="1912459" y="480518"/>
                  </a:cubicBezTo>
                  <a:close/>
                  <a:moveTo>
                    <a:pt x="803567" y="480518"/>
                  </a:moveTo>
                  <a:cubicBezTo>
                    <a:pt x="807745" y="481657"/>
                    <a:pt x="812302" y="484695"/>
                    <a:pt x="816859" y="489252"/>
                  </a:cubicBezTo>
                  <a:cubicBezTo>
                    <a:pt x="825973" y="498366"/>
                    <a:pt x="816859" y="510519"/>
                    <a:pt x="810783" y="513557"/>
                  </a:cubicBezTo>
                  <a:cubicBezTo>
                    <a:pt x="804706" y="516595"/>
                    <a:pt x="792554" y="519633"/>
                    <a:pt x="786478" y="507481"/>
                  </a:cubicBezTo>
                  <a:cubicBezTo>
                    <a:pt x="780402" y="495328"/>
                    <a:pt x="780402" y="489252"/>
                    <a:pt x="792554" y="483176"/>
                  </a:cubicBezTo>
                  <a:cubicBezTo>
                    <a:pt x="795592" y="480138"/>
                    <a:pt x="799390" y="479378"/>
                    <a:pt x="803567" y="480518"/>
                  </a:cubicBezTo>
                  <a:close/>
                  <a:moveTo>
                    <a:pt x="1550930" y="471404"/>
                  </a:moveTo>
                  <a:cubicBezTo>
                    <a:pt x="1555108" y="472543"/>
                    <a:pt x="1559665" y="475581"/>
                    <a:pt x="1564222" y="480138"/>
                  </a:cubicBezTo>
                  <a:cubicBezTo>
                    <a:pt x="1573336" y="489252"/>
                    <a:pt x="1564222" y="501405"/>
                    <a:pt x="1558146" y="504443"/>
                  </a:cubicBezTo>
                  <a:cubicBezTo>
                    <a:pt x="1552070" y="507481"/>
                    <a:pt x="1539917" y="510519"/>
                    <a:pt x="1533841" y="498367"/>
                  </a:cubicBezTo>
                  <a:cubicBezTo>
                    <a:pt x="1527765" y="486214"/>
                    <a:pt x="1530803" y="480138"/>
                    <a:pt x="1539917" y="474062"/>
                  </a:cubicBezTo>
                  <a:cubicBezTo>
                    <a:pt x="1542955" y="471024"/>
                    <a:pt x="1546753" y="470264"/>
                    <a:pt x="1550930" y="471404"/>
                  </a:cubicBezTo>
                  <a:close/>
                  <a:moveTo>
                    <a:pt x="2307407" y="465328"/>
                  </a:moveTo>
                  <a:cubicBezTo>
                    <a:pt x="2311584" y="466467"/>
                    <a:pt x="2316141" y="469505"/>
                    <a:pt x="2320698" y="474062"/>
                  </a:cubicBezTo>
                  <a:cubicBezTo>
                    <a:pt x="2329813" y="483176"/>
                    <a:pt x="2323736" y="492291"/>
                    <a:pt x="2314622" y="498367"/>
                  </a:cubicBezTo>
                  <a:cubicBezTo>
                    <a:pt x="2308546" y="501405"/>
                    <a:pt x="2296394" y="504443"/>
                    <a:pt x="2290318" y="492291"/>
                  </a:cubicBezTo>
                  <a:cubicBezTo>
                    <a:pt x="2284242" y="480138"/>
                    <a:pt x="2290318" y="474062"/>
                    <a:pt x="2296394" y="467986"/>
                  </a:cubicBezTo>
                  <a:cubicBezTo>
                    <a:pt x="2299432" y="464948"/>
                    <a:pt x="2303230" y="464188"/>
                    <a:pt x="2307407" y="465328"/>
                  </a:cubicBezTo>
                  <a:close/>
                  <a:moveTo>
                    <a:pt x="1076992" y="462290"/>
                  </a:moveTo>
                  <a:cubicBezTo>
                    <a:pt x="1081170" y="463429"/>
                    <a:pt x="1085727" y="466467"/>
                    <a:pt x="1090284" y="471024"/>
                  </a:cubicBezTo>
                  <a:cubicBezTo>
                    <a:pt x="1099398" y="480138"/>
                    <a:pt x="1093322" y="489253"/>
                    <a:pt x="1084208" y="495329"/>
                  </a:cubicBezTo>
                  <a:cubicBezTo>
                    <a:pt x="1078132" y="498367"/>
                    <a:pt x="1065979" y="501405"/>
                    <a:pt x="1059903" y="489253"/>
                  </a:cubicBezTo>
                  <a:cubicBezTo>
                    <a:pt x="1053827" y="474062"/>
                    <a:pt x="1056865" y="467986"/>
                    <a:pt x="1065979" y="464948"/>
                  </a:cubicBezTo>
                  <a:cubicBezTo>
                    <a:pt x="1069017" y="461910"/>
                    <a:pt x="1072815" y="461150"/>
                    <a:pt x="1076992" y="462290"/>
                  </a:cubicBezTo>
                  <a:close/>
                  <a:moveTo>
                    <a:pt x="2030944" y="456214"/>
                  </a:moveTo>
                  <a:cubicBezTo>
                    <a:pt x="2035121" y="457353"/>
                    <a:pt x="2039679" y="460391"/>
                    <a:pt x="2044236" y="464948"/>
                  </a:cubicBezTo>
                  <a:cubicBezTo>
                    <a:pt x="2053350" y="474062"/>
                    <a:pt x="2044236" y="486215"/>
                    <a:pt x="2038160" y="489253"/>
                  </a:cubicBezTo>
                  <a:cubicBezTo>
                    <a:pt x="2032083" y="492291"/>
                    <a:pt x="2019931" y="495329"/>
                    <a:pt x="2013855" y="483177"/>
                  </a:cubicBezTo>
                  <a:cubicBezTo>
                    <a:pt x="2007779" y="471024"/>
                    <a:pt x="2007779" y="464948"/>
                    <a:pt x="2019931" y="458872"/>
                  </a:cubicBezTo>
                  <a:cubicBezTo>
                    <a:pt x="2022969" y="455834"/>
                    <a:pt x="2026767" y="455074"/>
                    <a:pt x="2030944" y="456214"/>
                  </a:cubicBezTo>
                  <a:close/>
                  <a:moveTo>
                    <a:pt x="1280542" y="453176"/>
                  </a:moveTo>
                  <a:cubicBezTo>
                    <a:pt x="1284720" y="454315"/>
                    <a:pt x="1289277" y="457353"/>
                    <a:pt x="1293834" y="461910"/>
                  </a:cubicBezTo>
                  <a:cubicBezTo>
                    <a:pt x="1302948" y="471024"/>
                    <a:pt x="1296872" y="480139"/>
                    <a:pt x="1287758" y="486215"/>
                  </a:cubicBezTo>
                  <a:cubicBezTo>
                    <a:pt x="1281682" y="489253"/>
                    <a:pt x="1269529" y="492291"/>
                    <a:pt x="1263453" y="480139"/>
                  </a:cubicBezTo>
                  <a:cubicBezTo>
                    <a:pt x="1257377" y="467986"/>
                    <a:pt x="1257377" y="461910"/>
                    <a:pt x="1269529" y="455834"/>
                  </a:cubicBezTo>
                  <a:cubicBezTo>
                    <a:pt x="1272567" y="452796"/>
                    <a:pt x="1276365" y="452036"/>
                    <a:pt x="1280542" y="453176"/>
                  </a:cubicBezTo>
                  <a:close/>
                  <a:moveTo>
                    <a:pt x="679006" y="450138"/>
                  </a:moveTo>
                  <a:cubicBezTo>
                    <a:pt x="683184" y="451277"/>
                    <a:pt x="687741" y="454315"/>
                    <a:pt x="692298" y="458872"/>
                  </a:cubicBezTo>
                  <a:cubicBezTo>
                    <a:pt x="701412" y="467986"/>
                    <a:pt x="695336" y="477101"/>
                    <a:pt x="686222" y="483177"/>
                  </a:cubicBezTo>
                  <a:cubicBezTo>
                    <a:pt x="680146" y="486215"/>
                    <a:pt x="667993" y="489253"/>
                    <a:pt x="661917" y="477101"/>
                  </a:cubicBezTo>
                  <a:cubicBezTo>
                    <a:pt x="655841" y="464948"/>
                    <a:pt x="658879" y="458872"/>
                    <a:pt x="667993" y="452796"/>
                  </a:cubicBezTo>
                  <a:cubicBezTo>
                    <a:pt x="671031" y="449758"/>
                    <a:pt x="674829" y="448998"/>
                    <a:pt x="679006" y="450138"/>
                  </a:cubicBezTo>
                  <a:close/>
                  <a:moveTo>
                    <a:pt x="1815242" y="447099"/>
                  </a:moveTo>
                  <a:cubicBezTo>
                    <a:pt x="1819419" y="448238"/>
                    <a:pt x="1823976" y="451276"/>
                    <a:pt x="1828533" y="455833"/>
                  </a:cubicBezTo>
                  <a:cubicBezTo>
                    <a:pt x="1837647" y="464947"/>
                    <a:pt x="1828533" y="477100"/>
                    <a:pt x="1822457" y="480138"/>
                  </a:cubicBezTo>
                  <a:cubicBezTo>
                    <a:pt x="1816381" y="483176"/>
                    <a:pt x="1804228" y="486214"/>
                    <a:pt x="1798152" y="474062"/>
                  </a:cubicBezTo>
                  <a:cubicBezTo>
                    <a:pt x="1792076" y="458871"/>
                    <a:pt x="1795114" y="452795"/>
                    <a:pt x="1804228" y="449757"/>
                  </a:cubicBezTo>
                  <a:cubicBezTo>
                    <a:pt x="1807267" y="446719"/>
                    <a:pt x="1811064" y="445959"/>
                    <a:pt x="1815242" y="447099"/>
                  </a:cubicBezTo>
                  <a:close/>
                  <a:moveTo>
                    <a:pt x="1699795" y="444061"/>
                  </a:moveTo>
                  <a:cubicBezTo>
                    <a:pt x="1703973" y="445200"/>
                    <a:pt x="1708530" y="448238"/>
                    <a:pt x="1713087" y="452795"/>
                  </a:cubicBezTo>
                  <a:cubicBezTo>
                    <a:pt x="1722201" y="461909"/>
                    <a:pt x="1716125" y="471024"/>
                    <a:pt x="1707011" y="477100"/>
                  </a:cubicBezTo>
                  <a:cubicBezTo>
                    <a:pt x="1700934" y="480138"/>
                    <a:pt x="1688782" y="483176"/>
                    <a:pt x="1682706" y="471024"/>
                  </a:cubicBezTo>
                  <a:cubicBezTo>
                    <a:pt x="1676630" y="458871"/>
                    <a:pt x="1679668" y="449757"/>
                    <a:pt x="1688782" y="446719"/>
                  </a:cubicBezTo>
                  <a:cubicBezTo>
                    <a:pt x="1691820" y="443681"/>
                    <a:pt x="1695618" y="442921"/>
                    <a:pt x="1699795" y="444061"/>
                  </a:cubicBezTo>
                  <a:close/>
                  <a:moveTo>
                    <a:pt x="888633" y="434947"/>
                  </a:moveTo>
                  <a:cubicBezTo>
                    <a:pt x="892811" y="436086"/>
                    <a:pt x="897368" y="439124"/>
                    <a:pt x="901925" y="443681"/>
                  </a:cubicBezTo>
                  <a:cubicBezTo>
                    <a:pt x="911039" y="452795"/>
                    <a:pt x="901925" y="464948"/>
                    <a:pt x="895849" y="467986"/>
                  </a:cubicBezTo>
                  <a:cubicBezTo>
                    <a:pt x="889773" y="471024"/>
                    <a:pt x="877620" y="474062"/>
                    <a:pt x="871544" y="461910"/>
                  </a:cubicBezTo>
                  <a:cubicBezTo>
                    <a:pt x="865468" y="446719"/>
                    <a:pt x="868506" y="440643"/>
                    <a:pt x="877620" y="437605"/>
                  </a:cubicBezTo>
                  <a:cubicBezTo>
                    <a:pt x="880658" y="434567"/>
                    <a:pt x="884456" y="433807"/>
                    <a:pt x="888633" y="434947"/>
                  </a:cubicBezTo>
                  <a:close/>
                  <a:moveTo>
                    <a:pt x="2158542" y="407605"/>
                  </a:moveTo>
                  <a:cubicBezTo>
                    <a:pt x="2162719" y="408744"/>
                    <a:pt x="2167276" y="411782"/>
                    <a:pt x="2171833" y="416339"/>
                  </a:cubicBezTo>
                  <a:cubicBezTo>
                    <a:pt x="2180948" y="425453"/>
                    <a:pt x="2174872" y="434568"/>
                    <a:pt x="2165757" y="440644"/>
                  </a:cubicBezTo>
                  <a:cubicBezTo>
                    <a:pt x="2159681" y="443682"/>
                    <a:pt x="2147529" y="446720"/>
                    <a:pt x="2141453" y="434568"/>
                  </a:cubicBezTo>
                  <a:cubicBezTo>
                    <a:pt x="2135377" y="422415"/>
                    <a:pt x="2141453" y="416339"/>
                    <a:pt x="2147529" y="410263"/>
                  </a:cubicBezTo>
                  <a:cubicBezTo>
                    <a:pt x="2150567" y="407225"/>
                    <a:pt x="2154365" y="406465"/>
                    <a:pt x="2158542" y="407605"/>
                  </a:cubicBezTo>
                  <a:close/>
                  <a:moveTo>
                    <a:pt x="1484092" y="407605"/>
                  </a:moveTo>
                  <a:cubicBezTo>
                    <a:pt x="1488270" y="408744"/>
                    <a:pt x="1492827" y="411782"/>
                    <a:pt x="1497384" y="416339"/>
                  </a:cubicBezTo>
                  <a:cubicBezTo>
                    <a:pt x="1506498" y="425453"/>
                    <a:pt x="1500422" y="434568"/>
                    <a:pt x="1491308" y="440644"/>
                  </a:cubicBezTo>
                  <a:cubicBezTo>
                    <a:pt x="1485231" y="443682"/>
                    <a:pt x="1473079" y="446720"/>
                    <a:pt x="1467003" y="434568"/>
                  </a:cubicBezTo>
                  <a:cubicBezTo>
                    <a:pt x="1460927" y="422415"/>
                    <a:pt x="1463965" y="413301"/>
                    <a:pt x="1473079" y="410263"/>
                  </a:cubicBezTo>
                  <a:cubicBezTo>
                    <a:pt x="1476117" y="407225"/>
                    <a:pt x="1479915" y="406465"/>
                    <a:pt x="1484092" y="407605"/>
                  </a:cubicBezTo>
                  <a:close/>
                  <a:moveTo>
                    <a:pt x="1365608" y="404567"/>
                  </a:moveTo>
                  <a:cubicBezTo>
                    <a:pt x="1369786" y="405706"/>
                    <a:pt x="1374343" y="408744"/>
                    <a:pt x="1378900" y="413301"/>
                  </a:cubicBezTo>
                  <a:cubicBezTo>
                    <a:pt x="1388014" y="422415"/>
                    <a:pt x="1381938" y="431530"/>
                    <a:pt x="1372824" y="437606"/>
                  </a:cubicBezTo>
                  <a:cubicBezTo>
                    <a:pt x="1366748" y="440644"/>
                    <a:pt x="1354595" y="443682"/>
                    <a:pt x="1348519" y="431530"/>
                  </a:cubicBezTo>
                  <a:cubicBezTo>
                    <a:pt x="1342443" y="419377"/>
                    <a:pt x="1345481" y="410263"/>
                    <a:pt x="1354595" y="407225"/>
                  </a:cubicBezTo>
                  <a:cubicBezTo>
                    <a:pt x="1357633" y="404187"/>
                    <a:pt x="1361431" y="403427"/>
                    <a:pt x="1365608" y="404567"/>
                  </a:cubicBezTo>
                  <a:close/>
                  <a:moveTo>
                    <a:pt x="988889" y="404567"/>
                  </a:moveTo>
                  <a:cubicBezTo>
                    <a:pt x="993066" y="405706"/>
                    <a:pt x="997623" y="408744"/>
                    <a:pt x="1002180" y="413301"/>
                  </a:cubicBezTo>
                  <a:cubicBezTo>
                    <a:pt x="1011295" y="422415"/>
                    <a:pt x="1005218" y="431530"/>
                    <a:pt x="996104" y="437606"/>
                  </a:cubicBezTo>
                  <a:cubicBezTo>
                    <a:pt x="990028" y="440644"/>
                    <a:pt x="977876" y="443682"/>
                    <a:pt x="971800" y="431530"/>
                  </a:cubicBezTo>
                  <a:cubicBezTo>
                    <a:pt x="965724" y="419377"/>
                    <a:pt x="971800" y="413301"/>
                    <a:pt x="977876" y="407225"/>
                  </a:cubicBezTo>
                  <a:cubicBezTo>
                    <a:pt x="980914" y="404187"/>
                    <a:pt x="984712" y="403427"/>
                    <a:pt x="988889" y="404567"/>
                  </a:cubicBezTo>
                  <a:close/>
                  <a:moveTo>
                    <a:pt x="1182565" y="394312"/>
                  </a:moveTo>
                  <a:cubicBezTo>
                    <a:pt x="1186742" y="395072"/>
                    <a:pt x="1190540" y="398110"/>
                    <a:pt x="1193578" y="404186"/>
                  </a:cubicBezTo>
                  <a:cubicBezTo>
                    <a:pt x="1202692" y="413300"/>
                    <a:pt x="1196616" y="422415"/>
                    <a:pt x="1187502" y="428491"/>
                  </a:cubicBezTo>
                  <a:cubicBezTo>
                    <a:pt x="1181425" y="431529"/>
                    <a:pt x="1169273" y="434567"/>
                    <a:pt x="1163197" y="422415"/>
                  </a:cubicBezTo>
                  <a:cubicBezTo>
                    <a:pt x="1157121" y="410262"/>
                    <a:pt x="1160159" y="404186"/>
                    <a:pt x="1169273" y="398110"/>
                  </a:cubicBezTo>
                  <a:cubicBezTo>
                    <a:pt x="1173830" y="395072"/>
                    <a:pt x="1178387" y="393553"/>
                    <a:pt x="1182565" y="394312"/>
                  </a:cubicBezTo>
                  <a:close/>
                  <a:moveTo>
                    <a:pt x="1620805" y="389376"/>
                  </a:moveTo>
                  <a:cubicBezTo>
                    <a:pt x="1624983" y="390515"/>
                    <a:pt x="1629540" y="393553"/>
                    <a:pt x="1634097" y="398110"/>
                  </a:cubicBezTo>
                  <a:cubicBezTo>
                    <a:pt x="1643211" y="407224"/>
                    <a:pt x="1637135" y="416339"/>
                    <a:pt x="1628021" y="422415"/>
                  </a:cubicBezTo>
                  <a:cubicBezTo>
                    <a:pt x="1621944" y="425453"/>
                    <a:pt x="1609792" y="428491"/>
                    <a:pt x="1603716" y="416339"/>
                  </a:cubicBezTo>
                  <a:cubicBezTo>
                    <a:pt x="1597640" y="401148"/>
                    <a:pt x="1600678" y="395072"/>
                    <a:pt x="1609792" y="392034"/>
                  </a:cubicBezTo>
                  <a:cubicBezTo>
                    <a:pt x="1612830" y="388996"/>
                    <a:pt x="1616628" y="388236"/>
                    <a:pt x="1620805" y="389376"/>
                  </a:cubicBezTo>
                  <a:close/>
                  <a:moveTo>
                    <a:pt x="1961068" y="380262"/>
                  </a:moveTo>
                  <a:cubicBezTo>
                    <a:pt x="1965246" y="381401"/>
                    <a:pt x="1969803" y="384439"/>
                    <a:pt x="1974360" y="388996"/>
                  </a:cubicBezTo>
                  <a:cubicBezTo>
                    <a:pt x="1983474" y="398110"/>
                    <a:pt x="1974360" y="410263"/>
                    <a:pt x="1968284" y="413301"/>
                  </a:cubicBezTo>
                  <a:cubicBezTo>
                    <a:pt x="1962208" y="416339"/>
                    <a:pt x="1950055" y="419377"/>
                    <a:pt x="1943979" y="407225"/>
                  </a:cubicBezTo>
                  <a:cubicBezTo>
                    <a:pt x="1937903" y="395072"/>
                    <a:pt x="1940941" y="388996"/>
                    <a:pt x="1950055" y="382920"/>
                  </a:cubicBezTo>
                  <a:cubicBezTo>
                    <a:pt x="1953093" y="379882"/>
                    <a:pt x="1956891" y="379122"/>
                    <a:pt x="1961068" y="380262"/>
                  </a:cubicBezTo>
                  <a:close/>
                  <a:moveTo>
                    <a:pt x="770148" y="380262"/>
                  </a:moveTo>
                  <a:cubicBezTo>
                    <a:pt x="774326" y="381401"/>
                    <a:pt x="778883" y="384439"/>
                    <a:pt x="783440" y="388996"/>
                  </a:cubicBezTo>
                  <a:cubicBezTo>
                    <a:pt x="792554" y="398110"/>
                    <a:pt x="786478" y="407225"/>
                    <a:pt x="777364" y="413301"/>
                  </a:cubicBezTo>
                  <a:cubicBezTo>
                    <a:pt x="771287" y="416339"/>
                    <a:pt x="759135" y="419377"/>
                    <a:pt x="753059" y="407225"/>
                  </a:cubicBezTo>
                  <a:cubicBezTo>
                    <a:pt x="746983" y="395072"/>
                    <a:pt x="746983" y="385958"/>
                    <a:pt x="759135" y="382920"/>
                  </a:cubicBezTo>
                  <a:cubicBezTo>
                    <a:pt x="762173" y="379882"/>
                    <a:pt x="765971" y="379122"/>
                    <a:pt x="770148" y="380262"/>
                  </a:cubicBezTo>
                  <a:close/>
                  <a:moveTo>
                    <a:pt x="2240571" y="352920"/>
                  </a:moveTo>
                  <a:cubicBezTo>
                    <a:pt x="2244748" y="354059"/>
                    <a:pt x="2249305" y="357097"/>
                    <a:pt x="2253862" y="361654"/>
                  </a:cubicBezTo>
                  <a:cubicBezTo>
                    <a:pt x="2262976" y="370768"/>
                    <a:pt x="2256900" y="379883"/>
                    <a:pt x="2247786" y="385959"/>
                  </a:cubicBezTo>
                  <a:cubicBezTo>
                    <a:pt x="2241710" y="388997"/>
                    <a:pt x="2229557" y="392035"/>
                    <a:pt x="2223481" y="379883"/>
                  </a:cubicBezTo>
                  <a:cubicBezTo>
                    <a:pt x="2217405" y="367730"/>
                    <a:pt x="2220443" y="361654"/>
                    <a:pt x="2229557" y="355578"/>
                  </a:cubicBezTo>
                  <a:cubicBezTo>
                    <a:pt x="2232596" y="352540"/>
                    <a:pt x="2236393" y="351780"/>
                    <a:pt x="2240571" y="352920"/>
                  </a:cubicBezTo>
                  <a:close/>
                  <a:moveTo>
                    <a:pt x="2082590" y="352920"/>
                  </a:moveTo>
                  <a:cubicBezTo>
                    <a:pt x="2086768" y="354059"/>
                    <a:pt x="2091325" y="357097"/>
                    <a:pt x="2095882" y="361654"/>
                  </a:cubicBezTo>
                  <a:cubicBezTo>
                    <a:pt x="2104996" y="370768"/>
                    <a:pt x="2095882" y="382921"/>
                    <a:pt x="2089806" y="385959"/>
                  </a:cubicBezTo>
                  <a:cubicBezTo>
                    <a:pt x="2083730" y="388997"/>
                    <a:pt x="2071577" y="392035"/>
                    <a:pt x="2065501" y="379883"/>
                  </a:cubicBezTo>
                  <a:cubicBezTo>
                    <a:pt x="2059425" y="367730"/>
                    <a:pt x="2062463" y="361654"/>
                    <a:pt x="2071577" y="355578"/>
                  </a:cubicBezTo>
                  <a:cubicBezTo>
                    <a:pt x="2074615" y="352540"/>
                    <a:pt x="2078413" y="351780"/>
                    <a:pt x="2082590" y="352920"/>
                  </a:cubicBezTo>
                  <a:close/>
                  <a:moveTo>
                    <a:pt x="1080030" y="337729"/>
                  </a:moveTo>
                  <a:cubicBezTo>
                    <a:pt x="1084208" y="338868"/>
                    <a:pt x="1088765" y="341906"/>
                    <a:pt x="1093322" y="346463"/>
                  </a:cubicBezTo>
                  <a:cubicBezTo>
                    <a:pt x="1102436" y="355577"/>
                    <a:pt x="1093322" y="367730"/>
                    <a:pt x="1087246" y="370768"/>
                  </a:cubicBezTo>
                  <a:cubicBezTo>
                    <a:pt x="1081170" y="373806"/>
                    <a:pt x="1069017" y="376844"/>
                    <a:pt x="1062941" y="364692"/>
                  </a:cubicBezTo>
                  <a:cubicBezTo>
                    <a:pt x="1056865" y="352539"/>
                    <a:pt x="1059903" y="346463"/>
                    <a:pt x="1069017" y="340387"/>
                  </a:cubicBezTo>
                  <a:cubicBezTo>
                    <a:pt x="1072055" y="337349"/>
                    <a:pt x="1075853" y="336589"/>
                    <a:pt x="1080030" y="337729"/>
                  </a:cubicBezTo>
                  <a:close/>
                  <a:moveTo>
                    <a:pt x="1787899" y="331653"/>
                  </a:moveTo>
                  <a:cubicBezTo>
                    <a:pt x="1792076" y="332792"/>
                    <a:pt x="1796634" y="335830"/>
                    <a:pt x="1801191" y="340387"/>
                  </a:cubicBezTo>
                  <a:cubicBezTo>
                    <a:pt x="1810305" y="349501"/>
                    <a:pt x="1801191" y="361654"/>
                    <a:pt x="1795115" y="364692"/>
                  </a:cubicBezTo>
                  <a:cubicBezTo>
                    <a:pt x="1789038" y="367730"/>
                    <a:pt x="1776886" y="370768"/>
                    <a:pt x="1770810" y="358616"/>
                  </a:cubicBezTo>
                  <a:cubicBezTo>
                    <a:pt x="1764734" y="346463"/>
                    <a:pt x="1767772" y="340387"/>
                    <a:pt x="1776886" y="334311"/>
                  </a:cubicBezTo>
                  <a:cubicBezTo>
                    <a:pt x="1779924" y="331273"/>
                    <a:pt x="1783722" y="330513"/>
                    <a:pt x="1787899" y="331653"/>
                  </a:cubicBezTo>
                  <a:close/>
                  <a:moveTo>
                    <a:pt x="1879040" y="328615"/>
                  </a:moveTo>
                  <a:cubicBezTo>
                    <a:pt x="1883217" y="329754"/>
                    <a:pt x="1887775" y="332792"/>
                    <a:pt x="1892332" y="337349"/>
                  </a:cubicBezTo>
                  <a:cubicBezTo>
                    <a:pt x="1901446" y="346463"/>
                    <a:pt x="1895370" y="355578"/>
                    <a:pt x="1886256" y="361654"/>
                  </a:cubicBezTo>
                  <a:cubicBezTo>
                    <a:pt x="1880179" y="364692"/>
                    <a:pt x="1868027" y="367730"/>
                    <a:pt x="1861951" y="355578"/>
                  </a:cubicBezTo>
                  <a:cubicBezTo>
                    <a:pt x="1855875" y="343425"/>
                    <a:pt x="1858913" y="334311"/>
                    <a:pt x="1868027" y="331273"/>
                  </a:cubicBezTo>
                  <a:cubicBezTo>
                    <a:pt x="1871065" y="328235"/>
                    <a:pt x="1874863" y="327475"/>
                    <a:pt x="1879040" y="328615"/>
                  </a:cubicBezTo>
                  <a:close/>
                  <a:moveTo>
                    <a:pt x="1265352" y="325577"/>
                  </a:moveTo>
                  <a:cubicBezTo>
                    <a:pt x="1269530" y="326716"/>
                    <a:pt x="1274087" y="329754"/>
                    <a:pt x="1278644" y="334311"/>
                  </a:cubicBezTo>
                  <a:cubicBezTo>
                    <a:pt x="1287758" y="343425"/>
                    <a:pt x="1278644" y="355578"/>
                    <a:pt x="1272568" y="358616"/>
                  </a:cubicBezTo>
                  <a:cubicBezTo>
                    <a:pt x="1266492" y="361654"/>
                    <a:pt x="1254339" y="364692"/>
                    <a:pt x="1248263" y="352540"/>
                  </a:cubicBezTo>
                  <a:cubicBezTo>
                    <a:pt x="1242187" y="337349"/>
                    <a:pt x="1245225" y="331273"/>
                    <a:pt x="1254339" y="328235"/>
                  </a:cubicBezTo>
                  <a:cubicBezTo>
                    <a:pt x="1257377" y="325197"/>
                    <a:pt x="1261175" y="324437"/>
                    <a:pt x="1265352" y="325577"/>
                  </a:cubicBezTo>
                  <a:close/>
                  <a:moveTo>
                    <a:pt x="864328" y="319501"/>
                  </a:moveTo>
                  <a:cubicBezTo>
                    <a:pt x="868506" y="320640"/>
                    <a:pt x="873063" y="323678"/>
                    <a:pt x="877620" y="328235"/>
                  </a:cubicBezTo>
                  <a:cubicBezTo>
                    <a:pt x="886734" y="337349"/>
                    <a:pt x="877620" y="349502"/>
                    <a:pt x="871544" y="352540"/>
                  </a:cubicBezTo>
                  <a:cubicBezTo>
                    <a:pt x="865468" y="355578"/>
                    <a:pt x="853315" y="358616"/>
                    <a:pt x="847239" y="346464"/>
                  </a:cubicBezTo>
                  <a:cubicBezTo>
                    <a:pt x="841163" y="334311"/>
                    <a:pt x="844201" y="325197"/>
                    <a:pt x="853315" y="322159"/>
                  </a:cubicBezTo>
                  <a:cubicBezTo>
                    <a:pt x="856353" y="319121"/>
                    <a:pt x="860151" y="318361"/>
                    <a:pt x="864328" y="319501"/>
                  </a:cubicBezTo>
                  <a:close/>
                  <a:moveTo>
                    <a:pt x="1459788" y="316463"/>
                  </a:moveTo>
                  <a:cubicBezTo>
                    <a:pt x="1463966" y="317602"/>
                    <a:pt x="1468523" y="320640"/>
                    <a:pt x="1473080" y="325197"/>
                  </a:cubicBezTo>
                  <a:cubicBezTo>
                    <a:pt x="1482194" y="334311"/>
                    <a:pt x="1476118" y="343426"/>
                    <a:pt x="1467004" y="349502"/>
                  </a:cubicBezTo>
                  <a:cubicBezTo>
                    <a:pt x="1460928" y="352540"/>
                    <a:pt x="1448775" y="355578"/>
                    <a:pt x="1442699" y="343426"/>
                  </a:cubicBezTo>
                  <a:cubicBezTo>
                    <a:pt x="1436623" y="328235"/>
                    <a:pt x="1439661" y="322159"/>
                    <a:pt x="1448775" y="319121"/>
                  </a:cubicBezTo>
                  <a:cubicBezTo>
                    <a:pt x="1451813" y="316083"/>
                    <a:pt x="1455611" y="315323"/>
                    <a:pt x="1459788" y="316463"/>
                  </a:cubicBezTo>
                  <a:close/>
                  <a:moveTo>
                    <a:pt x="1702833" y="310387"/>
                  </a:moveTo>
                  <a:cubicBezTo>
                    <a:pt x="1707011" y="311526"/>
                    <a:pt x="1711568" y="314564"/>
                    <a:pt x="1716125" y="319121"/>
                  </a:cubicBezTo>
                  <a:cubicBezTo>
                    <a:pt x="1725239" y="328235"/>
                    <a:pt x="1716125" y="340388"/>
                    <a:pt x="1710049" y="343426"/>
                  </a:cubicBezTo>
                  <a:cubicBezTo>
                    <a:pt x="1703973" y="346464"/>
                    <a:pt x="1691820" y="349502"/>
                    <a:pt x="1685744" y="337350"/>
                  </a:cubicBezTo>
                  <a:cubicBezTo>
                    <a:pt x="1679668" y="322159"/>
                    <a:pt x="1682706" y="316083"/>
                    <a:pt x="1691820" y="313045"/>
                  </a:cubicBezTo>
                  <a:cubicBezTo>
                    <a:pt x="1694858" y="310007"/>
                    <a:pt x="1698656" y="309247"/>
                    <a:pt x="1702833" y="310387"/>
                  </a:cubicBezTo>
                  <a:close/>
                  <a:moveTo>
                    <a:pt x="1577893" y="297095"/>
                  </a:moveTo>
                  <a:cubicBezTo>
                    <a:pt x="1582450" y="297855"/>
                    <a:pt x="1587008" y="300893"/>
                    <a:pt x="1591565" y="306969"/>
                  </a:cubicBezTo>
                  <a:cubicBezTo>
                    <a:pt x="1600679" y="316083"/>
                    <a:pt x="1594603" y="325198"/>
                    <a:pt x="1585489" y="331274"/>
                  </a:cubicBezTo>
                  <a:cubicBezTo>
                    <a:pt x="1579412" y="334312"/>
                    <a:pt x="1567260" y="337350"/>
                    <a:pt x="1561184" y="325198"/>
                  </a:cubicBezTo>
                  <a:cubicBezTo>
                    <a:pt x="1555108" y="313045"/>
                    <a:pt x="1558146" y="303931"/>
                    <a:pt x="1564222" y="300893"/>
                  </a:cubicBezTo>
                  <a:cubicBezTo>
                    <a:pt x="1568779" y="297855"/>
                    <a:pt x="1573336" y="296336"/>
                    <a:pt x="1577893" y="297095"/>
                  </a:cubicBezTo>
                  <a:close/>
                  <a:moveTo>
                    <a:pt x="955470" y="295196"/>
                  </a:moveTo>
                  <a:cubicBezTo>
                    <a:pt x="959648" y="296335"/>
                    <a:pt x="964205" y="299373"/>
                    <a:pt x="968762" y="303930"/>
                  </a:cubicBezTo>
                  <a:cubicBezTo>
                    <a:pt x="977876" y="313044"/>
                    <a:pt x="971800" y="322159"/>
                    <a:pt x="962686" y="328235"/>
                  </a:cubicBezTo>
                  <a:cubicBezTo>
                    <a:pt x="956610" y="331273"/>
                    <a:pt x="944457" y="334311"/>
                    <a:pt x="938381" y="322159"/>
                  </a:cubicBezTo>
                  <a:cubicBezTo>
                    <a:pt x="932305" y="310006"/>
                    <a:pt x="935343" y="303930"/>
                    <a:pt x="944457" y="297854"/>
                  </a:cubicBezTo>
                  <a:cubicBezTo>
                    <a:pt x="947495" y="294816"/>
                    <a:pt x="951293" y="294056"/>
                    <a:pt x="955470" y="295196"/>
                  </a:cubicBezTo>
                  <a:close/>
                  <a:moveTo>
                    <a:pt x="1365608" y="283044"/>
                  </a:moveTo>
                  <a:cubicBezTo>
                    <a:pt x="1369786" y="284183"/>
                    <a:pt x="1374343" y="287221"/>
                    <a:pt x="1378900" y="291778"/>
                  </a:cubicBezTo>
                  <a:cubicBezTo>
                    <a:pt x="1388014" y="300892"/>
                    <a:pt x="1381938" y="310007"/>
                    <a:pt x="1372824" y="316083"/>
                  </a:cubicBezTo>
                  <a:cubicBezTo>
                    <a:pt x="1366748" y="319121"/>
                    <a:pt x="1354595" y="322159"/>
                    <a:pt x="1348519" y="310007"/>
                  </a:cubicBezTo>
                  <a:cubicBezTo>
                    <a:pt x="1342443" y="297854"/>
                    <a:pt x="1345481" y="291778"/>
                    <a:pt x="1354595" y="285702"/>
                  </a:cubicBezTo>
                  <a:cubicBezTo>
                    <a:pt x="1357633" y="282664"/>
                    <a:pt x="1361431" y="281904"/>
                    <a:pt x="1365608" y="283044"/>
                  </a:cubicBezTo>
                  <a:close/>
                  <a:moveTo>
                    <a:pt x="1979296" y="267854"/>
                  </a:moveTo>
                  <a:cubicBezTo>
                    <a:pt x="1983474" y="268993"/>
                    <a:pt x="1988031" y="272031"/>
                    <a:pt x="1992588" y="276588"/>
                  </a:cubicBezTo>
                  <a:cubicBezTo>
                    <a:pt x="2001702" y="285702"/>
                    <a:pt x="1995626" y="294817"/>
                    <a:pt x="1986512" y="300893"/>
                  </a:cubicBezTo>
                  <a:cubicBezTo>
                    <a:pt x="1980436" y="303931"/>
                    <a:pt x="1968283" y="306969"/>
                    <a:pt x="1962207" y="294817"/>
                  </a:cubicBezTo>
                  <a:cubicBezTo>
                    <a:pt x="1956131" y="279626"/>
                    <a:pt x="1959169" y="273550"/>
                    <a:pt x="1968283" y="270512"/>
                  </a:cubicBezTo>
                  <a:cubicBezTo>
                    <a:pt x="1971321" y="267474"/>
                    <a:pt x="1975119" y="266714"/>
                    <a:pt x="1979296" y="267854"/>
                  </a:cubicBezTo>
                  <a:close/>
                  <a:moveTo>
                    <a:pt x="1173830" y="266714"/>
                  </a:moveTo>
                  <a:cubicBezTo>
                    <a:pt x="1178387" y="267474"/>
                    <a:pt x="1182945" y="270512"/>
                    <a:pt x="1187502" y="276588"/>
                  </a:cubicBezTo>
                  <a:cubicBezTo>
                    <a:pt x="1196616" y="285702"/>
                    <a:pt x="1190540" y="294817"/>
                    <a:pt x="1181425" y="300893"/>
                  </a:cubicBezTo>
                  <a:cubicBezTo>
                    <a:pt x="1175349" y="303931"/>
                    <a:pt x="1163197" y="306969"/>
                    <a:pt x="1157121" y="294817"/>
                  </a:cubicBezTo>
                  <a:cubicBezTo>
                    <a:pt x="1151045" y="282664"/>
                    <a:pt x="1154083" y="273550"/>
                    <a:pt x="1160159" y="270512"/>
                  </a:cubicBezTo>
                  <a:cubicBezTo>
                    <a:pt x="1164716" y="267474"/>
                    <a:pt x="1169273" y="265955"/>
                    <a:pt x="1173830" y="266714"/>
                  </a:cubicBezTo>
                  <a:close/>
                  <a:moveTo>
                    <a:pt x="2167656" y="246587"/>
                  </a:moveTo>
                  <a:cubicBezTo>
                    <a:pt x="2171833" y="247726"/>
                    <a:pt x="2176391" y="250764"/>
                    <a:pt x="2180948" y="255321"/>
                  </a:cubicBezTo>
                  <a:cubicBezTo>
                    <a:pt x="2190062" y="264435"/>
                    <a:pt x="2183986" y="273550"/>
                    <a:pt x="2174872" y="279626"/>
                  </a:cubicBezTo>
                  <a:cubicBezTo>
                    <a:pt x="2168795" y="282664"/>
                    <a:pt x="2156643" y="285702"/>
                    <a:pt x="2150567" y="273550"/>
                  </a:cubicBezTo>
                  <a:cubicBezTo>
                    <a:pt x="2144491" y="258359"/>
                    <a:pt x="2147529" y="252283"/>
                    <a:pt x="2156643" y="249245"/>
                  </a:cubicBezTo>
                  <a:cubicBezTo>
                    <a:pt x="2159681" y="246207"/>
                    <a:pt x="2163479" y="245447"/>
                    <a:pt x="2167656" y="246587"/>
                  </a:cubicBezTo>
                  <a:close/>
                  <a:moveTo>
                    <a:pt x="2073477" y="240511"/>
                  </a:moveTo>
                  <a:cubicBezTo>
                    <a:pt x="2077654" y="241650"/>
                    <a:pt x="2082211" y="244688"/>
                    <a:pt x="2086768" y="249245"/>
                  </a:cubicBezTo>
                  <a:cubicBezTo>
                    <a:pt x="2095882" y="258359"/>
                    <a:pt x="2089806" y="267474"/>
                    <a:pt x="2080692" y="273550"/>
                  </a:cubicBezTo>
                  <a:cubicBezTo>
                    <a:pt x="2074616" y="276588"/>
                    <a:pt x="2062463" y="279626"/>
                    <a:pt x="2056387" y="267474"/>
                  </a:cubicBezTo>
                  <a:cubicBezTo>
                    <a:pt x="2050311" y="252283"/>
                    <a:pt x="2053349" y="246207"/>
                    <a:pt x="2062463" y="243169"/>
                  </a:cubicBezTo>
                  <a:cubicBezTo>
                    <a:pt x="2065502" y="240131"/>
                    <a:pt x="2069299" y="239371"/>
                    <a:pt x="2073477" y="240511"/>
                  </a:cubicBezTo>
                  <a:close/>
                  <a:moveTo>
                    <a:pt x="1505359" y="222283"/>
                  </a:moveTo>
                  <a:cubicBezTo>
                    <a:pt x="1509537" y="223422"/>
                    <a:pt x="1514094" y="226460"/>
                    <a:pt x="1518651" y="231017"/>
                  </a:cubicBezTo>
                  <a:cubicBezTo>
                    <a:pt x="1527765" y="240131"/>
                    <a:pt x="1521689" y="249246"/>
                    <a:pt x="1512575" y="255322"/>
                  </a:cubicBezTo>
                  <a:cubicBezTo>
                    <a:pt x="1506499" y="258360"/>
                    <a:pt x="1494346" y="261398"/>
                    <a:pt x="1488270" y="249246"/>
                  </a:cubicBezTo>
                  <a:cubicBezTo>
                    <a:pt x="1482194" y="234055"/>
                    <a:pt x="1485232" y="227979"/>
                    <a:pt x="1494346" y="224941"/>
                  </a:cubicBezTo>
                  <a:cubicBezTo>
                    <a:pt x="1497384" y="221903"/>
                    <a:pt x="1501182" y="221143"/>
                    <a:pt x="1505359" y="222283"/>
                  </a:cubicBezTo>
                  <a:close/>
                  <a:moveTo>
                    <a:pt x="1007117" y="222283"/>
                  </a:moveTo>
                  <a:cubicBezTo>
                    <a:pt x="1011295" y="223422"/>
                    <a:pt x="1015852" y="226460"/>
                    <a:pt x="1020409" y="231017"/>
                  </a:cubicBezTo>
                  <a:cubicBezTo>
                    <a:pt x="1029523" y="240131"/>
                    <a:pt x="1020409" y="252284"/>
                    <a:pt x="1014333" y="255322"/>
                  </a:cubicBezTo>
                  <a:cubicBezTo>
                    <a:pt x="1008257" y="258360"/>
                    <a:pt x="996104" y="261398"/>
                    <a:pt x="990028" y="249246"/>
                  </a:cubicBezTo>
                  <a:cubicBezTo>
                    <a:pt x="983952" y="237093"/>
                    <a:pt x="986990" y="231017"/>
                    <a:pt x="996104" y="224941"/>
                  </a:cubicBezTo>
                  <a:cubicBezTo>
                    <a:pt x="999142" y="221903"/>
                    <a:pt x="1002940" y="221143"/>
                    <a:pt x="1007117" y="222283"/>
                  </a:cubicBezTo>
                  <a:close/>
                  <a:moveTo>
                    <a:pt x="1298771" y="210131"/>
                  </a:moveTo>
                  <a:cubicBezTo>
                    <a:pt x="1302948" y="211270"/>
                    <a:pt x="1307506" y="214308"/>
                    <a:pt x="1312063" y="218865"/>
                  </a:cubicBezTo>
                  <a:cubicBezTo>
                    <a:pt x="1321177" y="227979"/>
                    <a:pt x="1312063" y="240132"/>
                    <a:pt x="1305987" y="243170"/>
                  </a:cubicBezTo>
                  <a:cubicBezTo>
                    <a:pt x="1299910" y="246208"/>
                    <a:pt x="1287758" y="249246"/>
                    <a:pt x="1281682" y="237094"/>
                  </a:cubicBezTo>
                  <a:cubicBezTo>
                    <a:pt x="1275606" y="224941"/>
                    <a:pt x="1275606" y="215827"/>
                    <a:pt x="1287758" y="212789"/>
                  </a:cubicBezTo>
                  <a:cubicBezTo>
                    <a:pt x="1290796" y="209751"/>
                    <a:pt x="1294594" y="208991"/>
                    <a:pt x="1298771" y="210131"/>
                  </a:cubicBezTo>
                  <a:close/>
                  <a:moveTo>
                    <a:pt x="1881700" y="207472"/>
                  </a:moveTo>
                  <a:cubicBezTo>
                    <a:pt x="1886257" y="208991"/>
                    <a:pt x="1890814" y="212789"/>
                    <a:pt x="1895371" y="218865"/>
                  </a:cubicBezTo>
                  <a:cubicBezTo>
                    <a:pt x="1904485" y="227979"/>
                    <a:pt x="1898409" y="237094"/>
                    <a:pt x="1889295" y="243170"/>
                  </a:cubicBezTo>
                  <a:cubicBezTo>
                    <a:pt x="1883218" y="246208"/>
                    <a:pt x="1871066" y="249246"/>
                    <a:pt x="1864990" y="237094"/>
                  </a:cubicBezTo>
                  <a:cubicBezTo>
                    <a:pt x="1858914" y="221903"/>
                    <a:pt x="1861952" y="215827"/>
                    <a:pt x="1868028" y="209751"/>
                  </a:cubicBezTo>
                  <a:cubicBezTo>
                    <a:pt x="1872585" y="206713"/>
                    <a:pt x="1877142" y="205953"/>
                    <a:pt x="1881700" y="207472"/>
                  </a:cubicBezTo>
                  <a:close/>
                  <a:moveTo>
                    <a:pt x="1657262" y="207093"/>
                  </a:moveTo>
                  <a:cubicBezTo>
                    <a:pt x="1661440" y="208232"/>
                    <a:pt x="1665997" y="211270"/>
                    <a:pt x="1670554" y="215827"/>
                  </a:cubicBezTo>
                  <a:cubicBezTo>
                    <a:pt x="1679668" y="224941"/>
                    <a:pt x="1673592" y="234056"/>
                    <a:pt x="1664478" y="240132"/>
                  </a:cubicBezTo>
                  <a:cubicBezTo>
                    <a:pt x="1655363" y="246208"/>
                    <a:pt x="1643211" y="249246"/>
                    <a:pt x="1637135" y="234056"/>
                  </a:cubicBezTo>
                  <a:cubicBezTo>
                    <a:pt x="1631059" y="221903"/>
                    <a:pt x="1634097" y="215827"/>
                    <a:pt x="1646249" y="209751"/>
                  </a:cubicBezTo>
                  <a:cubicBezTo>
                    <a:pt x="1649287" y="206713"/>
                    <a:pt x="1653085" y="205953"/>
                    <a:pt x="1657262" y="207093"/>
                  </a:cubicBezTo>
                  <a:close/>
                  <a:moveTo>
                    <a:pt x="1769671" y="201017"/>
                  </a:moveTo>
                  <a:cubicBezTo>
                    <a:pt x="1773848" y="202156"/>
                    <a:pt x="1778405" y="205194"/>
                    <a:pt x="1782962" y="209751"/>
                  </a:cubicBezTo>
                  <a:cubicBezTo>
                    <a:pt x="1792076" y="218865"/>
                    <a:pt x="1786000" y="227980"/>
                    <a:pt x="1776886" y="234056"/>
                  </a:cubicBezTo>
                  <a:cubicBezTo>
                    <a:pt x="1770810" y="240132"/>
                    <a:pt x="1758657" y="240132"/>
                    <a:pt x="1752581" y="227980"/>
                  </a:cubicBezTo>
                  <a:cubicBezTo>
                    <a:pt x="1746505" y="215827"/>
                    <a:pt x="1749543" y="209751"/>
                    <a:pt x="1758657" y="203675"/>
                  </a:cubicBezTo>
                  <a:cubicBezTo>
                    <a:pt x="1761696" y="200637"/>
                    <a:pt x="1765493" y="199877"/>
                    <a:pt x="1769671" y="201017"/>
                  </a:cubicBezTo>
                  <a:close/>
                  <a:moveTo>
                    <a:pt x="1089145" y="197978"/>
                  </a:moveTo>
                  <a:cubicBezTo>
                    <a:pt x="1093323" y="199117"/>
                    <a:pt x="1097880" y="202155"/>
                    <a:pt x="1102437" y="206712"/>
                  </a:cubicBezTo>
                  <a:cubicBezTo>
                    <a:pt x="1111551" y="215826"/>
                    <a:pt x="1105475" y="224941"/>
                    <a:pt x="1096361" y="231017"/>
                  </a:cubicBezTo>
                  <a:cubicBezTo>
                    <a:pt x="1090284" y="234055"/>
                    <a:pt x="1078132" y="237093"/>
                    <a:pt x="1072056" y="224941"/>
                  </a:cubicBezTo>
                  <a:cubicBezTo>
                    <a:pt x="1065980" y="212788"/>
                    <a:pt x="1069018" y="203674"/>
                    <a:pt x="1078132" y="200636"/>
                  </a:cubicBezTo>
                  <a:cubicBezTo>
                    <a:pt x="1081170" y="197598"/>
                    <a:pt x="1084968" y="196838"/>
                    <a:pt x="1089145" y="197978"/>
                  </a:cubicBezTo>
                  <a:close/>
                  <a:moveTo>
                    <a:pt x="1395989" y="161522"/>
                  </a:moveTo>
                  <a:cubicBezTo>
                    <a:pt x="1400167" y="162661"/>
                    <a:pt x="1404724" y="165699"/>
                    <a:pt x="1409281" y="170256"/>
                  </a:cubicBezTo>
                  <a:cubicBezTo>
                    <a:pt x="1418395" y="179370"/>
                    <a:pt x="1412319" y="188485"/>
                    <a:pt x="1403205" y="194561"/>
                  </a:cubicBezTo>
                  <a:cubicBezTo>
                    <a:pt x="1397129" y="197599"/>
                    <a:pt x="1384976" y="200637"/>
                    <a:pt x="1378900" y="188485"/>
                  </a:cubicBezTo>
                  <a:cubicBezTo>
                    <a:pt x="1372824" y="176332"/>
                    <a:pt x="1375862" y="170256"/>
                    <a:pt x="1384976" y="164180"/>
                  </a:cubicBezTo>
                  <a:cubicBezTo>
                    <a:pt x="1388014" y="161142"/>
                    <a:pt x="1391812" y="160382"/>
                    <a:pt x="1395989" y="161522"/>
                  </a:cubicBezTo>
                  <a:close/>
                  <a:moveTo>
                    <a:pt x="1967145" y="140255"/>
                  </a:moveTo>
                  <a:cubicBezTo>
                    <a:pt x="1971322" y="141394"/>
                    <a:pt x="1975879" y="144432"/>
                    <a:pt x="1980436" y="148989"/>
                  </a:cubicBezTo>
                  <a:cubicBezTo>
                    <a:pt x="1989550" y="158103"/>
                    <a:pt x="1983474" y="167218"/>
                    <a:pt x="1974360" y="173294"/>
                  </a:cubicBezTo>
                  <a:cubicBezTo>
                    <a:pt x="1968284" y="179370"/>
                    <a:pt x="1956131" y="182408"/>
                    <a:pt x="1950055" y="170256"/>
                  </a:cubicBezTo>
                  <a:cubicBezTo>
                    <a:pt x="1943979" y="155065"/>
                    <a:pt x="1947017" y="148989"/>
                    <a:pt x="1956131" y="142913"/>
                  </a:cubicBezTo>
                  <a:cubicBezTo>
                    <a:pt x="1959170" y="139875"/>
                    <a:pt x="1962967" y="139115"/>
                    <a:pt x="1967145" y="140255"/>
                  </a:cubicBezTo>
                  <a:close/>
                  <a:moveTo>
                    <a:pt x="1234971" y="131141"/>
                  </a:moveTo>
                  <a:cubicBezTo>
                    <a:pt x="1239149" y="132280"/>
                    <a:pt x="1243706" y="135318"/>
                    <a:pt x="1248263" y="139875"/>
                  </a:cubicBezTo>
                  <a:cubicBezTo>
                    <a:pt x="1257377" y="148989"/>
                    <a:pt x="1251301" y="158104"/>
                    <a:pt x="1242187" y="164180"/>
                  </a:cubicBezTo>
                  <a:cubicBezTo>
                    <a:pt x="1236111" y="167218"/>
                    <a:pt x="1223958" y="170256"/>
                    <a:pt x="1217882" y="158104"/>
                  </a:cubicBezTo>
                  <a:cubicBezTo>
                    <a:pt x="1211806" y="142913"/>
                    <a:pt x="1214844" y="136837"/>
                    <a:pt x="1223958" y="133799"/>
                  </a:cubicBezTo>
                  <a:cubicBezTo>
                    <a:pt x="1226996" y="130761"/>
                    <a:pt x="1230794" y="130001"/>
                    <a:pt x="1234971" y="131141"/>
                  </a:cubicBezTo>
                  <a:close/>
                  <a:moveTo>
                    <a:pt x="1149906" y="131141"/>
                  </a:moveTo>
                  <a:cubicBezTo>
                    <a:pt x="1154084" y="132280"/>
                    <a:pt x="1158641" y="135318"/>
                    <a:pt x="1163198" y="139875"/>
                  </a:cubicBezTo>
                  <a:cubicBezTo>
                    <a:pt x="1172312" y="148989"/>
                    <a:pt x="1166236" y="158104"/>
                    <a:pt x="1157122" y="164180"/>
                  </a:cubicBezTo>
                  <a:cubicBezTo>
                    <a:pt x="1151045" y="167218"/>
                    <a:pt x="1138893" y="170256"/>
                    <a:pt x="1132817" y="158104"/>
                  </a:cubicBezTo>
                  <a:cubicBezTo>
                    <a:pt x="1126741" y="145951"/>
                    <a:pt x="1129779" y="139875"/>
                    <a:pt x="1138893" y="133799"/>
                  </a:cubicBezTo>
                  <a:cubicBezTo>
                    <a:pt x="1141931" y="130761"/>
                    <a:pt x="1145729" y="130001"/>
                    <a:pt x="1149906" y="131141"/>
                  </a:cubicBezTo>
                  <a:close/>
                  <a:moveTo>
                    <a:pt x="2064362" y="128103"/>
                  </a:moveTo>
                  <a:cubicBezTo>
                    <a:pt x="2068540" y="129242"/>
                    <a:pt x="2073097" y="132280"/>
                    <a:pt x="2077654" y="136837"/>
                  </a:cubicBezTo>
                  <a:cubicBezTo>
                    <a:pt x="2086768" y="145951"/>
                    <a:pt x="2080692" y="155066"/>
                    <a:pt x="2071578" y="161142"/>
                  </a:cubicBezTo>
                  <a:cubicBezTo>
                    <a:pt x="2065501" y="164180"/>
                    <a:pt x="2053349" y="167218"/>
                    <a:pt x="2047273" y="155066"/>
                  </a:cubicBezTo>
                  <a:cubicBezTo>
                    <a:pt x="2041197" y="139875"/>
                    <a:pt x="2044235" y="133799"/>
                    <a:pt x="2053349" y="130761"/>
                  </a:cubicBezTo>
                  <a:cubicBezTo>
                    <a:pt x="2056387" y="127723"/>
                    <a:pt x="2060185" y="126963"/>
                    <a:pt x="2064362" y="128103"/>
                  </a:cubicBezTo>
                  <a:close/>
                  <a:moveTo>
                    <a:pt x="1496245" y="120887"/>
                  </a:moveTo>
                  <a:cubicBezTo>
                    <a:pt x="1500423" y="121647"/>
                    <a:pt x="1504980" y="124685"/>
                    <a:pt x="1509537" y="130761"/>
                  </a:cubicBezTo>
                  <a:cubicBezTo>
                    <a:pt x="1518651" y="139875"/>
                    <a:pt x="1512575" y="148990"/>
                    <a:pt x="1503461" y="155066"/>
                  </a:cubicBezTo>
                  <a:cubicBezTo>
                    <a:pt x="1497385" y="158104"/>
                    <a:pt x="1485232" y="161142"/>
                    <a:pt x="1479156" y="148990"/>
                  </a:cubicBezTo>
                  <a:cubicBezTo>
                    <a:pt x="1473080" y="136837"/>
                    <a:pt x="1476118" y="130761"/>
                    <a:pt x="1485232" y="124685"/>
                  </a:cubicBezTo>
                  <a:cubicBezTo>
                    <a:pt x="1488270" y="121647"/>
                    <a:pt x="1492068" y="120128"/>
                    <a:pt x="1496245" y="120887"/>
                  </a:cubicBezTo>
                  <a:close/>
                  <a:moveTo>
                    <a:pt x="1599539" y="112913"/>
                  </a:moveTo>
                  <a:cubicBezTo>
                    <a:pt x="1603716" y="114052"/>
                    <a:pt x="1608274" y="117090"/>
                    <a:pt x="1612831" y="121647"/>
                  </a:cubicBezTo>
                  <a:cubicBezTo>
                    <a:pt x="1621945" y="130761"/>
                    <a:pt x="1615869" y="139876"/>
                    <a:pt x="1606754" y="145952"/>
                  </a:cubicBezTo>
                  <a:cubicBezTo>
                    <a:pt x="1600678" y="148990"/>
                    <a:pt x="1588526" y="152028"/>
                    <a:pt x="1582450" y="139876"/>
                  </a:cubicBezTo>
                  <a:cubicBezTo>
                    <a:pt x="1579412" y="127723"/>
                    <a:pt x="1579412" y="121647"/>
                    <a:pt x="1588526" y="115571"/>
                  </a:cubicBezTo>
                  <a:cubicBezTo>
                    <a:pt x="1591564" y="112533"/>
                    <a:pt x="1595362" y="111773"/>
                    <a:pt x="1599539" y="112913"/>
                  </a:cubicBezTo>
                  <a:close/>
                  <a:moveTo>
                    <a:pt x="1836508" y="109875"/>
                  </a:moveTo>
                  <a:cubicBezTo>
                    <a:pt x="1840686" y="111014"/>
                    <a:pt x="1845243" y="114052"/>
                    <a:pt x="1849800" y="118609"/>
                  </a:cubicBezTo>
                  <a:cubicBezTo>
                    <a:pt x="1858914" y="127723"/>
                    <a:pt x="1852838" y="136838"/>
                    <a:pt x="1843724" y="142914"/>
                  </a:cubicBezTo>
                  <a:cubicBezTo>
                    <a:pt x="1837647" y="145952"/>
                    <a:pt x="1825495" y="148990"/>
                    <a:pt x="1819419" y="136838"/>
                  </a:cubicBezTo>
                  <a:cubicBezTo>
                    <a:pt x="1813343" y="124685"/>
                    <a:pt x="1816381" y="118609"/>
                    <a:pt x="1825495" y="112533"/>
                  </a:cubicBezTo>
                  <a:cubicBezTo>
                    <a:pt x="1828533" y="109495"/>
                    <a:pt x="1832331" y="108735"/>
                    <a:pt x="1836508" y="109875"/>
                  </a:cubicBezTo>
                  <a:close/>
                  <a:moveTo>
                    <a:pt x="1708529" y="106837"/>
                  </a:moveTo>
                  <a:cubicBezTo>
                    <a:pt x="1713086" y="107976"/>
                    <a:pt x="1717644" y="111014"/>
                    <a:pt x="1722201" y="115571"/>
                  </a:cubicBezTo>
                  <a:cubicBezTo>
                    <a:pt x="1731315" y="124685"/>
                    <a:pt x="1725239" y="133800"/>
                    <a:pt x="1716124" y="139876"/>
                  </a:cubicBezTo>
                  <a:cubicBezTo>
                    <a:pt x="1710048" y="142914"/>
                    <a:pt x="1697896" y="145952"/>
                    <a:pt x="1691820" y="133800"/>
                  </a:cubicBezTo>
                  <a:cubicBezTo>
                    <a:pt x="1685744" y="121647"/>
                    <a:pt x="1688782" y="112533"/>
                    <a:pt x="1694858" y="109495"/>
                  </a:cubicBezTo>
                  <a:cubicBezTo>
                    <a:pt x="1699415" y="106457"/>
                    <a:pt x="1703972" y="105697"/>
                    <a:pt x="1708529" y="106837"/>
                  </a:cubicBezTo>
                  <a:close/>
                  <a:moveTo>
                    <a:pt x="1301429" y="60126"/>
                  </a:moveTo>
                  <a:cubicBezTo>
                    <a:pt x="1305986" y="60886"/>
                    <a:pt x="1310544" y="63924"/>
                    <a:pt x="1315101" y="70000"/>
                  </a:cubicBezTo>
                  <a:cubicBezTo>
                    <a:pt x="1324215" y="79114"/>
                    <a:pt x="1318139" y="88229"/>
                    <a:pt x="1309024" y="94305"/>
                  </a:cubicBezTo>
                  <a:cubicBezTo>
                    <a:pt x="1302948" y="97343"/>
                    <a:pt x="1290796" y="100381"/>
                    <a:pt x="1284720" y="88229"/>
                  </a:cubicBezTo>
                  <a:cubicBezTo>
                    <a:pt x="1278644" y="76076"/>
                    <a:pt x="1281682" y="70000"/>
                    <a:pt x="1287758" y="63924"/>
                  </a:cubicBezTo>
                  <a:cubicBezTo>
                    <a:pt x="1292315" y="60886"/>
                    <a:pt x="1296872" y="59367"/>
                    <a:pt x="1301429" y="60126"/>
                  </a:cubicBezTo>
                  <a:close/>
                  <a:moveTo>
                    <a:pt x="1930687" y="49113"/>
                  </a:moveTo>
                  <a:cubicBezTo>
                    <a:pt x="1934865" y="50252"/>
                    <a:pt x="1939422" y="53290"/>
                    <a:pt x="1943979" y="57847"/>
                  </a:cubicBezTo>
                  <a:cubicBezTo>
                    <a:pt x="1953093" y="66961"/>
                    <a:pt x="1943979" y="79114"/>
                    <a:pt x="1937903" y="82152"/>
                  </a:cubicBezTo>
                  <a:cubicBezTo>
                    <a:pt x="1931827" y="85190"/>
                    <a:pt x="1919674" y="88228"/>
                    <a:pt x="1913598" y="76076"/>
                  </a:cubicBezTo>
                  <a:cubicBezTo>
                    <a:pt x="1907522" y="60885"/>
                    <a:pt x="1910560" y="54809"/>
                    <a:pt x="1919674" y="51771"/>
                  </a:cubicBezTo>
                  <a:cubicBezTo>
                    <a:pt x="1922712" y="48733"/>
                    <a:pt x="1926510" y="47973"/>
                    <a:pt x="1930687" y="49113"/>
                  </a:cubicBezTo>
                  <a:close/>
                  <a:moveTo>
                    <a:pt x="1402065" y="43037"/>
                  </a:moveTo>
                  <a:cubicBezTo>
                    <a:pt x="1406243" y="44176"/>
                    <a:pt x="1410800" y="47214"/>
                    <a:pt x="1415357" y="51771"/>
                  </a:cubicBezTo>
                  <a:cubicBezTo>
                    <a:pt x="1424471" y="60885"/>
                    <a:pt x="1418395" y="70000"/>
                    <a:pt x="1409281" y="76076"/>
                  </a:cubicBezTo>
                  <a:cubicBezTo>
                    <a:pt x="1403205" y="79114"/>
                    <a:pt x="1391052" y="82152"/>
                    <a:pt x="1384976" y="70000"/>
                  </a:cubicBezTo>
                  <a:cubicBezTo>
                    <a:pt x="1378900" y="54809"/>
                    <a:pt x="1381938" y="48733"/>
                    <a:pt x="1391052" y="45695"/>
                  </a:cubicBezTo>
                  <a:cubicBezTo>
                    <a:pt x="1394090" y="42657"/>
                    <a:pt x="1397888" y="41897"/>
                    <a:pt x="1402065" y="43037"/>
                  </a:cubicBezTo>
                  <a:close/>
                  <a:moveTo>
                    <a:pt x="1806127" y="15695"/>
                  </a:moveTo>
                  <a:cubicBezTo>
                    <a:pt x="1810305" y="16834"/>
                    <a:pt x="1814862" y="19872"/>
                    <a:pt x="1819419" y="24429"/>
                  </a:cubicBezTo>
                  <a:cubicBezTo>
                    <a:pt x="1828533" y="33543"/>
                    <a:pt x="1819419" y="45696"/>
                    <a:pt x="1813343" y="48734"/>
                  </a:cubicBezTo>
                  <a:cubicBezTo>
                    <a:pt x="1807266" y="51772"/>
                    <a:pt x="1795114" y="54810"/>
                    <a:pt x="1789038" y="42658"/>
                  </a:cubicBezTo>
                  <a:cubicBezTo>
                    <a:pt x="1782962" y="30505"/>
                    <a:pt x="1786000" y="24429"/>
                    <a:pt x="1795114" y="18353"/>
                  </a:cubicBezTo>
                  <a:cubicBezTo>
                    <a:pt x="1798152" y="15315"/>
                    <a:pt x="1801950" y="14555"/>
                    <a:pt x="1806127" y="15695"/>
                  </a:cubicBezTo>
                  <a:close/>
                  <a:moveTo>
                    <a:pt x="1499283" y="9619"/>
                  </a:moveTo>
                  <a:cubicBezTo>
                    <a:pt x="1503461" y="10758"/>
                    <a:pt x="1508018" y="13796"/>
                    <a:pt x="1512575" y="18353"/>
                  </a:cubicBezTo>
                  <a:cubicBezTo>
                    <a:pt x="1521689" y="27467"/>
                    <a:pt x="1512575" y="42658"/>
                    <a:pt x="1506499" y="45696"/>
                  </a:cubicBezTo>
                  <a:cubicBezTo>
                    <a:pt x="1500422" y="48734"/>
                    <a:pt x="1488270" y="51772"/>
                    <a:pt x="1482194" y="39620"/>
                  </a:cubicBezTo>
                  <a:cubicBezTo>
                    <a:pt x="1476118" y="24429"/>
                    <a:pt x="1476118" y="18353"/>
                    <a:pt x="1488270" y="12277"/>
                  </a:cubicBezTo>
                  <a:cubicBezTo>
                    <a:pt x="1491308" y="9239"/>
                    <a:pt x="1495106" y="8479"/>
                    <a:pt x="1499283" y="9619"/>
                  </a:cubicBezTo>
                  <a:close/>
                  <a:moveTo>
                    <a:pt x="1699795" y="3543"/>
                  </a:moveTo>
                  <a:cubicBezTo>
                    <a:pt x="1703973" y="4682"/>
                    <a:pt x="1708530" y="7720"/>
                    <a:pt x="1713087" y="12277"/>
                  </a:cubicBezTo>
                  <a:cubicBezTo>
                    <a:pt x="1722201" y="21391"/>
                    <a:pt x="1716125" y="30506"/>
                    <a:pt x="1707011" y="36582"/>
                  </a:cubicBezTo>
                  <a:cubicBezTo>
                    <a:pt x="1700934" y="39620"/>
                    <a:pt x="1688782" y="42658"/>
                    <a:pt x="1682706" y="30506"/>
                  </a:cubicBezTo>
                  <a:cubicBezTo>
                    <a:pt x="1676630" y="15315"/>
                    <a:pt x="1679668" y="9239"/>
                    <a:pt x="1688782" y="6201"/>
                  </a:cubicBezTo>
                  <a:cubicBezTo>
                    <a:pt x="1691820" y="3163"/>
                    <a:pt x="1695618" y="2403"/>
                    <a:pt x="1699795" y="3543"/>
                  </a:cubicBezTo>
                  <a:close/>
                  <a:moveTo>
                    <a:pt x="1599539" y="504"/>
                  </a:moveTo>
                  <a:cubicBezTo>
                    <a:pt x="1603716" y="1643"/>
                    <a:pt x="1608274" y="4681"/>
                    <a:pt x="1612831" y="9238"/>
                  </a:cubicBezTo>
                  <a:cubicBezTo>
                    <a:pt x="1621945" y="18352"/>
                    <a:pt x="1615869" y="27467"/>
                    <a:pt x="1606754" y="33543"/>
                  </a:cubicBezTo>
                  <a:cubicBezTo>
                    <a:pt x="1600678" y="36581"/>
                    <a:pt x="1588526" y="39619"/>
                    <a:pt x="1582450" y="27467"/>
                  </a:cubicBezTo>
                  <a:cubicBezTo>
                    <a:pt x="1579412" y="12276"/>
                    <a:pt x="1579412" y="6200"/>
                    <a:pt x="1588526" y="3162"/>
                  </a:cubicBezTo>
                  <a:cubicBezTo>
                    <a:pt x="1591564" y="124"/>
                    <a:pt x="1595362" y="-636"/>
                    <a:pt x="1599539" y="504"/>
                  </a:cubicBezTo>
                  <a:close/>
                </a:path>
              </a:pathLst>
            </a:custGeom>
            <a:solidFill>
              <a:schemeClr val="bg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57A70BD2-76FC-4BDD-9E64-3B93D5EF3692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474720" y="0"/>
              <a:ext cx="6177282" cy="1778750"/>
            </a:xfrm>
            <a:custGeom>
              <a:avLst/>
              <a:gdLst>
                <a:gd name="connsiteX0" fmla="*/ 4421987 w 6386648"/>
                <a:gd name="connsiteY0" fmla="*/ 1813377 h 1849426"/>
                <a:gd name="connsiteX1" fmla="*/ 4440012 w 6386648"/>
                <a:gd name="connsiteY1" fmla="*/ 1831401 h 1849426"/>
                <a:gd name="connsiteX2" fmla="*/ 4421987 w 6386648"/>
                <a:gd name="connsiteY2" fmla="*/ 1849426 h 1849426"/>
                <a:gd name="connsiteX3" fmla="*/ 4403963 w 6386648"/>
                <a:gd name="connsiteY3" fmla="*/ 1831401 h 1849426"/>
                <a:gd name="connsiteX4" fmla="*/ 4421987 w 6386648"/>
                <a:gd name="connsiteY4" fmla="*/ 1813377 h 1849426"/>
                <a:gd name="connsiteX5" fmla="*/ 4235735 w 6386648"/>
                <a:gd name="connsiteY5" fmla="*/ 1807369 h 1849426"/>
                <a:gd name="connsiteX6" fmla="*/ 4253760 w 6386648"/>
                <a:gd name="connsiteY6" fmla="*/ 1825393 h 1849426"/>
                <a:gd name="connsiteX7" fmla="*/ 4235735 w 6386648"/>
                <a:gd name="connsiteY7" fmla="*/ 1843418 h 1849426"/>
                <a:gd name="connsiteX8" fmla="*/ 4217711 w 6386648"/>
                <a:gd name="connsiteY8" fmla="*/ 1825393 h 1849426"/>
                <a:gd name="connsiteX9" fmla="*/ 4235735 w 6386648"/>
                <a:gd name="connsiteY9" fmla="*/ 1807369 h 1849426"/>
                <a:gd name="connsiteX10" fmla="*/ 4566182 w 6386648"/>
                <a:gd name="connsiteY10" fmla="*/ 1795353 h 1849426"/>
                <a:gd name="connsiteX11" fmla="*/ 4584207 w 6386648"/>
                <a:gd name="connsiteY11" fmla="*/ 1813377 h 1849426"/>
                <a:gd name="connsiteX12" fmla="*/ 4566182 w 6386648"/>
                <a:gd name="connsiteY12" fmla="*/ 1831402 h 1849426"/>
                <a:gd name="connsiteX13" fmla="*/ 4548158 w 6386648"/>
                <a:gd name="connsiteY13" fmla="*/ 1813377 h 1849426"/>
                <a:gd name="connsiteX14" fmla="*/ 4566182 w 6386648"/>
                <a:gd name="connsiteY14" fmla="*/ 1795353 h 1849426"/>
                <a:gd name="connsiteX15" fmla="*/ 4698361 w 6386648"/>
                <a:gd name="connsiteY15" fmla="*/ 1777329 h 1849426"/>
                <a:gd name="connsiteX16" fmla="*/ 4716386 w 6386648"/>
                <a:gd name="connsiteY16" fmla="*/ 1795353 h 1849426"/>
                <a:gd name="connsiteX17" fmla="*/ 4698361 w 6386648"/>
                <a:gd name="connsiteY17" fmla="*/ 1813378 h 1849426"/>
                <a:gd name="connsiteX18" fmla="*/ 4680336 w 6386648"/>
                <a:gd name="connsiteY18" fmla="*/ 1795353 h 1849426"/>
                <a:gd name="connsiteX19" fmla="*/ 4698361 w 6386648"/>
                <a:gd name="connsiteY19" fmla="*/ 1777329 h 1849426"/>
                <a:gd name="connsiteX20" fmla="*/ 4085531 w 6386648"/>
                <a:gd name="connsiteY20" fmla="*/ 1759304 h 1849426"/>
                <a:gd name="connsiteX21" fmla="*/ 4103556 w 6386648"/>
                <a:gd name="connsiteY21" fmla="*/ 1777329 h 1849426"/>
                <a:gd name="connsiteX22" fmla="*/ 4085531 w 6386648"/>
                <a:gd name="connsiteY22" fmla="*/ 1795353 h 1849426"/>
                <a:gd name="connsiteX23" fmla="*/ 4067507 w 6386648"/>
                <a:gd name="connsiteY23" fmla="*/ 1777329 h 1849426"/>
                <a:gd name="connsiteX24" fmla="*/ 4085531 w 6386648"/>
                <a:gd name="connsiteY24" fmla="*/ 1759304 h 1849426"/>
                <a:gd name="connsiteX25" fmla="*/ 4301824 w 6386648"/>
                <a:gd name="connsiteY25" fmla="*/ 1723255 h 1849426"/>
                <a:gd name="connsiteX26" fmla="*/ 4319849 w 6386648"/>
                <a:gd name="connsiteY26" fmla="*/ 1741279 h 1849426"/>
                <a:gd name="connsiteX27" fmla="*/ 4301824 w 6386648"/>
                <a:gd name="connsiteY27" fmla="*/ 1759304 h 1849426"/>
                <a:gd name="connsiteX28" fmla="*/ 4283800 w 6386648"/>
                <a:gd name="connsiteY28" fmla="*/ 1741279 h 1849426"/>
                <a:gd name="connsiteX29" fmla="*/ 4301824 w 6386648"/>
                <a:gd name="connsiteY29" fmla="*/ 1723255 h 1849426"/>
                <a:gd name="connsiteX30" fmla="*/ 4440011 w 6386648"/>
                <a:gd name="connsiteY30" fmla="*/ 1717247 h 1849426"/>
                <a:gd name="connsiteX31" fmla="*/ 4458036 w 6386648"/>
                <a:gd name="connsiteY31" fmla="*/ 1735271 h 1849426"/>
                <a:gd name="connsiteX32" fmla="*/ 4440011 w 6386648"/>
                <a:gd name="connsiteY32" fmla="*/ 1753296 h 1849426"/>
                <a:gd name="connsiteX33" fmla="*/ 4421987 w 6386648"/>
                <a:gd name="connsiteY33" fmla="*/ 1735271 h 1849426"/>
                <a:gd name="connsiteX34" fmla="*/ 4440011 w 6386648"/>
                <a:gd name="connsiteY34" fmla="*/ 1717247 h 1849426"/>
                <a:gd name="connsiteX35" fmla="*/ 3965369 w 6386648"/>
                <a:gd name="connsiteY35" fmla="*/ 1711239 h 1849426"/>
                <a:gd name="connsiteX36" fmla="*/ 3983394 w 6386648"/>
                <a:gd name="connsiteY36" fmla="*/ 1729263 h 1849426"/>
                <a:gd name="connsiteX37" fmla="*/ 3965369 w 6386648"/>
                <a:gd name="connsiteY37" fmla="*/ 1747288 h 1849426"/>
                <a:gd name="connsiteX38" fmla="*/ 3947345 w 6386648"/>
                <a:gd name="connsiteY38" fmla="*/ 1729263 h 1849426"/>
                <a:gd name="connsiteX39" fmla="*/ 3965369 w 6386648"/>
                <a:gd name="connsiteY39" fmla="*/ 1711239 h 1849426"/>
                <a:gd name="connsiteX40" fmla="*/ 4836548 w 6386648"/>
                <a:gd name="connsiteY40" fmla="*/ 1705231 h 1849426"/>
                <a:gd name="connsiteX41" fmla="*/ 4854573 w 6386648"/>
                <a:gd name="connsiteY41" fmla="*/ 1723255 h 1849426"/>
                <a:gd name="connsiteX42" fmla="*/ 4836548 w 6386648"/>
                <a:gd name="connsiteY42" fmla="*/ 1741280 h 1849426"/>
                <a:gd name="connsiteX43" fmla="*/ 4818524 w 6386648"/>
                <a:gd name="connsiteY43" fmla="*/ 1723255 h 1849426"/>
                <a:gd name="connsiteX44" fmla="*/ 4836548 w 6386648"/>
                <a:gd name="connsiteY44" fmla="*/ 1705231 h 1849426"/>
                <a:gd name="connsiteX45" fmla="*/ 4175653 w 6386648"/>
                <a:gd name="connsiteY45" fmla="*/ 1681198 h 1849426"/>
                <a:gd name="connsiteX46" fmla="*/ 4193678 w 6386648"/>
                <a:gd name="connsiteY46" fmla="*/ 1699222 h 1849426"/>
                <a:gd name="connsiteX47" fmla="*/ 4175653 w 6386648"/>
                <a:gd name="connsiteY47" fmla="*/ 1717247 h 1849426"/>
                <a:gd name="connsiteX48" fmla="*/ 4157629 w 6386648"/>
                <a:gd name="connsiteY48" fmla="*/ 1699222 h 1849426"/>
                <a:gd name="connsiteX49" fmla="*/ 4175653 w 6386648"/>
                <a:gd name="connsiteY49" fmla="*/ 1681198 h 1849426"/>
                <a:gd name="connsiteX50" fmla="*/ 4602231 w 6386648"/>
                <a:gd name="connsiteY50" fmla="*/ 1675190 h 1849426"/>
                <a:gd name="connsiteX51" fmla="*/ 4620256 w 6386648"/>
                <a:gd name="connsiteY51" fmla="*/ 1693214 h 1849426"/>
                <a:gd name="connsiteX52" fmla="*/ 4602231 w 6386648"/>
                <a:gd name="connsiteY52" fmla="*/ 1711239 h 1849426"/>
                <a:gd name="connsiteX53" fmla="*/ 4584207 w 6386648"/>
                <a:gd name="connsiteY53" fmla="*/ 1693214 h 1849426"/>
                <a:gd name="connsiteX54" fmla="*/ 4602231 w 6386648"/>
                <a:gd name="connsiteY54" fmla="*/ 1675190 h 1849426"/>
                <a:gd name="connsiteX55" fmla="*/ 4734410 w 6386648"/>
                <a:gd name="connsiteY55" fmla="*/ 1663174 h 1849426"/>
                <a:gd name="connsiteX56" fmla="*/ 4752435 w 6386648"/>
                <a:gd name="connsiteY56" fmla="*/ 1681198 h 1849426"/>
                <a:gd name="connsiteX57" fmla="*/ 4734410 w 6386648"/>
                <a:gd name="connsiteY57" fmla="*/ 1699223 h 1849426"/>
                <a:gd name="connsiteX58" fmla="*/ 4716386 w 6386648"/>
                <a:gd name="connsiteY58" fmla="*/ 1681198 h 1849426"/>
                <a:gd name="connsiteX59" fmla="*/ 4734410 w 6386648"/>
                <a:gd name="connsiteY59" fmla="*/ 1663174 h 1849426"/>
                <a:gd name="connsiteX60" fmla="*/ 3851214 w 6386648"/>
                <a:gd name="connsiteY60" fmla="*/ 1663174 h 1849426"/>
                <a:gd name="connsiteX61" fmla="*/ 3869239 w 6386648"/>
                <a:gd name="connsiteY61" fmla="*/ 1681198 h 1849426"/>
                <a:gd name="connsiteX62" fmla="*/ 3851214 w 6386648"/>
                <a:gd name="connsiteY62" fmla="*/ 1699223 h 1849426"/>
                <a:gd name="connsiteX63" fmla="*/ 3833190 w 6386648"/>
                <a:gd name="connsiteY63" fmla="*/ 1681198 h 1849426"/>
                <a:gd name="connsiteX64" fmla="*/ 3851214 w 6386648"/>
                <a:gd name="connsiteY64" fmla="*/ 1663174 h 1849426"/>
                <a:gd name="connsiteX65" fmla="*/ 4061499 w 6386648"/>
                <a:gd name="connsiteY65" fmla="*/ 1627125 h 1849426"/>
                <a:gd name="connsiteX66" fmla="*/ 4079524 w 6386648"/>
                <a:gd name="connsiteY66" fmla="*/ 1645149 h 1849426"/>
                <a:gd name="connsiteX67" fmla="*/ 4061499 w 6386648"/>
                <a:gd name="connsiteY67" fmla="*/ 1663174 h 1849426"/>
                <a:gd name="connsiteX68" fmla="*/ 4043475 w 6386648"/>
                <a:gd name="connsiteY68" fmla="*/ 1645149 h 1849426"/>
                <a:gd name="connsiteX69" fmla="*/ 4061499 w 6386648"/>
                <a:gd name="connsiteY69" fmla="*/ 1627125 h 1849426"/>
                <a:gd name="connsiteX70" fmla="*/ 4482068 w 6386648"/>
                <a:gd name="connsiteY70" fmla="*/ 1621117 h 1849426"/>
                <a:gd name="connsiteX71" fmla="*/ 4500093 w 6386648"/>
                <a:gd name="connsiteY71" fmla="*/ 1639141 h 1849426"/>
                <a:gd name="connsiteX72" fmla="*/ 4482068 w 6386648"/>
                <a:gd name="connsiteY72" fmla="*/ 1657166 h 1849426"/>
                <a:gd name="connsiteX73" fmla="*/ 4464044 w 6386648"/>
                <a:gd name="connsiteY73" fmla="*/ 1639141 h 1849426"/>
                <a:gd name="connsiteX74" fmla="*/ 4482068 w 6386648"/>
                <a:gd name="connsiteY74" fmla="*/ 1621117 h 1849426"/>
                <a:gd name="connsiteX75" fmla="*/ 4926670 w 6386648"/>
                <a:gd name="connsiteY75" fmla="*/ 1615109 h 1849426"/>
                <a:gd name="connsiteX76" fmla="*/ 4944695 w 6386648"/>
                <a:gd name="connsiteY76" fmla="*/ 1633133 h 1849426"/>
                <a:gd name="connsiteX77" fmla="*/ 4926670 w 6386648"/>
                <a:gd name="connsiteY77" fmla="*/ 1651158 h 1849426"/>
                <a:gd name="connsiteX78" fmla="*/ 4908646 w 6386648"/>
                <a:gd name="connsiteY78" fmla="*/ 1633133 h 1849426"/>
                <a:gd name="connsiteX79" fmla="*/ 4926670 w 6386648"/>
                <a:gd name="connsiteY79" fmla="*/ 1615109 h 1849426"/>
                <a:gd name="connsiteX80" fmla="*/ 3719035 w 6386648"/>
                <a:gd name="connsiteY80" fmla="*/ 1615109 h 1849426"/>
                <a:gd name="connsiteX81" fmla="*/ 3737060 w 6386648"/>
                <a:gd name="connsiteY81" fmla="*/ 1633133 h 1849426"/>
                <a:gd name="connsiteX82" fmla="*/ 3719035 w 6386648"/>
                <a:gd name="connsiteY82" fmla="*/ 1651158 h 1849426"/>
                <a:gd name="connsiteX83" fmla="*/ 3701011 w 6386648"/>
                <a:gd name="connsiteY83" fmla="*/ 1633133 h 1849426"/>
                <a:gd name="connsiteX84" fmla="*/ 3719035 w 6386648"/>
                <a:gd name="connsiteY84" fmla="*/ 1615109 h 1849426"/>
                <a:gd name="connsiteX85" fmla="*/ 4343881 w 6386648"/>
                <a:gd name="connsiteY85" fmla="*/ 1603093 h 1849426"/>
                <a:gd name="connsiteX86" fmla="*/ 4361906 w 6386648"/>
                <a:gd name="connsiteY86" fmla="*/ 1621117 h 1849426"/>
                <a:gd name="connsiteX87" fmla="*/ 4343881 w 6386648"/>
                <a:gd name="connsiteY87" fmla="*/ 1639142 h 1849426"/>
                <a:gd name="connsiteX88" fmla="*/ 4325857 w 6386648"/>
                <a:gd name="connsiteY88" fmla="*/ 1621117 h 1849426"/>
                <a:gd name="connsiteX89" fmla="*/ 4343881 w 6386648"/>
                <a:gd name="connsiteY89" fmla="*/ 1603093 h 1849426"/>
                <a:gd name="connsiteX90" fmla="*/ 4235735 w 6386648"/>
                <a:gd name="connsiteY90" fmla="*/ 1579060 h 1849426"/>
                <a:gd name="connsiteX91" fmla="*/ 4253760 w 6386648"/>
                <a:gd name="connsiteY91" fmla="*/ 1597085 h 1849426"/>
                <a:gd name="connsiteX92" fmla="*/ 4235735 w 6386648"/>
                <a:gd name="connsiteY92" fmla="*/ 1615109 h 1849426"/>
                <a:gd name="connsiteX93" fmla="*/ 4217711 w 6386648"/>
                <a:gd name="connsiteY93" fmla="*/ 1597085 h 1849426"/>
                <a:gd name="connsiteX94" fmla="*/ 4235735 w 6386648"/>
                <a:gd name="connsiteY94" fmla="*/ 1579060 h 1849426"/>
                <a:gd name="connsiteX95" fmla="*/ 3941336 w 6386648"/>
                <a:gd name="connsiteY95" fmla="*/ 1573052 h 1849426"/>
                <a:gd name="connsiteX96" fmla="*/ 3959361 w 6386648"/>
                <a:gd name="connsiteY96" fmla="*/ 1591076 h 1849426"/>
                <a:gd name="connsiteX97" fmla="*/ 3941336 w 6386648"/>
                <a:gd name="connsiteY97" fmla="*/ 1609101 h 1849426"/>
                <a:gd name="connsiteX98" fmla="*/ 3923312 w 6386648"/>
                <a:gd name="connsiteY98" fmla="*/ 1591076 h 1849426"/>
                <a:gd name="connsiteX99" fmla="*/ 3941336 w 6386648"/>
                <a:gd name="connsiteY99" fmla="*/ 1573052 h 1849426"/>
                <a:gd name="connsiteX100" fmla="*/ 1057431 w 6386648"/>
                <a:gd name="connsiteY100" fmla="*/ 1567044 h 1849426"/>
                <a:gd name="connsiteX101" fmla="*/ 1075456 w 6386648"/>
                <a:gd name="connsiteY101" fmla="*/ 1585068 h 1849426"/>
                <a:gd name="connsiteX102" fmla="*/ 1057431 w 6386648"/>
                <a:gd name="connsiteY102" fmla="*/ 1603093 h 1849426"/>
                <a:gd name="connsiteX103" fmla="*/ 1039407 w 6386648"/>
                <a:gd name="connsiteY103" fmla="*/ 1585068 h 1849426"/>
                <a:gd name="connsiteX104" fmla="*/ 1057431 w 6386648"/>
                <a:gd name="connsiteY104" fmla="*/ 1567044 h 1849426"/>
                <a:gd name="connsiteX105" fmla="*/ 1201626 w 6386648"/>
                <a:gd name="connsiteY105" fmla="*/ 1561036 h 1849426"/>
                <a:gd name="connsiteX106" fmla="*/ 1219651 w 6386648"/>
                <a:gd name="connsiteY106" fmla="*/ 1579060 h 1849426"/>
                <a:gd name="connsiteX107" fmla="*/ 1201626 w 6386648"/>
                <a:gd name="connsiteY107" fmla="*/ 1597085 h 1849426"/>
                <a:gd name="connsiteX108" fmla="*/ 1183602 w 6386648"/>
                <a:gd name="connsiteY108" fmla="*/ 1579060 h 1849426"/>
                <a:gd name="connsiteX109" fmla="*/ 1201626 w 6386648"/>
                <a:gd name="connsiteY109" fmla="*/ 1561036 h 1849426"/>
                <a:gd name="connsiteX110" fmla="*/ 4716385 w 6386648"/>
                <a:gd name="connsiteY110" fmla="*/ 1555028 h 1849426"/>
                <a:gd name="connsiteX111" fmla="*/ 4734410 w 6386648"/>
                <a:gd name="connsiteY111" fmla="*/ 1573052 h 1849426"/>
                <a:gd name="connsiteX112" fmla="*/ 4716385 w 6386648"/>
                <a:gd name="connsiteY112" fmla="*/ 1591077 h 1849426"/>
                <a:gd name="connsiteX113" fmla="*/ 4698361 w 6386648"/>
                <a:gd name="connsiteY113" fmla="*/ 1573052 h 1849426"/>
                <a:gd name="connsiteX114" fmla="*/ 4716385 w 6386648"/>
                <a:gd name="connsiteY114" fmla="*/ 1555028 h 1849426"/>
                <a:gd name="connsiteX115" fmla="*/ 4578198 w 6386648"/>
                <a:gd name="connsiteY115" fmla="*/ 1555028 h 1849426"/>
                <a:gd name="connsiteX116" fmla="*/ 4596223 w 6386648"/>
                <a:gd name="connsiteY116" fmla="*/ 1573052 h 1849426"/>
                <a:gd name="connsiteX117" fmla="*/ 4578198 w 6386648"/>
                <a:gd name="connsiteY117" fmla="*/ 1591077 h 1849426"/>
                <a:gd name="connsiteX118" fmla="*/ 4560173 w 6386648"/>
                <a:gd name="connsiteY118" fmla="*/ 1573052 h 1849426"/>
                <a:gd name="connsiteX119" fmla="*/ 4578198 w 6386648"/>
                <a:gd name="connsiteY119" fmla="*/ 1555028 h 1849426"/>
                <a:gd name="connsiteX120" fmla="*/ 1333805 w 6386648"/>
                <a:gd name="connsiteY120" fmla="*/ 1555028 h 1849426"/>
                <a:gd name="connsiteX121" fmla="*/ 1351830 w 6386648"/>
                <a:gd name="connsiteY121" fmla="*/ 1573052 h 1849426"/>
                <a:gd name="connsiteX122" fmla="*/ 1333805 w 6386648"/>
                <a:gd name="connsiteY122" fmla="*/ 1591077 h 1849426"/>
                <a:gd name="connsiteX123" fmla="*/ 1315781 w 6386648"/>
                <a:gd name="connsiteY123" fmla="*/ 1573052 h 1849426"/>
                <a:gd name="connsiteX124" fmla="*/ 1333805 w 6386648"/>
                <a:gd name="connsiteY124" fmla="*/ 1555028 h 1849426"/>
                <a:gd name="connsiteX125" fmla="*/ 4842556 w 6386648"/>
                <a:gd name="connsiteY125" fmla="*/ 1543011 h 1849426"/>
                <a:gd name="connsiteX126" fmla="*/ 4860581 w 6386648"/>
                <a:gd name="connsiteY126" fmla="*/ 1561035 h 1849426"/>
                <a:gd name="connsiteX127" fmla="*/ 4842556 w 6386648"/>
                <a:gd name="connsiteY127" fmla="*/ 1579060 h 1849426"/>
                <a:gd name="connsiteX128" fmla="*/ 4824532 w 6386648"/>
                <a:gd name="connsiteY128" fmla="*/ 1561035 h 1849426"/>
                <a:gd name="connsiteX129" fmla="*/ 4842556 w 6386648"/>
                <a:gd name="connsiteY129" fmla="*/ 1543011 h 1849426"/>
                <a:gd name="connsiteX130" fmla="*/ 3803149 w 6386648"/>
                <a:gd name="connsiteY130" fmla="*/ 1537003 h 1849426"/>
                <a:gd name="connsiteX131" fmla="*/ 3821174 w 6386648"/>
                <a:gd name="connsiteY131" fmla="*/ 1555027 h 1849426"/>
                <a:gd name="connsiteX132" fmla="*/ 3803149 w 6386648"/>
                <a:gd name="connsiteY132" fmla="*/ 1573052 h 1849426"/>
                <a:gd name="connsiteX133" fmla="*/ 3785125 w 6386648"/>
                <a:gd name="connsiteY133" fmla="*/ 1555027 h 1849426"/>
                <a:gd name="connsiteX134" fmla="*/ 3803149 w 6386648"/>
                <a:gd name="connsiteY134" fmla="*/ 1537003 h 1849426"/>
                <a:gd name="connsiteX135" fmla="*/ 4127588 w 6386648"/>
                <a:gd name="connsiteY135" fmla="*/ 1530995 h 1849426"/>
                <a:gd name="connsiteX136" fmla="*/ 4145613 w 6386648"/>
                <a:gd name="connsiteY136" fmla="*/ 1549019 h 1849426"/>
                <a:gd name="connsiteX137" fmla="*/ 4127588 w 6386648"/>
                <a:gd name="connsiteY137" fmla="*/ 1567044 h 1849426"/>
                <a:gd name="connsiteX138" fmla="*/ 4109563 w 6386648"/>
                <a:gd name="connsiteY138" fmla="*/ 1549019 h 1849426"/>
                <a:gd name="connsiteX139" fmla="*/ 4127588 w 6386648"/>
                <a:gd name="connsiteY139" fmla="*/ 1530995 h 1849426"/>
                <a:gd name="connsiteX140" fmla="*/ 3634921 w 6386648"/>
                <a:gd name="connsiteY140" fmla="*/ 1530995 h 1849426"/>
                <a:gd name="connsiteX141" fmla="*/ 3652946 w 6386648"/>
                <a:gd name="connsiteY141" fmla="*/ 1549019 h 1849426"/>
                <a:gd name="connsiteX142" fmla="*/ 3634921 w 6386648"/>
                <a:gd name="connsiteY142" fmla="*/ 1567044 h 1849426"/>
                <a:gd name="connsiteX143" fmla="*/ 3616897 w 6386648"/>
                <a:gd name="connsiteY143" fmla="*/ 1549019 h 1849426"/>
                <a:gd name="connsiteX144" fmla="*/ 3634921 w 6386648"/>
                <a:gd name="connsiteY144" fmla="*/ 1530995 h 1849426"/>
                <a:gd name="connsiteX145" fmla="*/ 3532783 w 6386648"/>
                <a:gd name="connsiteY145" fmla="*/ 1530995 h 1849426"/>
                <a:gd name="connsiteX146" fmla="*/ 3550808 w 6386648"/>
                <a:gd name="connsiteY146" fmla="*/ 1549019 h 1849426"/>
                <a:gd name="connsiteX147" fmla="*/ 3532783 w 6386648"/>
                <a:gd name="connsiteY147" fmla="*/ 1567044 h 1849426"/>
                <a:gd name="connsiteX148" fmla="*/ 3514759 w 6386648"/>
                <a:gd name="connsiteY148" fmla="*/ 1549019 h 1849426"/>
                <a:gd name="connsiteX149" fmla="*/ 3532783 w 6386648"/>
                <a:gd name="connsiteY149" fmla="*/ 1530995 h 1849426"/>
                <a:gd name="connsiteX150" fmla="*/ 1478000 w 6386648"/>
                <a:gd name="connsiteY150" fmla="*/ 1530995 h 1849426"/>
                <a:gd name="connsiteX151" fmla="*/ 1496025 w 6386648"/>
                <a:gd name="connsiteY151" fmla="*/ 1549019 h 1849426"/>
                <a:gd name="connsiteX152" fmla="*/ 1478000 w 6386648"/>
                <a:gd name="connsiteY152" fmla="*/ 1567044 h 1849426"/>
                <a:gd name="connsiteX153" fmla="*/ 1459976 w 6386648"/>
                <a:gd name="connsiteY153" fmla="*/ 1549019 h 1849426"/>
                <a:gd name="connsiteX154" fmla="*/ 1478000 w 6386648"/>
                <a:gd name="connsiteY154" fmla="*/ 1530995 h 1849426"/>
                <a:gd name="connsiteX155" fmla="*/ 4427995 w 6386648"/>
                <a:gd name="connsiteY155" fmla="*/ 1518979 h 1849426"/>
                <a:gd name="connsiteX156" fmla="*/ 4446020 w 6386648"/>
                <a:gd name="connsiteY156" fmla="*/ 1537004 h 1849426"/>
                <a:gd name="connsiteX157" fmla="*/ 4427995 w 6386648"/>
                <a:gd name="connsiteY157" fmla="*/ 1555028 h 1849426"/>
                <a:gd name="connsiteX158" fmla="*/ 4409970 w 6386648"/>
                <a:gd name="connsiteY158" fmla="*/ 1537004 h 1849426"/>
                <a:gd name="connsiteX159" fmla="*/ 4427995 w 6386648"/>
                <a:gd name="connsiteY159" fmla="*/ 1518979 h 1849426"/>
                <a:gd name="connsiteX160" fmla="*/ 4980743 w 6386648"/>
                <a:gd name="connsiteY160" fmla="*/ 1506962 h 1849426"/>
                <a:gd name="connsiteX161" fmla="*/ 4998768 w 6386648"/>
                <a:gd name="connsiteY161" fmla="*/ 1524986 h 1849426"/>
                <a:gd name="connsiteX162" fmla="*/ 4980743 w 6386648"/>
                <a:gd name="connsiteY162" fmla="*/ 1543011 h 1849426"/>
                <a:gd name="connsiteX163" fmla="*/ 4962719 w 6386648"/>
                <a:gd name="connsiteY163" fmla="*/ 1524986 h 1849426"/>
                <a:gd name="connsiteX164" fmla="*/ 4980743 w 6386648"/>
                <a:gd name="connsiteY164" fmla="*/ 1506962 h 1849426"/>
                <a:gd name="connsiteX165" fmla="*/ 961301 w 6386648"/>
                <a:gd name="connsiteY165" fmla="*/ 1506962 h 1849426"/>
                <a:gd name="connsiteX166" fmla="*/ 979326 w 6386648"/>
                <a:gd name="connsiteY166" fmla="*/ 1524986 h 1849426"/>
                <a:gd name="connsiteX167" fmla="*/ 961301 w 6386648"/>
                <a:gd name="connsiteY167" fmla="*/ 1543011 h 1849426"/>
                <a:gd name="connsiteX168" fmla="*/ 943277 w 6386648"/>
                <a:gd name="connsiteY168" fmla="*/ 1524986 h 1849426"/>
                <a:gd name="connsiteX169" fmla="*/ 961301 w 6386648"/>
                <a:gd name="connsiteY169" fmla="*/ 1506962 h 1849426"/>
                <a:gd name="connsiteX170" fmla="*/ 859163 w 6386648"/>
                <a:gd name="connsiteY170" fmla="*/ 1500954 h 1849426"/>
                <a:gd name="connsiteX171" fmla="*/ 877188 w 6386648"/>
                <a:gd name="connsiteY171" fmla="*/ 1518978 h 1849426"/>
                <a:gd name="connsiteX172" fmla="*/ 859163 w 6386648"/>
                <a:gd name="connsiteY172" fmla="*/ 1537003 h 1849426"/>
                <a:gd name="connsiteX173" fmla="*/ 841139 w 6386648"/>
                <a:gd name="connsiteY173" fmla="*/ 1518978 h 1849426"/>
                <a:gd name="connsiteX174" fmla="*/ 859163 w 6386648"/>
                <a:gd name="connsiteY174" fmla="*/ 1500954 h 1849426"/>
                <a:gd name="connsiteX175" fmla="*/ 4013434 w 6386648"/>
                <a:gd name="connsiteY175" fmla="*/ 1482930 h 1849426"/>
                <a:gd name="connsiteX176" fmla="*/ 4031459 w 6386648"/>
                <a:gd name="connsiteY176" fmla="*/ 1500954 h 1849426"/>
                <a:gd name="connsiteX177" fmla="*/ 4013434 w 6386648"/>
                <a:gd name="connsiteY177" fmla="*/ 1518979 h 1849426"/>
                <a:gd name="connsiteX178" fmla="*/ 3995410 w 6386648"/>
                <a:gd name="connsiteY178" fmla="*/ 1500954 h 1849426"/>
                <a:gd name="connsiteX179" fmla="*/ 4013434 w 6386648"/>
                <a:gd name="connsiteY179" fmla="*/ 1482930 h 1849426"/>
                <a:gd name="connsiteX180" fmla="*/ 3412620 w 6386648"/>
                <a:gd name="connsiteY180" fmla="*/ 1482930 h 1849426"/>
                <a:gd name="connsiteX181" fmla="*/ 3430645 w 6386648"/>
                <a:gd name="connsiteY181" fmla="*/ 1500954 h 1849426"/>
                <a:gd name="connsiteX182" fmla="*/ 3412620 w 6386648"/>
                <a:gd name="connsiteY182" fmla="*/ 1518979 h 1849426"/>
                <a:gd name="connsiteX183" fmla="*/ 3394596 w 6386648"/>
                <a:gd name="connsiteY183" fmla="*/ 1500954 h 1849426"/>
                <a:gd name="connsiteX184" fmla="*/ 3412620 w 6386648"/>
                <a:gd name="connsiteY184" fmla="*/ 1482930 h 1849426"/>
                <a:gd name="connsiteX185" fmla="*/ 1586148 w 6386648"/>
                <a:gd name="connsiteY185" fmla="*/ 1476922 h 1849426"/>
                <a:gd name="connsiteX186" fmla="*/ 1604172 w 6386648"/>
                <a:gd name="connsiteY186" fmla="*/ 1494946 h 1849426"/>
                <a:gd name="connsiteX187" fmla="*/ 1586148 w 6386648"/>
                <a:gd name="connsiteY187" fmla="*/ 1512971 h 1849426"/>
                <a:gd name="connsiteX188" fmla="*/ 1568123 w 6386648"/>
                <a:gd name="connsiteY188" fmla="*/ 1494946 h 1849426"/>
                <a:gd name="connsiteX189" fmla="*/ 1586148 w 6386648"/>
                <a:gd name="connsiteY189" fmla="*/ 1476922 h 1849426"/>
                <a:gd name="connsiteX190" fmla="*/ 4271783 w 6386648"/>
                <a:gd name="connsiteY190" fmla="*/ 1464906 h 1849426"/>
                <a:gd name="connsiteX191" fmla="*/ 4289808 w 6386648"/>
                <a:gd name="connsiteY191" fmla="*/ 1482930 h 1849426"/>
                <a:gd name="connsiteX192" fmla="*/ 4271783 w 6386648"/>
                <a:gd name="connsiteY192" fmla="*/ 1500955 h 1849426"/>
                <a:gd name="connsiteX193" fmla="*/ 4253759 w 6386648"/>
                <a:gd name="connsiteY193" fmla="*/ 1482930 h 1849426"/>
                <a:gd name="connsiteX194" fmla="*/ 4271783 w 6386648"/>
                <a:gd name="connsiteY194" fmla="*/ 1464906 h 1849426"/>
                <a:gd name="connsiteX195" fmla="*/ 1105497 w 6386648"/>
                <a:gd name="connsiteY195" fmla="*/ 1464906 h 1849426"/>
                <a:gd name="connsiteX196" fmla="*/ 1123521 w 6386648"/>
                <a:gd name="connsiteY196" fmla="*/ 1482930 h 1849426"/>
                <a:gd name="connsiteX197" fmla="*/ 1105497 w 6386648"/>
                <a:gd name="connsiteY197" fmla="*/ 1500955 h 1849426"/>
                <a:gd name="connsiteX198" fmla="*/ 1087472 w 6386648"/>
                <a:gd name="connsiteY198" fmla="*/ 1482930 h 1849426"/>
                <a:gd name="connsiteX199" fmla="*/ 1105497 w 6386648"/>
                <a:gd name="connsiteY199" fmla="*/ 1464906 h 1849426"/>
                <a:gd name="connsiteX200" fmla="*/ 4602231 w 6386648"/>
                <a:gd name="connsiteY200" fmla="*/ 1452889 h 1849426"/>
                <a:gd name="connsiteX201" fmla="*/ 4620256 w 6386648"/>
                <a:gd name="connsiteY201" fmla="*/ 1470913 h 1849426"/>
                <a:gd name="connsiteX202" fmla="*/ 4602231 w 6386648"/>
                <a:gd name="connsiteY202" fmla="*/ 1488938 h 1849426"/>
                <a:gd name="connsiteX203" fmla="*/ 4584207 w 6386648"/>
                <a:gd name="connsiteY203" fmla="*/ 1470913 h 1849426"/>
                <a:gd name="connsiteX204" fmla="*/ 4602231 w 6386648"/>
                <a:gd name="connsiteY204" fmla="*/ 1452889 h 1849426"/>
                <a:gd name="connsiteX205" fmla="*/ 3875247 w 6386648"/>
                <a:gd name="connsiteY205" fmla="*/ 1452889 h 1849426"/>
                <a:gd name="connsiteX206" fmla="*/ 3893272 w 6386648"/>
                <a:gd name="connsiteY206" fmla="*/ 1470913 h 1849426"/>
                <a:gd name="connsiteX207" fmla="*/ 3875247 w 6386648"/>
                <a:gd name="connsiteY207" fmla="*/ 1488938 h 1849426"/>
                <a:gd name="connsiteX208" fmla="*/ 3857223 w 6386648"/>
                <a:gd name="connsiteY208" fmla="*/ 1470913 h 1849426"/>
                <a:gd name="connsiteX209" fmla="*/ 3875247 w 6386648"/>
                <a:gd name="connsiteY209" fmla="*/ 1452889 h 1849426"/>
                <a:gd name="connsiteX210" fmla="*/ 1706311 w 6386648"/>
                <a:gd name="connsiteY210" fmla="*/ 1452889 h 1849426"/>
                <a:gd name="connsiteX211" fmla="*/ 1724335 w 6386648"/>
                <a:gd name="connsiteY211" fmla="*/ 1470913 h 1849426"/>
                <a:gd name="connsiteX212" fmla="*/ 1706311 w 6386648"/>
                <a:gd name="connsiteY212" fmla="*/ 1488938 h 1849426"/>
                <a:gd name="connsiteX213" fmla="*/ 1688286 w 6386648"/>
                <a:gd name="connsiteY213" fmla="*/ 1470913 h 1849426"/>
                <a:gd name="connsiteX214" fmla="*/ 1706311 w 6386648"/>
                <a:gd name="connsiteY214" fmla="*/ 1452889 h 1849426"/>
                <a:gd name="connsiteX215" fmla="*/ 1411911 w 6386648"/>
                <a:gd name="connsiteY215" fmla="*/ 1452889 h 1849426"/>
                <a:gd name="connsiteX216" fmla="*/ 1429936 w 6386648"/>
                <a:gd name="connsiteY216" fmla="*/ 1470913 h 1849426"/>
                <a:gd name="connsiteX217" fmla="*/ 1411911 w 6386648"/>
                <a:gd name="connsiteY217" fmla="*/ 1488938 h 1849426"/>
                <a:gd name="connsiteX218" fmla="*/ 1393887 w 6386648"/>
                <a:gd name="connsiteY218" fmla="*/ 1470913 h 1849426"/>
                <a:gd name="connsiteX219" fmla="*/ 1411911 w 6386648"/>
                <a:gd name="connsiteY219" fmla="*/ 1452889 h 1849426"/>
                <a:gd name="connsiteX220" fmla="*/ 1249691 w 6386648"/>
                <a:gd name="connsiteY220" fmla="*/ 1452889 h 1849426"/>
                <a:gd name="connsiteX221" fmla="*/ 1267716 w 6386648"/>
                <a:gd name="connsiteY221" fmla="*/ 1470913 h 1849426"/>
                <a:gd name="connsiteX222" fmla="*/ 1249691 w 6386648"/>
                <a:gd name="connsiteY222" fmla="*/ 1488938 h 1849426"/>
                <a:gd name="connsiteX223" fmla="*/ 1231667 w 6386648"/>
                <a:gd name="connsiteY223" fmla="*/ 1470913 h 1849426"/>
                <a:gd name="connsiteX224" fmla="*/ 1249691 w 6386648"/>
                <a:gd name="connsiteY224" fmla="*/ 1452889 h 1849426"/>
                <a:gd name="connsiteX225" fmla="*/ 4764451 w 6386648"/>
                <a:gd name="connsiteY225" fmla="*/ 1446881 h 1849426"/>
                <a:gd name="connsiteX226" fmla="*/ 4782476 w 6386648"/>
                <a:gd name="connsiteY226" fmla="*/ 1464905 h 1849426"/>
                <a:gd name="connsiteX227" fmla="*/ 4764451 w 6386648"/>
                <a:gd name="connsiteY227" fmla="*/ 1482930 h 1849426"/>
                <a:gd name="connsiteX228" fmla="*/ 4746427 w 6386648"/>
                <a:gd name="connsiteY228" fmla="*/ 1464905 h 1849426"/>
                <a:gd name="connsiteX229" fmla="*/ 4764451 w 6386648"/>
                <a:gd name="connsiteY229" fmla="*/ 1446881 h 1849426"/>
                <a:gd name="connsiteX230" fmla="*/ 763032 w 6386648"/>
                <a:gd name="connsiteY230" fmla="*/ 1446881 h 1849426"/>
                <a:gd name="connsiteX231" fmla="*/ 781057 w 6386648"/>
                <a:gd name="connsiteY231" fmla="*/ 1464905 h 1849426"/>
                <a:gd name="connsiteX232" fmla="*/ 763032 w 6386648"/>
                <a:gd name="connsiteY232" fmla="*/ 1482930 h 1849426"/>
                <a:gd name="connsiteX233" fmla="*/ 745008 w 6386648"/>
                <a:gd name="connsiteY233" fmla="*/ 1464905 h 1849426"/>
                <a:gd name="connsiteX234" fmla="*/ 763032 w 6386648"/>
                <a:gd name="connsiteY234" fmla="*/ 1446881 h 1849426"/>
                <a:gd name="connsiteX235" fmla="*/ 3731051 w 6386648"/>
                <a:gd name="connsiteY235" fmla="*/ 1434865 h 1849426"/>
                <a:gd name="connsiteX236" fmla="*/ 3749076 w 6386648"/>
                <a:gd name="connsiteY236" fmla="*/ 1452889 h 1849426"/>
                <a:gd name="connsiteX237" fmla="*/ 3731051 w 6386648"/>
                <a:gd name="connsiteY237" fmla="*/ 1470914 h 1849426"/>
                <a:gd name="connsiteX238" fmla="*/ 3713027 w 6386648"/>
                <a:gd name="connsiteY238" fmla="*/ 1452889 h 1849426"/>
                <a:gd name="connsiteX239" fmla="*/ 3731051 w 6386648"/>
                <a:gd name="connsiteY239" fmla="*/ 1434865 h 1849426"/>
                <a:gd name="connsiteX240" fmla="*/ 3304474 w 6386648"/>
                <a:gd name="connsiteY240" fmla="*/ 1422849 h 1849426"/>
                <a:gd name="connsiteX241" fmla="*/ 3322499 w 6386648"/>
                <a:gd name="connsiteY241" fmla="*/ 1440873 h 1849426"/>
                <a:gd name="connsiteX242" fmla="*/ 3304474 w 6386648"/>
                <a:gd name="connsiteY242" fmla="*/ 1458898 h 1849426"/>
                <a:gd name="connsiteX243" fmla="*/ 3286450 w 6386648"/>
                <a:gd name="connsiteY243" fmla="*/ 1440873 h 1849426"/>
                <a:gd name="connsiteX244" fmla="*/ 3304474 w 6386648"/>
                <a:gd name="connsiteY244" fmla="*/ 1422849 h 1849426"/>
                <a:gd name="connsiteX245" fmla="*/ 4890621 w 6386648"/>
                <a:gd name="connsiteY245" fmla="*/ 1416840 h 1849426"/>
                <a:gd name="connsiteX246" fmla="*/ 4908646 w 6386648"/>
                <a:gd name="connsiteY246" fmla="*/ 1434864 h 1849426"/>
                <a:gd name="connsiteX247" fmla="*/ 4890621 w 6386648"/>
                <a:gd name="connsiteY247" fmla="*/ 1452889 h 1849426"/>
                <a:gd name="connsiteX248" fmla="*/ 4872597 w 6386648"/>
                <a:gd name="connsiteY248" fmla="*/ 1434864 h 1849426"/>
                <a:gd name="connsiteX249" fmla="*/ 4890621 w 6386648"/>
                <a:gd name="connsiteY249" fmla="*/ 1416840 h 1849426"/>
                <a:gd name="connsiteX250" fmla="*/ 3544799 w 6386648"/>
                <a:gd name="connsiteY250" fmla="*/ 1410832 h 1849426"/>
                <a:gd name="connsiteX251" fmla="*/ 3562824 w 6386648"/>
                <a:gd name="connsiteY251" fmla="*/ 1428856 h 1849426"/>
                <a:gd name="connsiteX252" fmla="*/ 3544799 w 6386648"/>
                <a:gd name="connsiteY252" fmla="*/ 1446881 h 1849426"/>
                <a:gd name="connsiteX253" fmla="*/ 3526775 w 6386648"/>
                <a:gd name="connsiteY253" fmla="*/ 1428856 h 1849426"/>
                <a:gd name="connsiteX254" fmla="*/ 3544799 w 6386648"/>
                <a:gd name="connsiteY254" fmla="*/ 1410832 h 1849426"/>
                <a:gd name="connsiteX255" fmla="*/ 4488076 w 6386648"/>
                <a:gd name="connsiteY255" fmla="*/ 1404824 h 1849426"/>
                <a:gd name="connsiteX256" fmla="*/ 4506101 w 6386648"/>
                <a:gd name="connsiteY256" fmla="*/ 1422848 h 1849426"/>
                <a:gd name="connsiteX257" fmla="*/ 4488076 w 6386648"/>
                <a:gd name="connsiteY257" fmla="*/ 1440873 h 1849426"/>
                <a:gd name="connsiteX258" fmla="*/ 4470051 w 6386648"/>
                <a:gd name="connsiteY258" fmla="*/ 1422848 h 1849426"/>
                <a:gd name="connsiteX259" fmla="*/ 4488076 w 6386648"/>
                <a:gd name="connsiteY259" fmla="*/ 1404824 h 1849426"/>
                <a:gd name="connsiteX260" fmla="*/ 5028808 w 6386648"/>
                <a:gd name="connsiteY260" fmla="*/ 1398816 h 1849426"/>
                <a:gd name="connsiteX261" fmla="*/ 5046833 w 6386648"/>
                <a:gd name="connsiteY261" fmla="*/ 1416841 h 1849426"/>
                <a:gd name="connsiteX262" fmla="*/ 5028808 w 6386648"/>
                <a:gd name="connsiteY262" fmla="*/ 1434865 h 1849426"/>
                <a:gd name="connsiteX263" fmla="*/ 5010783 w 6386648"/>
                <a:gd name="connsiteY263" fmla="*/ 1416841 h 1849426"/>
                <a:gd name="connsiteX264" fmla="*/ 5028808 w 6386648"/>
                <a:gd name="connsiteY264" fmla="*/ 1398816 h 1849426"/>
                <a:gd name="connsiteX265" fmla="*/ 4367914 w 6386648"/>
                <a:gd name="connsiteY265" fmla="*/ 1398816 h 1849426"/>
                <a:gd name="connsiteX266" fmla="*/ 4385939 w 6386648"/>
                <a:gd name="connsiteY266" fmla="*/ 1416841 h 1849426"/>
                <a:gd name="connsiteX267" fmla="*/ 4367914 w 6386648"/>
                <a:gd name="connsiteY267" fmla="*/ 1434865 h 1849426"/>
                <a:gd name="connsiteX268" fmla="*/ 4349889 w 6386648"/>
                <a:gd name="connsiteY268" fmla="*/ 1416841 h 1849426"/>
                <a:gd name="connsiteX269" fmla="*/ 4367914 w 6386648"/>
                <a:gd name="connsiteY269" fmla="*/ 1398816 h 1849426"/>
                <a:gd name="connsiteX270" fmla="*/ 4163637 w 6386648"/>
                <a:gd name="connsiteY270" fmla="*/ 1398816 h 1849426"/>
                <a:gd name="connsiteX271" fmla="*/ 4181662 w 6386648"/>
                <a:gd name="connsiteY271" fmla="*/ 1416841 h 1849426"/>
                <a:gd name="connsiteX272" fmla="*/ 4163637 w 6386648"/>
                <a:gd name="connsiteY272" fmla="*/ 1434865 h 1849426"/>
                <a:gd name="connsiteX273" fmla="*/ 4145613 w 6386648"/>
                <a:gd name="connsiteY273" fmla="*/ 1416841 h 1849426"/>
                <a:gd name="connsiteX274" fmla="*/ 4163637 w 6386648"/>
                <a:gd name="connsiteY274" fmla="*/ 1398816 h 1849426"/>
                <a:gd name="connsiteX275" fmla="*/ 672910 w 6386648"/>
                <a:gd name="connsiteY275" fmla="*/ 1398816 h 1849426"/>
                <a:gd name="connsiteX276" fmla="*/ 690935 w 6386648"/>
                <a:gd name="connsiteY276" fmla="*/ 1416841 h 1849426"/>
                <a:gd name="connsiteX277" fmla="*/ 672910 w 6386648"/>
                <a:gd name="connsiteY277" fmla="*/ 1434865 h 1849426"/>
                <a:gd name="connsiteX278" fmla="*/ 654886 w 6386648"/>
                <a:gd name="connsiteY278" fmla="*/ 1416841 h 1849426"/>
                <a:gd name="connsiteX279" fmla="*/ 672910 w 6386648"/>
                <a:gd name="connsiteY279" fmla="*/ 1398816 h 1849426"/>
                <a:gd name="connsiteX280" fmla="*/ 3190319 w 6386648"/>
                <a:gd name="connsiteY280" fmla="*/ 1392808 h 1849426"/>
                <a:gd name="connsiteX281" fmla="*/ 3208344 w 6386648"/>
                <a:gd name="connsiteY281" fmla="*/ 1410832 h 1849426"/>
                <a:gd name="connsiteX282" fmla="*/ 3190319 w 6386648"/>
                <a:gd name="connsiteY282" fmla="*/ 1428857 h 1849426"/>
                <a:gd name="connsiteX283" fmla="*/ 3172295 w 6386648"/>
                <a:gd name="connsiteY283" fmla="*/ 1410832 h 1849426"/>
                <a:gd name="connsiteX284" fmla="*/ 3190319 w 6386648"/>
                <a:gd name="connsiteY284" fmla="*/ 1392808 h 1849426"/>
                <a:gd name="connsiteX285" fmla="*/ 1814456 w 6386648"/>
                <a:gd name="connsiteY285" fmla="*/ 1392808 h 1849426"/>
                <a:gd name="connsiteX286" fmla="*/ 1832481 w 6386648"/>
                <a:gd name="connsiteY286" fmla="*/ 1410832 h 1849426"/>
                <a:gd name="connsiteX287" fmla="*/ 1814456 w 6386648"/>
                <a:gd name="connsiteY287" fmla="*/ 1428857 h 1849426"/>
                <a:gd name="connsiteX288" fmla="*/ 1796432 w 6386648"/>
                <a:gd name="connsiteY288" fmla="*/ 1410832 h 1849426"/>
                <a:gd name="connsiteX289" fmla="*/ 1814456 w 6386648"/>
                <a:gd name="connsiteY289" fmla="*/ 1392808 h 1849426"/>
                <a:gd name="connsiteX290" fmla="*/ 967309 w 6386648"/>
                <a:gd name="connsiteY290" fmla="*/ 1386800 h 1849426"/>
                <a:gd name="connsiteX291" fmla="*/ 985334 w 6386648"/>
                <a:gd name="connsiteY291" fmla="*/ 1404824 h 1849426"/>
                <a:gd name="connsiteX292" fmla="*/ 967309 w 6386648"/>
                <a:gd name="connsiteY292" fmla="*/ 1422849 h 1849426"/>
                <a:gd name="connsiteX293" fmla="*/ 949285 w 6386648"/>
                <a:gd name="connsiteY293" fmla="*/ 1404824 h 1849426"/>
                <a:gd name="connsiteX294" fmla="*/ 967309 w 6386648"/>
                <a:gd name="connsiteY294" fmla="*/ 1386800 h 1849426"/>
                <a:gd name="connsiteX295" fmla="*/ 4049482 w 6386648"/>
                <a:gd name="connsiteY295" fmla="*/ 1374784 h 1849426"/>
                <a:gd name="connsiteX296" fmla="*/ 4067507 w 6386648"/>
                <a:gd name="connsiteY296" fmla="*/ 1392808 h 1849426"/>
                <a:gd name="connsiteX297" fmla="*/ 4049482 w 6386648"/>
                <a:gd name="connsiteY297" fmla="*/ 1410833 h 1849426"/>
                <a:gd name="connsiteX298" fmla="*/ 4031458 w 6386648"/>
                <a:gd name="connsiteY298" fmla="*/ 1392808 h 1849426"/>
                <a:gd name="connsiteX299" fmla="*/ 4049482 w 6386648"/>
                <a:gd name="connsiteY299" fmla="*/ 1374784 h 1849426"/>
                <a:gd name="connsiteX300" fmla="*/ 4674329 w 6386648"/>
                <a:gd name="connsiteY300" fmla="*/ 1368775 h 1849426"/>
                <a:gd name="connsiteX301" fmla="*/ 4692354 w 6386648"/>
                <a:gd name="connsiteY301" fmla="*/ 1386800 h 1849426"/>
                <a:gd name="connsiteX302" fmla="*/ 4674329 w 6386648"/>
                <a:gd name="connsiteY302" fmla="*/ 1404824 h 1849426"/>
                <a:gd name="connsiteX303" fmla="*/ 4656305 w 6386648"/>
                <a:gd name="connsiteY303" fmla="*/ 1386800 h 1849426"/>
                <a:gd name="connsiteX304" fmla="*/ 4674329 w 6386648"/>
                <a:gd name="connsiteY304" fmla="*/ 1368775 h 1849426"/>
                <a:gd name="connsiteX305" fmla="*/ 1526067 w 6386648"/>
                <a:gd name="connsiteY305" fmla="*/ 1368775 h 1849426"/>
                <a:gd name="connsiteX306" fmla="*/ 1544091 w 6386648"/>
                <a:gd name="connsiteY306" fmla="*/ 1386800 h 1849426"/>
                <a:gd name="connsiteX307" fmla="*/ 1526067 w 6386648"/>
                <a:gd name="connsiteY307" fmla="*/ 1404824 h 1849426"/>
                <a:gd name="connsiteX308" fmla="*/ 1508042 w 6386648"/>
                <a:gd name="connsiteY308" fmla="*/ 1386800 h 1849426"/>
                <a:gd name="connsiteX309" fmla="*/ 1526067 w 6386648"/>
                <a:gd name="connsiteY309" fmla="*/ 1368775 h 1849426"/>
                <a:gd name="connsiteX310" fmla="*/ 1369854 w 6386648"/>
                <a:gd name="connsiteY310" fmla="*/ 1368775 h 1849426"/>
                <a:gd name="connsiteX311" fmla="*/ 1387879 w 6386648"/>
                <a:gd name="connsiteY311" fmla="*/ 1386800 h 1849426"/>
                <a:gd name="connsiteX312" fmla="*/ 1369854 w 6386648"/>
                <a:gd name="connsiteY312" fmla="*/ 1404824 h 1849426"/>
                <a:gd name="connsiteX313" fmla="*/ 1351830 w 6386648"/>
                <a:gd name="connsiteY313" fmla="*/ 1386800 h 1849426"/>
                <a:gd name="connsiteX314" fmla="*/ 1369854 w 6386648"/>
                <a:gd name="connsiteY314" fmla="*/ 1368775 h 1849426"/>
                <a:gd name="connsiteX315" fmla="*/ 3418628 w 6386648"/>
                <a:gd name="connsiteY315" fmla="*/ 1362767 h 1849426"/>
                <a:gd name="connsiteX316" fmla="*/ 3436653 w 6386648"/>
                <a:gd name="connsiteY316" fmla="*/ 1380791 h 1849426"/>
                <a:gd name="connsiteX317" fmla="*/ 3418628 w 6386648"/>
                <a:gd name="connsiteY317" fmla="*/ 1398816 h 1849426"/>
                <a:gd name="connsiteX318" fmla="*/ 3400604 w 6386648"/>
                <a:gd name="connsiteY318" fmla="*/ 1380791 h 1849426"/>
                <a:gd name="connsiteX319" fmla="*/ 3418628 w 6386648"/>
                <a:gd name="connsiteY319" fmla="*/ 1362767 h 1849426"/>
                <a:gd name="connsiteX320" fmla="*/ 1147553 w 6386648"/>
                <a:gd name="connsiteY320" fmla="*/ 1362767 h 1849426"/>
                <a:gd name="connsiteX321" fmla="*/ 1165578 w 6386648"/>
                <a:gd name="connsiteY321" fmla="*/ 1380791 h 1849426"/>
                <a:gd name="connsiteX322" fmla="*/ 1147553 w 6386648"/>
                <a:gd name="connsiteY322" fmla="*/ 1398816 h 1849426"/>
                <a:gd name="connsiteX323" fmla="*/ 1129529 w 6386648"/>
                <a:gd name="connsiteY323" fmla="*/ 1380791 h 1849426"/>
                <a:gd name="connsiteX324" fmla="*/ 1147553 w 6386648"/>
                <a:gd name="connsiteY324" fmla="*/ 1362767 h 1849426"/>
                <a:gd name="connsiteX325" fmla="*/ 3646937 w 6386648"/>
                <a:gd name="connsiteY325" fmla="*/ 1356759 h 1849426"/>
                <a:gd name="connsiteX326" fmla="*/ 3664962 w 6386648"/>
                <a:gd name="connsiteY326" fmla="*/ 1374783 h 1849426"/>
                <a:gd name="connsiteX327" fmla="*/ 3646937 w 6386648"/>
                <a:gd name="connsiteY327" fmla="*/ 1392808 h 1849426"/>
                <a:gd name="connsiteX328" fmla="*/ 3628912 w 6386648"/>
                <a:gd name="connsiteY328" fmla="*/ 1374783 h 1849426"/>
                <a:gd name="connsiteX329" fmla="*/ 3646937 w 6386648"/>
                <a:gd name="connsiteY329" fmla="*/ 1356759 h 1849426"/>
                <a:gd name="connsiteX330" fmla="*/ 1946636 w 6386648"/>
                <a:gd name="connsiteY330" fmla="*/ 1356759 h 1849426"/>
                <a:gd name="connsiteX331" fmla="*/ 1964660 w 6386648"/>
                <a:gd name="connsiteY331" fmla="*/ 1374783 h 1849426"/>
                <a:gd name="connsiteX332" fmla="*/ 1946636 w 6386648"/>
                <a:gd name="connsiteY332" fmla="*/ 1392808 h 1849426"/>
                <a:gd name="connsiteX333" fmla="*/ 1928611 w 6386648"/>
                <a:gd name="connsiteY333" fmla="*/ 1374783 h 1849426"/>
                <a:gd name="connsiteX334" fmla="*/ 1946636 w 6386648"/>
                <a:gd name="connsiteY334" fmla="*/ 1356759 h 1849426"/>
                <a:gd name="connsiteX335" fmla="*/ 1658245 w 6386648"/>
                <a:gd name="connsiteY335" fmla="*/ 1350751 h 1849426"/>
                <a:gd name="connsiteX336" fmla="*/ 1676270 w 6386648"/>
                <a:gd name="connsiteY336" fmla="*/ 1368775 h 1849426"/>
                <a:gd name="connsiteX337" fmla="*/ 1658245 w 6386648"/>
                <a:gd name="connsiteY337" fmla="*/ 1386800 h 1849426"/>
                <a:gd name="connsiteX338" fmla="*/ 1640221 w 6386648"/>
                <a:gd name="connsiteY338" fmla="*/ 1368775 h 1849426"/>
                <a:gd name="connsiteX339" fmla="*/ 1658245 w 6386648"/>
                <a:gd name="connsiteY339" fmla="*/ 1350751 h 1849426"/>
                <a:gd name="connsiteX340" fmla="*/ 3929320 w 6386648"/>
                <a:gd name="connsiteY340" fmla="*/ 1344743 h 1849426"/>
                <a:gd name="connsiteX341" fmla="*/ 3947345 w 6386648"/>
                <a:gd name="connsiteY341" fmla="*/ 1362767 h 1849426"/>
                <a:gd name="connsiteX342" fmla="*/ 3929320 w 6386648"/>
                <a:gd name="connsiteY342" fmla="*/ 1380792 h 1849426"/>
                <a:gd name="connsiteX343" fmla="*/ 3911296 w 6386648"/>
                <a:gd name="connsiteY343" fmla="*/ 1362767 h 1849426"/>
                <a:gd name="connsiteX344" fmla="*/ 3929320 w 6386648"/>
                <a:gd name="connsiteY344" fmla="*/ 1344743 h 1849426"/>
                <a:gd name="connsiteX345" fmla="*/ 3088181 w 6386648"/>
                <a:gd name="connsiteY345" fmla="*/ 1344743 h 1849426"/>
                <a:gd name="connsiteX346" fmla="*/ 3106206 w 6386648"/>
                <a:gd name="connsiteY346" fmla="*/ 1362767 h 1849426"/>
                <a:gd name="connsiteX347" fmla="*/ 3088181 w 6386648"/>
                <a:gd name="connsiteY347" fmla="*/ 1380792 h 1849426"/>
                <a:gd name="connsiteX348" fmla="*/ 3070157 w 6386648"/>
                <a:gd name="connsiteY348" fmla="*/ 1362767 h 1849426"/>
                <a:gd name="connsiteX349" fmla="*/ 3088181 w 6386648"/>
                <a:gd name="connsiteY349" fmla="*/ 1344743 h 1849426"/>
                <a:gd name="connsiteX350" fmla="*/ 853154 w 6386648"/>
                <a:gd name="connsiteY350" fmla="*/ 1344743 h 1849426"/>
                <a:gd name="connsiteX351" fmla="*/ 871179 w 6386648"/>
                <a:gd name="connsiteY351" fmla="*/ 1362767 h 1849426"/>
                <a:gd name="connsiteX352" fmla="*/ 853154 w 6386648"/>
                <a:gd name="connsiteY352" fmla="*/ 1380792 h 1849426"/>
                <a:gd name="connsiteX353" fmla="*/ 835130 w 6386648"/>
                <a:gd name="connsiteY353" fmla="*/ 1362767 h 1849426"/>
                <a:gd name="connsiteX354" fmla="*/ 853154 w 6386648"/>
                <a:gd name="connsiteY354" fmla="*/ 1344743 h 1849426"/>
                <a:gd name="connsiteX355" fmla="*/ 4283800 w 6386648"/>
                <a:gd name="connsiteY355" fmla="*/ 1326718 h 1849426"/>
                <a:gd name="connsiteX356" fmla="*/ 4301825 w 6386648"/>
                <a:gd name="connsiteY356" fmla="*/ 1344742 h 1849426"/>
                <a:gd name="connsiteX357" fmla="*/ 4283800 w 6386648"/>
                <a:gd name="connsiteY357" fmla="*/ 1362767 h 1849426"/>
                <a:gd name="connsiteX358" fmla="*/ 4265776 w 6386648"/>
                <a:gd name="connsiteY358" fmla="*/ 1344742 h 1849426"/>
                <a:gd name="connsiteX359" fmla="*/ 4283800 w 6386648"/>
                <a:gd name="connsiteY359" fmla="*/ 1326718 h 1849426"/>
                <a:gd name="connsiteX360" fmla="*/ 3815165 w 6386648"/>
                <a:gd name="connsiteY360" fmla="*/ 1326718 h 1849426"/>
                <a:gd name="connsiteX361" fmla="*/ 3833190 w 6386648"/>
                <a:gd name="connsiteY361" fmla="*/ 1344742 h 1849426"/>
                <a:gd name="connsiteX362" fmla="*/ 3815165 w 6386648"/>
                <a:gd name="connsiteY362" fmla="*/ 1362767 h 1849426"/>
                <a:gd name="connsiteX363" fmla="*/ 3797141 w 6386648"/>
                <a:gd name="connsiteY363" fmla="*/ 1344742 h 1849426"/>
                <a:gd name="connsiteX364" fmla="*/ 3815165 w 6386648"/>
                <a:gd name="connsiteY364" fmla="*/ 1326718 h 1849426"/>
                <a:gd name="connsiteX365" fmla="*/ 2980034 w 6386648"/>
                <a:gd name="connsiteY365" fmla="*/ 1326718 h 1849426"/>
                <a:gd name="connsiteX366" fmla="*/ 2998059 w 6386648"/>
                <a:gd name="connsiteY366" fmla="*/ 1344742 h 1849426"/>
                <a:gd name="connsiteX367" fmla="*/ 2980034 w 6386648"/>
                <a:gd name="connsiteY367" fmla="*/ 1362767 h 1849426"/>
                <a:gd name="connsiteX368" fmla="*/ 2962010 w 6386648"/>
                <a:gd name="connsiteY368" fmla="*/ 1344742 h 1849426"/>
                <a:gd name="connsiteX369" fmla="*/ 2980034 w 6386648"/>
                <a:gd name="connsiteY369" fmla="*/ 1326718 h 1849426"/>
                <a:gd name="connsiteX370" fmla="*/ 594806 w 6386648"/>
                <a:gd name="connsiteY370" fmla="*/ 1326718 h 1849426"/>
                <a:gd name="connsiteX371" fmla="*/ 612830 w 6386648"/>
                <a:gd name="connsiteY371" fmla="*/ 1344742 h 1849426"/>
                <a:gd name="connsiteX372" fmla="*/ 594806 w 6386648"/>
                <a:gd name="connsiteY372" fmla="*/ 1362767 h 1849426"/>
                <a:gd name="connsiteX373" fmla="*/ 576781 w 6386648"/>
                <a:gd name="connsiteY373" fmla="*/ 1344742 h 1849426"/>
                <a:gd name="connsiteX374" fmla="*/ 594806 w 6386648"/>
                <a:gd name="connsiteY374" fmla="*/ 1326718 h 1849426"/>
                <a:gd name="connsiteX375" fmla="*/ 4836548 w 6386648"/>
                <a:gd name="connsiteY375" fmla="*/ 1314702 h 1849426"/>
                <a:gd name="connsiteX376" fmla="*/ 4854573 w 6386648"/>
                <a:gd name="connsiteY376" fmla="*/ 1332726 h 1849426"/>
                <a:gd name="connsiteX377" fmla="*/ 4836548 w 6386648"/>
                <a:gd name="connsiteY377" fmla="*/ 1350751 h 1849426"/>
                <a:gd name="connsiteX378" fmla="*/ 4818524 w 6386648"/>
                <a:gd name="connsiteY378" fmla="*/ 1332726 h 1849426"/>
                <a:gd name="connsiteX379" fmla="*/ 4836548 w 6386648"/>
                <a:gd name="connsiteY379" fmla="*/ 1314702 h 1849426"/>
                <a:gd name="connsiteX380" fmla="*/ 4980743 w 6386648"/>
                <a:gd name="connsiteY380" fmla="*/ 1308694 h 1849426"/>
                <a:gd name="connsiteX381" fmla="*/ 4998768 w 6386648"/>
                <a:gd name="connsiteY381" fmla="*/ 1326719 h 1849426"/>
                <a:gd name="connsiteX382" fmla="*/ 4980743 w 6386648"/>
                <a:gd name="connsiteY382" fmla="*/ 1344743 h 1849426"/>
                <a:gd name="connsiteX383" fmla="*/ 4962719 w 6386648"/>
                <a:gd name="connsiteY383" fmla="*/ 1326719 h 1849426"/>
                <a:gd name="connsiteX384" fmla="*/ 4980743 w 6386648"/>
                <a:gd name="connsiteY384" fmla="*/ 1308694 h 1849426"/>
                <a:gd name="connsiteX385" fmla="*/ 2871888 w 6386648"/>
                <a:gd name="connsiteY385" fmla="*/ 1302686 h 1849426"/>
                <a:gd name="connsiteX386" fmla="*/ 2889913 w 6386648"/>
                <a:gd name="connsiteY386" fmla="*/ 1320710 h 1849426"/>
                <a:gd name="connsiteX387" fmla="*/ 2871888 w 6386648"/>
                <a:gd name="connsiteY387" fmla="*/ 1338735 h 1849426"/>
                <a:gd name="connsiteX388" fmla="*/ 2853864 w 6386648"/>
                <a:gd name="connsiteY388" fmla="*/ 1320710 h 1849426"/>
                <a:gd name="connsiteX389" fmla="*/ 2871888 w 6386648"/>
                <a:gd name="connsiteY389" fmla="*/ 1302686 h 1849426"/>
                <a:gd name="connsiteX390" fmla="*/ 2102847 w 6386648"/>
                <a:gd name="connsiteY390" fmla="*/ 1302686 h 1849426"/>
                <a:gd name="connsiteX391" fmla="*/ 2120872 w 6386648"/>
                <a:gd name="connsiteY391" fmla="*/ 1320710 h 1849426"/>
                <a:gd name="connsiteX392" fmla="*/ 2102847 w 6386648"/>
                <a:gd name="connsiteY392" fmla="*/ 1338735 h 1849426"/>
                <a:gd name="connsiteX393" fmla="*/ 2084823 w 6386648"/>
                <a:gd name="connsiteY393" fmla="*/ 1320710 h 1849426"/>
                <a:gd name="connsiteX394" fmla="*/ 2102847 w 6386648"/>
                <a:gd name="connsiteY394" fmla="*/ 1302686 h 1849426"/>
                <a:gd name="connsiteX395" fmla="*/ 1273724 w 6386648"/>
                <a:gd name="connsiteY395" fmla="*/ 1302686 h 1849426"/>
                <a:gd name="connsiteX396" fmla="*/ 1291749 w 6386648"/>
                <a:gd name="connsiteY396" fmla="*/ 1320710 h 1849426"/>
                <a:gd name="connsiteX397" fmla="*/ 1273724 w 6386648"/>
                <a:gd name="connsiteY397" fmla="*/ 1338735 h 1849426"/>
                <a:gd name="connsiteX398" fmla="*/ 1255700 w 6386648"/>
                <a:gd name="connsiteY398" fmla="*/ 1320710 h 1849426"/>
                <a:gd name="connsiteX399" fmla="*/ 1273724 w 6386648"/>
                <a:gd name="connsiteY399" fmla="*/ 1302686 h 1849426"/>
                <a:gd name="connsiteX400" fmla="*/ 1033398 w 6386648"/>
                <a:gd name="connsiteY400" fmla="*/ 1302686 h 1849426"/>
                <a:gd name="connsiteX401" fmla="*/ 1051423 w 6386648"/>
                <a:gd name="connsiteY401" fmla="*/ 1320710 h 1849426"/>
                <a:gd name="connsiteX402" fmla="*/ 1033398 w 6386648"/>
                <a:gd name="connsiteY402" fmla="*/ 1338735 h 1849426"/>
                <a:gd name="connsiteX403" fmla="*/ 1015374 w 6386648"/>
                <a:gd name="connsiteY403" fmla="*/ 1320710 h 1849426"/>
                <a:gd name="connsiteX404" fmla="*/ 1033398 w 6386648"/>
                <a:gd name="connsiteY404" fmla="*/ 1302686 h 1849426"/>
                <a:gd name="connsiteX405" fmla="*/ 4548158 w 6386648"/>
                <a:gd name="connsiteY405" fmla="*/ 1296678 h 1849426"/>
                <a:gd name="connsiteX406" fmla="*/ 4566183 w 6386648"/>
                <a:gd name="connsiteY406" fmla="*/ 1314702 h 1849426"/>
                <a:gd name="connsiteX407" fmla="*/ 4548158 w 6386648"/>
                <a:gd name="connsiteY407" fmla="*/ 1332727 h 1849426"/>
                <a:gd name="connsiteX408" fmla="*/ 4530133 w 6386648"/>
                <a:gd name="connsiteY408" fmla="*/ 1314702 h 1849426"/>
                <a:gd name="connsiteX409" fmla="*/ 4548158 w 6386648"/>
                <a:gd name="connsiteY409" fmla="*/ 1296678 h 1849426"/>
                <a:gd name="connsiteX410" fmla="*/ 3520767 w 6386648"/>
                <a:gd name="connsiteY410" fmla="*/ 1290670 h 1849426"/>
                <a:gd name="connsiteX411" fmla="*/ 3538792 w 6386648"/>
                <a:gd name="connsiteY411" fmla="*/ 1308694 h 1849426"/>
                <a:gd name="connsiteX412" fmla="*/ 3520767 w 6386648"/>
                <a:gd name="connsiteY412" fmla="*/ 1326719 h 1849426"/>
                <a:gd name="connsiteX413" fmla="*/ 3502743 w 6386648"/>
                <a:gd name="connsiteY413" fmla="*/ 1308694 h 1849426"/>
                <a:gd name="connsiteX414" fmla="*/ 3520767 w 6386648"/>
                <a:gd name="connsiteY414" fmla="*/ 1290670 h 1849426"/>
                <a:gd name="connsiteX415" fmla="*/ 3244392 w 6386648"/>
                <a:gd name="connsiteY415" fmla="*/ 1290670 h 1849426"/>
                <a:gd name="connsiteX416" fmla="*/ 3262417 w 6386648"/>
                <a:gd name="connsiteY416" fmla="*/ 1308694 h 1849426"/>
                <a:gd name="connsiteX417" fmla="*/ 3244392 w 6386648"/>
                <a:gd name="connsiteY417" fmla="*/ 1326719 h 1849426"/>
                <a:gd name="connsiteX418" fmla="*/ 3226368 w 6386648"/>
                <a:gd name="connsiteY418" fmla="*/ 1308694 h 1849426"/>
                <a:gd name="connsiteX419" fmla="*/ 3244392 w 6386648"/>
                <a:gd name="connsiteY419" fmla="*/ 1290670 h 1849426"/>
                <a:gd name="connsiteX420" fmla="*/ 757024 w 6386648"/>
                <a:gd name="connsiteY420" fmla="*/ 1290670 h 1849426"/>
                <a:gd name="connsiteX421" fmla="*/ 775049 w 6386648"/>
                <a:gd name="connsiteY421" fmla="*/ 1308694 h 1849426"/>
                <a:gd name="connsiteX422" fmla="*/ 757024 w 6386648"/>
                <a:gd name="connsiteY422" fmla="*/ 1326719 h 1849426"/>
                <a:gd name="connsiteX423" fmla="*/ 739000 w 6386648"/>
                <a:gd name="connsiteY423" fmla="*/ 1308694 h 1849426"/>
                <a:gd name="connsiteX424" fmla="*/ 757024 w 6386648"/>
                <a:gd name="connsiteY424" fmla="*/ 1290670 h 1849426"/>
                <a:gd name="connsiteX425" fmla="*/ 4427995 w 6386648"/>
                <a:gd name="connsiteY425" fmla="*/ 1284661 h 1849426"/>
                <a:gd name="connsiteX426" fmla="*/ 4446020 w 6386648"/>
                <a:gd name="connsiteY426" fmla="*/ 1302685 h 1849426"/>
                <a:gd name="connsiteX427" fmla="*/ 4427995 w 6386648"/>
                <a:gd name="connsiteY427" fmla="*/ 1320710 h 1849426"/>
                <a:gd name="connsiteX428" fmla="*/ 4409970 w 6386648"/>
                <a:gd name="connsiteY428" fmla="*/ 1302685 h 1849426"/>
                <a:gd name="connsiteX429" fmla="*/ 4427995 w 6386648"/>
                <a:gd name="connsiteY429" fmla="*/ 1284661 h 1849426"/>
                <a:gd name="connsiteX430" fmla="*/ 2763741 w 6386648"/>
                <a:gd name="connsiteY430" fmla="*/ 1278653 h 1849426"/>
                <a:gd name="connsiteX431" fmla="*/ 2781766 w 6386648"/>
                <a:gd name="connsiteY431" fmla="*/ 1296678 h 1849426"/>
                <a:gd name="connsiteX432" fmla="*/ 2763741 w 6386648"/>
                <a:gd name="connsiteY432" fmla="*/ 1314702 h 1849426"/>
                <a:gd name="connsiteX433" fmla="*/ 2745717 w 6386648"/>
                <a:gd name="connsiteY433" fmla="*/ 1296678 h 1849426"/>
                <a:gd name="connsiteX434" fmla="*/ 2763741 w 6386648"/>
                <a:gd name="connsiteY434" fmla="*/ 1278653 h 1849426"/>
                <a:gd name="connsiteX435" fmla="*/ 2217002 w 6386648"/>
                <a:gd name="connsiteY435" fmla="*/ 1272645 h 1849426"/>
                <a:gd name="connsiteX436" fmla="*/ 2235026 w 6386648"/>
                <a:gd name="connsiteY436" fmla="*/ 1290669 h 1849426"/>
                <a:gd name="connsiteX437" fmla="*/ 2217002 w 6386648"/>
                <a:gd name="connsiteY437" fmla="*/ 1308694 h 1849426"/>
                <a:gd name="connsiteX438" fmla="*/ 2198977 w 6386648"/>
                <a:gd name="connsiteY438" fmla="*/ 1290669 h 1849426"/>
                <a:gd name="connsiteX439" fmla="*/ 2217002 w 6386648"/>
                <a:gd name="connsiteY439" fmla="*/ 1272645 h 1849426"/>
                <a:gd name="connsiteX440" fmla="*/ 1874537 w 6386648"/>
                <a:gd name="connsiteY440" fmla="*/ 1272645 h 1849426"/>
                <a:gd name="connsiteX441" fmla="*/ 1892562 w 6386648"/>
                <a:gd name="connsiteY441" fmla="*/ 1290669 h 1849426"/>
                <a:gd name="connsiteX442" fmla="*/ 1874537 w 6386648"/>
                <a:gd name="connsiteY442" fmla="*/ 1308694 h 1849426"/>
                <a:gd name="connsiteX443" fmla="*/ 1856513 w 6386648"/>
                <a:gd name="connsiteY443" fmla="*/ 1290669 h 1849426"/>
                <a:gd name="connsiteX444" fmla="*/ 1874537 w 6386648"/>
                <a:gd name="connsiteY444" fmla="*/ 1272645 h 1849426"/>
                <a:gd name="connsiteX445" fmla="*/ 3376571 w 6386648"/>
                <a:gd name="connsiteY445" fmla="*/ 1266637 h 1849426"/>
                <a:gd name="connsiteX446" fmla="*/ 3394596 w 6386648"/>
                <a:gd name="connsiteY446" fmla="*/ 1284661 h 1849426"/>
                <a:gd name="connsiteX447" fmla="*/ 3376571 w 6386648"/>
                <a:gd name="connsiteY447" fmla="*/ 1302686 h 1849426"/>
                <a:gd name="connsiteX448" fmla="*/ 3358546 w 6386648"/>
                <a:gd name="connsiteY448" fmla="*/ 1284661 h 1849426"/>
                <a:gd name="connsiteX449" fmla="*/ 3376571 w 6386648"/>
                <a:gd name="connsiteY449" fmla="*/ 1266637 h 1849426"/>
                <a:gd name="connsiteX450" fmla="*/ 2643579 w 6386648"/>
                <a:gd name="connsiteY450" fmla="*/ 1266637 h 1849426"/>
                <a:gd name="connsiteX451" fmla="*/ 2661604 w 6386648"/>
                <a:gd name="connsiteY451" fmla="*/ 1284661 h 1849426"/>
                <a:gd name="connsiteX452" fmla="*/ 2643579 w 6386648"/>
                <a:gd name="connsiteY452" fmla="*/ 1302686 h 1849426"/>
                <a:gd name="connsiteX453" fmla="*/ 2625555 w 6386648"/>
                <a:gd name="connsiteY453" fmla="*/ 1284661 h 1849426"/>
                <a:gd name="connsiteX454" fmla="*/ 2643579 w 6386648"/>
                <a:gd name="connsiteY454" fmla="*/ 1266637 h 1849426"/>
                <a:gd name="connsiteX455" fmla="*/ 1754375 w 6386648"/>
                <a:gd name="connsiteY455" fmla="*/ 1266637 h 1849426"/>
                <a:gd name="connsiteX456" fmla="*/ 1772400 w 6386648"/>
                <a:gd name="connsiteY456" fmla="*/ 1284661 h 1849426"/>
                <a:gd name="connsiteX457" fmla="*/ 1754375 w 6386648"/>
                <a:gd name="connsiteY457" fmla="*/ 1302686 h 1849426"/>
                <a:gd name="connsiteX458" fmla="*/ 1736351 w 6386648"/>
                <a:gd name="connsiteY458" fmla="*/ 1284661 h 1849426"/>
                <a:gd name="connsiteX459" fmla="*/ 1754375 w 6386648"/>
                <a:gd name="connsiteY459" fmla="*/ 1266637 h 1849426"/>
                <a:gd name="connsiteX460" fmla="*/ 4740418 w 6386648"/>
                <a:gd name="connsiteY460" fmla="*/ 1260629 h 1849426"/>
                <a:gd name="connsiteX461" fmla="*/ 4758443 w 6386648"/>
                <a:gd name="connsiteY461" fmla="*/ 1278653 h 1849426"/>
                <a:gd name="connsiteX462" fmla="*/ 4740418 w 6386648"/>
                <a:gd name="connsiteY462" fmla="*/ 1296678 h 1849426"/>
                <a:gd name="connsiteX463" fmla="*/ 4722394 w 6386648"/>
                <a:gd name="connsiteY463" fmla="*/ 1278653 h 1849426"/>
                <a:gd name="connsiteX464" fmla="*/ 4740418 w 6386648"/>
                <a:gd name="connsiteY464" fmla="*/ 1260629 h 1849426"/>
                <a:gd name="connsiteX465" fmla="*/ 4103556 w 6386648"/>
                <a:gd name="connsiteY465" fmla="*/ 1260629 h 1849426"/>
                <a:gd name="connsiteX466" fmla="*/ 4121581 w 6386648"/>
                <a:gd name="connsiteY466" fmla="*/ 1278653 h 1849426"/>
                <a:gd name="connsiteX467" fmla="*/ 4103556 w 6386648"/>
                <a:gd name="connsiteY467" fmla="*/ 1296678 h 1849426"/>
                <a:gd name="connsiteX468" fmla="*/ 4085532 w 6386648"/>
                <a:gd name="connsiteY468" fmla="*/ 1278653 h 1849426"/>
                <a:gd name="connsiteX469" fmla="*/ 4103556 w 6386648"/>
                <a:gd name="connsiteY469" fmla="*/ 1260629 h 1849426"/>
                <a:gd name="connsiteX470" fmla="*/ 3725043 w 6386648"/>
                <a:gd name="connsiteY470" fmla="*/ 1260629 h 1849426"/>
                <a:gd name="connsiteX471" fmla="*/ 3743068 w 6386648"/>
                <a:gd name="connsiteY471" fmla="*/ 1278653 h 1849426"/>
                <a:gd name="connsiteX472" fmla="*/ 3725043 w 6386648"/>
                <a:gd name="connsiteY472" fmla="*/ 1296678 h 1849426"/>
                <a:gd name="connsiteX473" fmla="*/ 3707019 w 6386648"/>
                <a:gd name="connsiteY473" fmla="*/ 1278653 h 1849426"/>
                <a:gd name="connsiteX474" fmla="*/ 3725043 w 6386648"/>
                <a:gd name="connsiteY474" fmla="*/ 1260629 h 1849426"/>
                <a:gd name="connsiteX475" fmla="*/ 1405904 w 6386648"/>
                <a:gd name="connsiteY475" fmla="*/ 1260629 h 1849426"/>
                <a:gd name="connsiteX476" fmla="*/ 1423928 w 6386648"/>
                <a:gd name="connsiteY476" fmla="*/ 1278653 h 1849426"/>
                <a:gd name="connsiteX477" fmla="*/ 1405904 w 6386648"/>
                <a:gd name="connsiteY477" fmla="*/ 1296678 h 1849426"/>
                <a:gd name="connsiteX478" fmla="*/ 1387879 w 6386648"/>
                <a:gd name="connsiteY478" fmla="*/ 1278653 h 1849426"/>
                <a:gd name="connsiteX479" fmla="*/ 1405904 w 6386648"/>
                <a:gd name="connsiteY479" fmla="*/ 1260629 h 1849426"/>
                <a:gd name="connsiteX480" fmla="*/ 492666 w 6386648"/>
                <a:gd name="connsiteY480" fmla="*/ 1260629 h 1849426"/>
                <a:gd name="connsiteX481" fmla="*/ 510691 w 6386648"/>
                <a:gd name="connsiteY481" fmla="*/ 1278653 h 1849426"/>
                <a:gd name="connsiteX482" fmla="*/ 492666 w 6386648"/>
                <a:gd name="connsiteY482" fmla="*/ 1296678 h 1849426"/>
                <a:gd name="connsiteX483" fmla="*/ 474642 w 6386648"/>
                <a:gd name="connsiteY483" fmla="*/ 1278653 h 1849426"/>
                <a:gd name="connsiteX484" fmla="*/ 492666 w 6386648"/>
                <a:gd name="connsiteY484" fmla="*/ 1260629 h 1849426"/>
                <a:gd name="connsiteX485" fmla="*/ 4229726 w 6386648"/>
                <a:gd name="connsiteY485" fmla="*/ 1248613 h 1849426"/>
                <a:gd name="connsiteX486" fmla="*/ 4247751 w 6386648"/>
                <a:gd name="connsiteY486" fmla="*/ 1266638 h 1849426"/>
                <a:gd name="connsiteX487" fmla="*/ 4229726 w 6386648"/>
                <a:gd name="connsiteY487" fmla="*/ 1284662 h 1849426"/>
                <a:gd name="connsiteX488" fmla="*/ 4211702 w 6386648"/>
                <a:gd name="connsiteY488" fmla="*/ 1266638 h 1849426"/>
                <a:gd name="connsiteX489" fmla="*/ 4229726 w 6386648"/>
                <a:gd name="connsiteY489" fmla="*/ 1248613 h 1849426"/>
                <a:gd name="connsiteX490" fmla="*/ 2439302 w 6386648"/>
                <a:gd name="connsiteY490" fmla="*/ 1248613 h 1849426"/>
                <a:gd name="connsiteX491" fmla="*/ 2457327 w 6386648"/>
                <a:gd name="connsiteY491" fmla="*/ 1266638 h 1849426"/>
                <a:gd name="connsiteX492" fmla="*/ 2439302 w 6386648"/>
                <a:gd name="connsiteY492" fmla="*/ 1284662 h 1849426"/>
                <a:gd name="connsiteX493" fmla="*/ 2421278 w 6386648"/>
                <a:gd name="connsiteY493" fmla="*/ 1266638 h 1849426"/>
                <a:gd name="connsiteX494" fmla="*/ 2439302 w 6386648"/>
                <a:gd name="connsiteY494" fmla="*/ 1248613 h 1849426"/>
                <a:gd name="connsiteX495" fmla="*/ 2337165 w 6386648"/>
                <a:gd name="connsiteY495" fmla="*/ 1248613 h 1849426"/>
                <a:gd name="connsiteX496" fmla="*/ 2355189 w 6386648"/>
                <a:gd name="connsiteY496" fmla="*/ 1266638 h 1849426"/>
                <a:gd name="connsiteX497" fmla="*/ 2337165 w 6386648"/>
                <a:gd name="connsiteY497" fmla="*/ 1284662 h 1849426"/>
                <a:gd name="connsiteX498" fmla="*/ 2319140 w 6386648"/>
                <a:gd name="connsiteY498" fmla="*/ 1266638 h 1849426"/>
                <a:gd name="connsiteX499" fmla="*/ 2337165 w 6386648"/>
                <a:gd name="connsiteY499" fmla="*/ 1248613 h 1849426"/>
                <a:gd name="connsiteX500" fmla="*/ 2012725 w 6386648"/>
                <a:gd name="connsiteY500" fmla="*/ 1248613 h 1849426"/>
                <a:gd name="connsiteX501" fmla="*/ 2030750 w 6386648"/>
                <a:gd name="connsiteY501" fmla="*/ 1266638 h 1849426"/>
                <a:gd name="connsiteX502" fmla="*/ 2012725 w 6386648"/>
                <a:gd name="connsiteY502" fmla="*/ 1284662 h 1849426"/>
                <a:gd name="connsiteX503" fmla="*/ 1994701 w 6386648"/>
                <a:gd name="connsiteY503" fmla="*/ 1266638 h 1849426"/>
                <a:gd name="connsiteX504" fmla="*/ 2012725 w 6386648"/>
                <a:gd name="connsiteY504" fmla="*/ 1248613 h 1849426"/>
                <a:gd name="connsiteX505" fmla="*/ 1165578 w 6386648"/>
                <a:gd name="connsiteY505" fmla="*/ 1248613 h 1849426"/>
                <a:gd name="connsiteX506" fmla="*/ 1183602 w 6386648"/>
                <a:gd name="connsiteY506" fmla="*/ 1266638 h 1849426"/>
                <a:gd name="connsiteX507" fmla="*/ 1165578 w 6386648"/>
                <a:gd name="connsiteY507" fmla="*/ 1284662 h 1849426"/>
                <a:gd name="connsiteX508" fmla="*/ 1147553 w 6386648"/>
                <a:gd name="connsiteY508" fmla="*/ 1266638 h 1849426"/>
                <a:gd name="connsiteX509" fmla="*/ 1165578 w 6386648"/>
                <a:gd name="connsiteY509" fmla="*/ 1248613 h 1849426"/>
                <a:gd name="connsiteX510" fmla="*/ 3989401 w 6386648"/>
                <a:gd name="connsiteY510" fmla="*/ 1242605 h 1849426"/>
                <a:gd name="connsiteX511" fmla="*/ 4007426 w 6386648"/>
                <a:gd name="connsiteY511" fmla="*/ 1260629 h 1849426"/>
                <a:gd name="connsiteX512" fmla="*/ 3989401 w 6386648"/>
                <a:gd name="connsiteY512" fmla="*/ 1278654 h 1849426"/>
                <a:gd name="connsiteX513" fmla="*/ 3971377 w 6386648"/>
                <a:gd name="connsiteY513" fmla="*/ 1260629 h 1849426"/>
                <a:gd name="connsiteX514" fmla="*/ 3989401 w 6386648"/>
                <a:gd name="connsiteY514" fmla="*/ 1242605 h 1849426"/>
                <a:gd name="connsiteX515" fmla="*/ 1514049 w 6386648"/>
                <a:gd name="connsiteY515" fmla="*/ 1242605 h 1849426"/>
                <a:gd name="connsiteX516" fmla="*/ 1532074 w 6386648"/>
                <a:gd name="connsiteY516" fmla="*/ 1260629 h 1849426"/>
                <a:gd name="connsiteX517" fmla="*/ 1514049 w 6386648"/>
                <a:gd name="connsiteY517" fmla="*/ 1278654 h 1849426"/>
                <a:gd name="connsiteX518" fmla="*/ 1496025 w 6386648"/>
                <a:gd name="connsiteY518" fmla="*/ 1260629 h 1849426"/>
                <a:gd name="connsiteX519" fmla="*/ 1514049 w 6386648"/>
                <a:gd name="connsiteY519" fmla="*/ 1242605 h 1849426"/>
                <a:gd name="connsiteX520" fmla="*/ 3088181 w 6386648"/>
                <a:gd name="connsiteY520" fmla="*/ 1230588 h 1849426"/>
                <a:gd name="connsiteX521" fmla="*/ 3106206 w 6386648"/>
                <a:gd name="connsiteY521" fmla="*/ 1248612 h 1849426"/>
                <a:gd name="connsiteX522" fmla="*/ 3088181 w 6386648"/>
                <a:gd name="connsiteY522" fmla="*/ 1266637 h 1849426"/>
                <a:gd name="connsiteX523" fmla="*/ 3070157 w 6386648"/>
                <a:gd name="connsiteY523" fmla="*/ 1248612 h 1849426"/>
                <a:gd name="connsiteX524" fmla="*/ 3088181 w 6386648"/>
                <a:gd name="connsiteY524" fmla="*/ 1230588 h 1849426"/>
                <a:gd name="connsiteX525" fmla="*/ 895212 w 6386648"/>
                <a:gd name="connsiteY525" fmla="*/ 1230588 h 1849426"/>
                <a:gd name="connsiteX526" fmla="*/ 913236 w 6386648"/>
                <a:gd name="connsiteY526" fmla="*/ 1248612 h 1849426"/>
                <a:gd name="connsiteX527" fmla="*/ 895212 w 6386648"/>
                <a:gd name="connsiteY527" fmla="*/ 1266637 h 1849426"/>
                <a:gd name="connsiteX528" fmla="*/ 877187 w 6386648"/>
                <a:gd name="connsiteY528" fmla="*/ 1248612 h 1849426"/>
                <a:gd name="connsiteX529" fmla="*/ 895212 w 6386648"/>
                <a:gd name="connsiteY529" fmla="*/ 1230588 h 1849426"/>
                <a:gd name="connsiteX530" fmla="*/ 4626263 w 6386648"/>
                <a:gd name="connsiteY530" fmla="*/ 1224580 h 1849426"/>
                <a:gd name="connsiteX531" fmla="*/ 4644288 w 6386648"/>
                <a:gd name="connsiteY531" fmla="*/ 1242604 h 1849426"/>
                <a:gd name="connsiteX532" fmla="*/ 4626263 w 6386648"/>
                <a:gd name="connsiteY532" fmla="*/ 1260629 h 1849426"/>
                <a:gd name="connsiteX533" fmla="*/ 4608239 w 6386648"/>
                <a:gd name="connsiteY533" fmla="*/ 1242604 h 1849426"/>
                <a:gd name="connsiteX534" fmla="*/ 4626263 w 6386648"/>
                <a:gd name="connsiteY534" fmla="*/ 1224580 h 1849426"/>
                <a:gd name="connsiteX535" fmla="*/ 2547449 w 6386648"/>
                <a:gd name="connsiteY535" fmla="*/ 1224580 h 1849426"/>
                <a:gd name="connsiteX536" fmla="*/ 2565474 w 6386648"/>
                <a:gd name="connsiteY536" fmla="*/ 1242604 h 1849426"/>
                <a:gd name="connsiteX537" fmla="*/ 2547449 w 6386648"/>
                <a:gd name="connsiteY537" fmla="*/ 1260629 h 1849426"/>
                <a:gd name="connsiteX538" fmla="*/ 2529425 w 6386648"/>
                <a:gd name="connsiteY538" fmla="*/ 1242604 h 1849426"/>
                <a:gd name="connsiteX539" fmla="*/ 2547449 w 6386648"/>
                <a:gd name="connsiteY539" fmla="*/ 1224580 h 1849426"/>
                <a:gd name="connsiteX540" fmla="*/ 1628204 w 6386648"/>
                <a:gd name="connsiteY540" fmla="*/ 1224580 h 1849426"/>
                <a:gd name="connsiteX541" fmla="*/ 1646229 w 6386648"/>
                <a:gd name="connsiteY541" fmla="*/ 1242604 h 1849426"/>
                <a:gd name="connsiteX542" fmla="*/ 1628204 w 6386648"/>
                <a:gd name="connsiteY542" fmla="*/ 1260629 h 1849426"/>
                <a:gd name="connsiteX543" fmla="*/ 1610180 w 6386648"/>
                <a:gd name="connsiteY543" fmla="*/ 1242604 h 1849426"/>
                <a:gd name="connsiteX544" fmla="*/ 1628204 w 6386648"/>
                <a:gd name="connsiteY544" fmla="*/ 1224580 h 1849426"/>
                <a:gd name="connsiteX545" fmla="*/ 5052841 w 6386648"/>
                <a:gd name="connsiteY545" fmla="*/ 1212564 h 1849426"/>
                <a:gd name="connsiteX546" fmla="*/ 5070866 w 6386648"/>
                <a:gd name="connsiteY546" fmla="*/ 1230588 h 1849426"/>
                <a:gd name="connsiteX547" fmla="*/ 5052841 w 6386648"/>
                <a:gd name="connsiteY547" fmla="*/ 1248613 h 1849426"/>
                <a:gd name="connsiteX548" fmla="*/ 5034817 w 6386648"/>
                <a:gd name="connsiteY548" fmla="*/ 1230588 h 1849426"/>
                <a:gd name="connsiteX549" fmla="*/ 5052841 w 6386648"/>
                <a:gd name="connsiteY549" fmla="*/ 1212564 h 1849426"/>
                <a:gd name="connsiteX550" fmla="*/ 3845206 w 6386648"/>
                <a:gd name="connsiteY550" fmla="*/ 1206556 h 1849426"/>
                <a:gd name="connsiteX551" fmla="*/ 3863231 w 6386648"/>
                <a:gd name="connsiteY551" fmla="*/ 1224580 h 1849426"/>
                <a:gd name="connsiteX552" fmla="*/ 3845206 w 6386648"/>
                <a:gd name="connsiteY552" fmla="*/ 1242605 h 1849426"/>
                <a:gd name="connsiteX553" fmla="*/ 3827182 w 6386648"/>
                <a:gd name="connsiteY553" fmla="*/ 1224580 h 1849426"/>
                <a:gd name="connsiteX554" fmla="*/ 3845206 w 6386648"/>
                <a:gd name="connsiteY554" fmla="*/ 1206556 h 1849426"/>
                <a:gd name="connsiteX555" fmla="*/ 3604880 w 6386648"/>
                <a:gd name="connsiteY555" fmla="*/ 1206556 h 1849426"/>
                <a:gd name="connsiteX556" fmla="*/ 3622905 w 6386648"/>
                <a:gd name="connsiteY556" fmla="*/ 1224580 h 1849426"/>
                <a:gd name="connsiteX557" fmla="*/ 3604880 w 6386648"/>
                <a:gd name="connsiteY557" fmla="*/ 1242605 h 1849426"/>
                <a:gd name="connsiteX558" fmla="*/ 3586856 w 6386648"/>
                <a:gd name="connsiteY558" fmla="*/ 1224580 h 1849426"/>
                <a:gd name="connsiteX559" fmla="*/ 3604880 w 6386648"/>
                <a:gd name="connsiteY559" fmla="*/ 1206556 h 1849426"/>
                <a:gd name="connsiteX560" fmla="*/ 600813 w 6386648"/>
                <a:gd name="connsiteY560" fmla="*/ 1200548 h 1849426"/>
                <a:gd name="connsiteX561" fmla="*/ 618838 w 6386648"/>
                <a:gd name="connsiteY561" fmla="*/ 1218572 h 1849426"/>
                <a:gd name="connsiteX562" fmla="*/ 600813 w 6386648"/>
                <a:gd name="connsiteY562" fmla="*/ 1236597 h 1849426"/>
                <a:gd name="connsiteX563" fmla="*/ 582789 w 6386648"/>
                <a:gd name="connsiteY563" fmla="*/ 1218572 h 1849426"/>
                <a:gd name="connsiteX564" fmla="*/ 600813 w 6386648"/>
                <a:gd name="connsiteY564" fmla="*/ 1200548 h 1849426"/>
                <a:gd name="connsiteX565" fmla="*/ 2949994 w 6386648"/>
                <a:gd name="connsiteY565" fmla="*/ 1194539 h 1849426"/>
                <a:gd name="connsiteX566" fmla="*/ 2968019 w 6386648"/>
                <a:gd name="connsiteY566" fmla="*/ 1212563 h 1849426"/>
                <a:gd name="connsiteX567" fmla="*/ 2949994 w 6386648"/>
                <a:gd name="connsiteY567" fmla="*/ 1230588 h 1849426"/>
                <a:gd name="connsiteX568" fmla="*/ 2931970 w 6386648"/>
                <a:gd name="connsiteY568" fmla="*/ 1212563 h 1849426"/>
                <a:gd name="connsiteX569" fmla="*/ 2949994 w 6386648"/>
                <a:gd name="connsiteY569" fmla="*/ 1194539 h 1849426"/>
                <a:gd name="connsiteX570" fmla="*/ 1009366 w 6386648"/>
                <a:gd name="connsiteY570" fmla="*/ 1194539 h 1849426"/>
                <a:gd name="connsiteX571" fmla="*/ 1027391 w 6386648"/>
                <a:gd name="connsiteY571" fmla="*/ 1212563 h 1849426"/>
                <a:gd name="connsiteX572" fmla="*/ 1009366 w 6386648"/>
                <a:gd name="connsiteY572" fmla="*/ 1230588 h 1849426"/>
                <a:gd name="connsiteX573" fmla="*/ 991342 w 6386648"/>
                <a:gd name="connsiteY573" fmla="*/ 1212563 h 1849426"/>
                <a:gd name="connsiteX574" fmla="*/ 1009366 w 6386648"/>
                <a:gd name="connsiteY574" fmla="*/ 1194539 h 1849426"/>
                <a:gd name="connsiteX575" fmla="*/ 4932678 w 6386648"/>
                <a:gd name="connsiteY575" fmla="*/ 1188531 h 1849426"/>
                <a:gd name="connsiteX576" fmla="*/ 4950703 w 6386648"/>
                <a:gd name="connsiteY576" fmla="*/ 1206556 h 1849426"/>
                <a:gd name="connsiteX577" fmla="*/ 4932678 w 6386648"/>
                <a:gd name="connsiteY577" fmla="*/ 1224580 h 1849426"/>
                <a:gd name="connsiteX578" fmla="*/ 4914654 w 6386648"/>
                <a:gd name="connsiteY578" fmla="*/ 1206556 h 1849426"/>
                <a:gd name="connsiteX579" fmla="*/ 4932678 w 6386648"/>
                <a:gd name="connsiteY579" fmla="*/ 1188531 h 1849426"/>
                <a:gd name="connsiteX580" fmla="*/ 4361905 w 6386648"/>
                <a:gd name="connsiteY580" fmla="*/ 1188531 h 1849426"/>
                <a:gd name="connsiteX581" fmla="*/ 4379930 w 6386648"/>
                <a:gd name="connsiteY581" fmla="*/ 1206556 h 1849426"/>
                <a:gd name="connsiteX582" fmla="*/ 4361905 w 6386648"/>
                <a:gd name="connsiteY582" fmla="*/ 1224580 h 1849426"/>
                <a:gd name="connsiteX583" fmla="*/ 4343881 w 6386648"/>
                <a:gd name="connsiteY583" fmla="*/ 1206556 h 1849426"/>
                <a:gd name="connsiteX584" fmla="*/ 4361905 w 6386648"/>
                <a:gd name="connsiteY584" fmla="*/ 1188531 h 1849426"/>
                <a:gd name="connsiteX585" fmla="*/ 3220360 w 6386648"/>
                <a:gd name="connsiteY585" fmla="*/ 1188531 h 1849426"/>
                <a:gd name="connsiteX586" fmla="*/ 3238385 w 6386648"/>
                <a:gd name="connsiteY586" fmla="*/ 1206556 h 1849426"/>
                <a:gd name="connsiteX587" fmla="*/ 3220360 w 6386648"/>
                <a:gd name="connsiteY587" fmla="*/ 1224580 h 1849426"/>
                <a:gd name="connsiteX588" fmla="*/ 3202336 w 6386648"/>
                <a:gd name="connsiteY588" fmla="*/ 1206556 h 1849426"/>
                <a:gd name="connsiteX589" fmla="*/ 3220360 w 6386648"/>
                <a:gd name="connsiteY589" fmla="*/ 1188531 h 1849426"/>
                <a:gd name="connsiteX590" fmla="*/ 708959 w 6386648"/>
                <a:gd name="connsiteY590" fmla="*/ 1188531 h 1849426"/>
                <a:gd name="connsiteX591" fmla="*/ 726984 w 6386648"/>
                <a:gd name="connsiteY591" fmla="*/ 1206556 h 1849426"/>
                <a:gd name="connsiteX592" fmla="*/ 708959 w 6386648"/>
                <a:gd name="connsiteY592" fmla="*/ 1224580 h 1849426"/>
                <a:gd name="connsiteX593" fmla="*/ 690935 w 6386648"/>
                <a:gd name="connsiteY593" fmla="*/ 1206556 h 1849426"/>
                <a:gd name="connsiteX594" fmla="*/ 708959 w 6386648"/>
                <a:gd name="connsiteY594" fmla="*/ 1188531 h 1849426"/>
                <a:gd name="connsiteX595" fmla="*/ 4824532 w 6386648"/>
                <a:gd name="connsiteY595" fmla="*/ 1182523 h 1849426"/>
                <a:gd name="connsiteX596" fmla="*/ 4842557 w 6386648"/>
                <a:gd name="connsiteY596" fmla="*/ 1200547 h 1849426"/>
                <a:gd name="connsiteX597" fmla="*/ 4824532 w 6386648"/>
                <a:gd name="connsiteY597" fmla="*/ 1218572 h 1849426"/>
                <a:gd name="connsiteX598" fmla="*/ 4806508 w 6386648"/>
                <a:gd name="connsiteY598" fmla="*/ 1200547 h 1849426"/>
                <a:gd name="connsiteX599" fmla="*/ 4824532 w 6386648"/>
                <a:gd name="connsiteY599" fmla="*/ 1182523 h 1849426"/>
                <a:gd name="connsiteX600" fmla="*/ 1279732 w 6386648"/>
                <a:gd name="connsiteY600" fmla="*/ 1170507 h 1849426"/>
                <a:gd name="connsiteX601" fmla="*/ 1297757 w 6386648"/>
                <a:gd name="connsiteY601" fmla="*/ 1188531 h 1849426"/>
                <a:gd name="connsiteX602" fmla="*/ 1279732 w 6386648"/>
                <a:gd name="connsiteY602" fmla="*/ 1206556 h 1849426"/>
                <a:gd name="connsiteX603" fmla="*/ 1261708 w 6386648"/>
                <a:gd name="connsiteY603" fmla="*/ 1188531 h 1849426"/>
                <a:gd name="connsiteX604" fmla="*/ 1279732 w 6386648"/>
                <a:gd name="connsiteY604" fmla="*/ 1170507 h 1849426"/>
                <a:gd name="connsiteX605" fmla="*/ 3478710 w 6386648"/>
                <a:gd name="connsiteY605" fmla="*/ 1164499 h 1849426"/>
                <a:gd name="connsiteX606" fmla="*/ 3496735 w 6386648"/>
                <a:gd name="connsiteY606" fmla="*/ 1182523 h 1849426"/>
                <a:gd name="connsiteX607" fmla="*/ 3478710 w 6386648"/>
                <a:gd name="connsiteY607" fmla="*/ 1200548 h 1849426"/>
                <a:gd name="connsiteX608" fmla="*/ 3460686 w 6386648"/>
                <a:gd name="connsiteY608" fmla="*/ 1182523 h 1849426"/>
                <a:gd name="connsiteX609" fmla="*/ 3478710 w 6386648"/>
                <a:gd name="connsiteY609" fmla="*/ 1164499 h 1849426"/>
                <a:gd name="connsiteX610" fmla="*/ 2703660 w 6386648"/>
                <a:gd name="connsiteY610" fmla="*/ 1164499 h 1849426"/>
                <a:gd name="connsiteX611" fmla="*/ 2721685 w 6386648"/>
                <a:gd name="connsiteY611" fmla="*/ 1182523 h 1849426"/>
                <a:gd name="connsiteX612" fmla="*/ 2703660 w 6386648"/>
                <a:gd name="connsiteY612" fmla="*/ 1200548 h 1849426"/>
                <a:gd name="connsiteX613" fmla="*/ 2685636 w 6386648"/>
                <a:gd name="connsiteY613" fmla="*/ 1182523 h 1849426"/>
                <a:gd name="connsiteX614" fmla="*/ 2703660 w 6386648"/>
                <a:gd name="connsiteY614" fmla="*/ 1164499 h 1849426"/>
                <a:gd name="connsiteX615" fmla="*/ 4500093 w 6386648"/>
                <a:gd name="connsiteY615" fmla="*/ 1158491 h 1849426"/>
                <a:gd name="connsiteX616" fmla="*/ 4518118 w 6386648"/>
                <a:gd name="connsiteY616" fmla="*/ 1176516 h 1849426"/>
                <a:gd name="connsiteX617" fmla="*/ 4500093 w 6386648"/>
                <a:gd name="connsiteY617" fmla="*/ 1194540 h 1849426"/>
                <a:gd name="connsiteX618" fmla="*/ 4482069 w 6386648"/>
                <a:gd name="connsiteY618" fmla="*/ 1176516 h 1849426"/>
                <a:gd name="connsiteX619" fmla="*/ 4500093 w 6386648"/>
                <a:gd name="connsiteY619" fmla="*/ 1158491 h 1849426"/>
                <a:gd name="connsiteX620" fmla="*/ 4199686 w 6386648"/>
                <a:gd name="connsiteY620" fmla="*/ 1158491 h 1849426"/>
                <a:gd name="connsiteX621" fmla="*/ 4217711 w 6386648"/>
                <a:gd name="connsiteY621" fmla="*/ 1176516 h 1849426"/>
                <a:gd name="connsiteX622" fmla="*/ 4199686 w 6386648"/>
                <a:gd name="connsiteY622" fmla="*/ 1194540 h 1849426"/>
                <a:gd name="connsiteX623" fmla="*/ 4181662 w 6386648"/>
                <a:gd name="connsiteY623" fmla="*/ 1176516 h 1849426"/>
                <a:gd name="connsiteX624" fmla="*/ 4199686 w 6386648"/>
                <a:gd name="connsiteY624" fmla="*/ 1158491 h 1849426"/>
                <a:gd name="connsiteX625" fmla="*/ 2132887 w 6386648"/>
                <a:gd name="connsiteY625" fmla="*/ 1158491 h 1849426"/>
                <a:gd name="connsiteX626" fmla="*/ 2150912 w 6386648"/>
                <a:gd name="connsiteY626" fmla="*/ 1176516 h 1849426"/>
                <a:gd name="connsiteX627" fmla="*/ 2132887 w 6386648"/>
                <a:gd name="connsiteY627" fmla="*/ 1194540 h 1849426"/>
                <a:gd name="connsiteX628" fmla="*/ 2114863 w 6386648"/>
                <a:gd name="connsiteY628" fmla="*/ 1176516 h 1849426"/>
                <a:gd name="connsiteX629" fmla="*/ 2132887 w 6386648"/>
                <a:gd name="connsiteY629" fmla="*/ 1158491 h 1849426"/>
                <a:gd name="connsiteX630" fmla="*/ 1850505 w 6386648"/>
                <a:gd name="connsiteY630" fmla="*/ 1158491 h 1849426"/>
                <a:gd name="connsiteX631" fmla="*/ 1868530 w 6386648"/>
                <a:gd name="connsiteY631" fmla="*/ 1176516 h 1849426"/>
                <a:gd name="connsiteX632" fmla="*/ 1850505 w 6386648"/>
                <a:gd name="connsiteY632" fmla="*/ 1194540 h 1849426"/>
                <a:gd name="connsiteX633" fmla="*/ 1832481 w 6386648"/>
                <a:gd name="connsiteY633" fmla="*/ 1176516 h 1849426"/>
                <a:gd name="connsiteX634" fmla="*/ 1850505 w 6386648"/>
                <a:gd name="connsiteY634" fmla="*/ 1158491 h 1849426"/>
                <a:gd name="connsiteX635" fmla="*/ 3340522 w 6386648"/>
                <a:gd name="connsiteY635" fmla="*/ 1152483 h 1849426"/>
                <a:gd name="connsiteX636" fmla="*/ 3358547 w 6386648"/>
                <a:gd name="connsiteY636" fmla="*/ 1170507 h 1849426"/>
                <a:gd name="connsiteX637" fmla="*/ 3340522 w 6386648"/>
                <a:gd name="connsiteY637" fmla="*/ 1188532 h 1849426"/>
                <a:gd name="connsiteX638" fmla="*/ 3322498 w 6386648"/>
                <a:gd name="connsiteY638" fmla="*/ 1170507 h 1849426"/>
                <a:gd name="connsiteX639" fmla="*/ 3340522 w 6386648"/>
                <a:gd name="connsiteY639" fmla="*/ 1152483 h 1849426"/>
                <a:gd name="connsiteX640" fmla="*/ 2829831 w 6386648"/>
                <a:gd name="connsiteY640" fmla="*/ 1152483 h 1849426"/>
                <a:gd name="connsiteX641" fmla="*/ 2847856 w 6386648"/>
                <a:gd name="connsiteY641" fmla="*/ 1170507 h 1849426"/>
                <a:gd name="connsiteX642" fmla="*/ 2829831 w 6386648"/>
                <a:gd name="connsiteY642" fmla="*/ 1188532 h 1849426"/>
                <a:gd name="connsiteX643" fmla="*/ 2811807 w 6386648"/>
                <a:gd name="connsiteY643" fmla="*/ 1170507 h 1849426"/>
                <a:gd name="connsiteX644" fmla="*/ 2829831 w 6386648"/>
                <a:gd name="connsiteY644" fmla="*/ 1152483 h 1849426"/>
                <a:gd name="connsiteX645" fmla="*/ 2253050 w 6386648"/>
                <a:gd name="connsiteY645" fmla="*/ 1152483 h 1849426"/>
                <a:gd name="connsiteX646" fmla="*/ 2271075 w 6386648"/>
                <a:gd name="connsiteY646" fmla="*/ 1170507 h 1849426"/>
                <a:gd name="connsiteX647" fmla="*/ 2253050 w 6386648"/>
                <a:gd name="connsiteY647" fmla="*/ 1188532 h 1849426"/>
                <a:gd name="connsiteX648" fmla="*/ 2235026 w 6386648"/>
                <a:gd name="connsiteY648" fmla="*/ 1170507 h 1849426"/>
                <a:gd name="connsiteX649" fmla="*/ 2253050 w 6386648"/>
                <a:gd name="connsiteY649" fmla="*/ 1152483 h 1849426"/>
                <a:gd name="connsiteX650" fmla="*/ 1994700 w 6386648"/>
                <a:gd name="connsiteY650" fmla="*/ 1146474 h 1849426"/>
                <a:gd name="connsiteX651" fmla="*/ 2012725 w 6386648"/>
                <a:gd name="connsiteY651" fmla="*/ 1164498 h 1849426"/>
                <a:gd name="connsiteX652" fmla="*/ 1994700 w 6386648"/>
                <a:gd name="connsiteY652" fmla="*/ 1182523 h 1849426"/>
                <a:gd name="connsiteX653" fmla="*/ 1976676 w 6386648"/>
                <a:gd name="connsiteY653" fmla="*/ 1164498 h 1849426"/>
                <a:gd name="connsiteX654" fmla="*/ 1994700 w 6386648"/>
                <a:gd name="connsiteY654" fmla="*/ 1146474 h 1849426"/>
                <a:gd name="connsiteX655" fmla="*/ 1718326 w 6386648"/>
                <a:gd name="connsiteY655" fmla="*/ 1146474 h 1849426"/>
                <a:gd name="connsiteX656" fmla="*/ 1736351 w 6386648"/>
                <a:gd name="connsiteY656" fmla="*/ 1164498 h 1849426"/>
                <a:gd name="connsiteX657" fmla="*/ 1718326 w 6386648"/>
                <a:gd name="connsiteY657" fmla="*/ 1182523 h 1849426"/>
                <a:gd name="connsiteX658" fmla="*/ 1700302 w 6386648"/>
                <a:gd name="connsiteY658" fmla="*/ 1164498 h 1849426"/>
                <a:gd name="connsiteX659" fmla="*/ 1718326 w 6386648"/>
                <a:gd name="connsiteY659" fmla="*/ 1146474 h 1849426"/>
                <a:gd name="connsiteX660" fmla="*/ 1129529 w 6386648"/>
                <a:gd name="connsiteY660" fmla="*/ 1146474 h 1849426"/>
                <a:gd name="connsiteX661" fmla="*/ 1147554 w 6386648"/>
                <a:gd name="connsiteY661" fmla="*/ 1164498 h 1849426"/>
                <a:gd name="connsiteX662" fmla="*/ 1129529 w 6386648"/>
                <a:gd name="connsiteY662" fmla="*/ 1182523 h 1849426"/>
                <a:gd name="connsiteX663" fmla="*/ 1111505 w 6386648"/>
                <a:gd name="connsiteY663" fmla="*/ 1164498 h 1849426"/>
                <a:gd name="connsiteX664" fmla="*/ 1129529 w 6386648"/>
                <a:gd name="connsiteY664" fmla="*/ 1146474 h 1849426"/>
                <a:gd name="connsiteX665" fmla="*/ 498674 w 6386648"/>
                <a:gd name="connsiteY665" fmla="*/ 1140466 h 1849426"/>
                <a:gd name="connsiteX666" fmla="*/ 516699 w 6386648"/>
                <a:gd name="connsiteY666" fmla="*/ 1158490 h 1849426"/>
                <a:gd name="connsiteX667" fmla="*/ 498674 w 6386648"/>
                <a:gd name="connsiteY667" fmla="*/ 1176515 h 1849426"/>
                <a:gd name="connsiteX668" fmla="*/ 480650 w 6386648"/>
                <a:gd name="connsiteY668" fmla="*/ 1158490 h 1849426"/>
                <a:gd name="connsiteX669" fmla="*/ 498674 w 6386648"/>
                <a:gd name="connsiteY669" fmla="*/ 1140466 h 1849426"/>
                <a:gd name="connsiteX670" fmla="*/ 3707019 w 6386648"/>
                <a:gd name="connsiteY670" fmla="*/ 1134458 h 1849426"/>
                <a:gd name="connsiteX671" fmla="*/ 3725044 w 6386648"/>
                <a:gd name="connsiteY671" fmla="*/ 1152482 h 1849426"/>
                <a:gd name="connsiteX672" fmla="*/ 3707019 w 6386648"/>
                <a:gd name="connsiteY672" fmla="*/ 1170507 h 1849426"/>
                <a:gd name="connsiteX673" fmla="*/ 3688994 w 6386648"/>
                <a:gd name="connsiteY673" fmla="*/ 1152482 h 1849426"/>
                <a:gd name="connsiteX674" fmla="*/ 3707019 w 6386648"/>
                <a:gd name="connsiteY674" fmla="*/ 1134458 h 1849426"/>
                <a:gd name="connsiteX675" fmla="*/ 799081 w 6386648"/>
                <a:gd name="connsiteY675" fmla="*/ 1134458 h 1849426"/>
                <a:gd name="connsiteX676" fmla="*/ 817106 w 6386648"/>
                <a:gd name="connsiteY676" fmla="*/ 1152482 h 1849426"/>
                <a:gd name="connsiteX677" fmla="*/ 799081 w 6386648"/>
                <a:gd name="connsiteY677" fmla="*/ 1170507 h 1849426"/>
                <a:gd name="connsiteX678" fmla="*/ 781057 w 6386648"/>
                <a:gd name="connsiteY678" fmla="*/ 1152482 h 1849426"/>
                <a:gd name="connsiteX679" fmla="*/ 799081 w 6386648"/>
                <a:gd name="connsiteY679" fmla="*/ 1134458 h 1849426"/>
                <a:gd name="connsiteX680" fmla="*/ 384520 w 6386648"/>
                <a:gd name="connsiteY680" fmla="*/ 1134458 h 1849426"/>
                <a:gd name="connsiteX681" fmla="*/ 402545 w 6386648"/>
                <a:gd name="connsiteY681" fmla="*/ 1152482 h 1849426"/>
                <a:gd name="connsiteX682" fmla="*/ 384520 w 6386648"/>
                <a:gd name="connsiteY682" fmla="*/ 1170507 h 1849426"/>
                <a:gd name="connsiteX683" fmla="*/ 366496 w 6386648"/>
                <a:gd name="connsiteY683" fmla="*/ 1152482 h 1849426"/>
                <a:gd name="connsiteX684" fmla="*/ 384520 w 6386648"/>
                <a:gd name="connsiteY684" fmla="*/ 1134458 h 1849426"/>
                <a:gd name="connsiteX685" fmla="*/ 3935328 w 6386648"/>
                <a:gd name="connsiteY685" fmla="*/ 1128450 h 1849426"/>
                <a:gd name="connsiteX686" fmla="*/ 3953353 w 6386648"/>
                <a:gd name="connsiteY686" fmla="*/ 1146475 h 1849426"/>
                <a:gd name="connsiteX687" fmla="*/ 3935328 w 6386648"/>
                <a:gd name="connsiteY687" fmla="*/ 1164499 h 1849426"/>
                <a:gd name="connsiteX688" fmla="*/ 3917304 w 6386648"/>
                <a:gd name="connsiteY688" fmla="*/ 1146475 h 1849426"/>
                <a:gd name="connsiteX689" fmla="*/ 3935328 w 6386648"/>
                <a:gd name="connsiteY689" fmla="*/ 1128450 h 1849426"/>
                <a:gd name="connsiteX690" fmla="*/ 1514049 w 6386648"/>
                <a:gd name="connsiteY690" fmla="*/ 1128450 h 1849426"/>
                <a:gd name="connsiteX691" fmla="*/ 1532074 w 6386648"/>
                <a:gd name="connsiteY691" fmla="*/ 1146475 h 1849426"/>
                <a:gd name="connsiteX692" fmla="*/ 1514049 w 6386648"/>
                <a:gd name="connsiteY692" fmla="*/ 1164499 h 1849426"/>
                <a:gd name="connsiteX693" fmla="*/ 1496025 w 6386648"/>
                <a:gd name="connsiteY693" fmla="*/ 1146475 h 1849426"/>
                <a:gd name="connsiteX694" fmla="*/ 1514049 w 6386648"/>
                <a:gd name="connsiteY694" fmla="*/ 1128450 h 1849426"/>
                <a:gd name="connsiteX695" fmla="*/ 4650296 w 6386648"/>
                <a:gd name="connsiteY695" fmla="*/ 1122442 h 1849426"/>
                <a:gd name="connsiteX696" fmla="*/ 4668321 w 6386648"/>
                <a:gd name="connsiteY696" fmla="*/ 1140466 h 1849426"/>
                <a:gd name="connsiteX697" fmla="*/ 4650296 w 6386648"/>
                <a:gd name="connsiteY697" fmla="*/ 1158491 h 1849426"/>
                <a:gd name="connsiteX698" fmla="*/ 4632272 w 6386648"/>
                <a:gd name="connsiteY698" fmla="*/ 1140466 h 1849426"/>
                <a:gd name="connsiteX699" fmla="*/ 4650296 w 6386648"/>
                <a:gd name="connsiteY699" fmla="*/ 1122442 h 1849426"/>
                <a:gd name="connsiteX700" fmla="*/ 4073515 w 6386648"/>
                <a:gd name="connsiteY700" fmla="*/ 1122442 h 1849426"/>
                <a:gd name="connsiteX701" fmla="*/ 4091540 w 6386648"/>
                <a:gd name="connsiteY701" fmla="*/ 1140466 h 1849426"/>
                <a:gd name="connsiteX702" fmla="*/ 4073515 w 6386648"/>
                <a:gd name="connsiteY702" fmla="*/ 1158491 h 1849426"/>
                <a:gd name="connsiteX703" fmla="*/ 4055491 w 6386648"/>
                <a:gd name="connsiteY703" fmla="*/ 1140466 h 1849426"/>
                <a:gd name="connsiteX704" fmla="*/ 4073515 w 6386648"/>
                <a:gd name="connsiteY704" fmla="*/ 1122442 h 1849426"/>
                <a:gd name="connsiteX705" fmla="*/ 2475351 w 6386648"/>
                <a:gd name="connsiteY705" fmla="*/ 1122442 h 1849426"/>
                <a:gd name="connsiteX706" fmla="*/ 2493376 w 6386648"/>
                <a:gd name="connsiteY706" fmla="*/ 1140466 h 1849426"/>
                <a:gd name="connsiteX707" fmla="*/ 2475351 w 6386648"/>
                <a:gd name="connsiteY707" fmla="*/ 1158491 h 1849426"/>
                <a:gd name="connsiteX708" fmla="*/ 2457326 w 6386648"/>
                <a:gd name="connsiteY708" fmla="*/ 1140466 h 1849426"/>
                <a:gd name="connsiteX709" fmla="*/ 2475351 w 6386648"/>
                <a:gd name="connsiteY709" fmla="*/ 1122442 h 1849426"/>
                <a:gd name="connsiteX710" fmla="*/ 1393887 w 6386648"/>
                <a:gd name="connsiteY710" fmla="*/ 1122442 h 1849426"/>
                <a:gd name="connsiteX711" fmla="*/ 1411912 w 6386648"/>
                <a:gd name="connsiteY711" fmla="*/ 1140466 h 1849426"/>
                <a:gd name="connsiteX712" fmla="*/ 1393887 w 6386648"/>
                <a:gd name="connsiteY712" fmla="*/ 1158491 h 1849426"/>
                <a:gd name="connsiteX713" fmla="*/ 1375863 w 6386648"/>
                <a:gd name="connsiteY713" fmla="*/ 1140466 h 1849426"/>
                <a:gd name="connsiteX714" fmla="*/ 1393887 w 6386648"/>
                <a:gd name="connsiteY714" fmla="*/ 1122442 h 1849426"/>
                <a:gd name="connsiteX715" fmla="*/ 3058140 w 6386648"/>
                <a:gd name="connsiteY715" fmla="*/ 1116434 h 1849426"/>
                <a:gd name="connsiteX716" fmla="*/ 3076165 w 6386648"/>
                <a:gd name="connsiteY716" fmla="*/ 1134458 h 1849426"/>
                <a:gd name="connsiteX717" fmla="*/ 3058140 w 6386648"/>
                <a:gd name="connsiteY717" fmla="*/ 1152483 h 1849426"/>
                <a:gd name="connsiteX718" fmla="*/ 3040116 w 6386648"/>
                <a:gd name="connsiteY718" fmla="*/ 1134458 h 1849426"/>
                <a:gd name="connsiteX719" fmla="*/ 3058140 w 6386648"/>
                <a:gd name="connsiteY719" fmla="*/ 1116434 h 1849426"/>
                <a:gd name="connsiteX720" fmla="*/ 4800499 w 6386648"/>
                <a:gd name="connsiteY720" fmla="*/ 1092401 h 1849426"/>
                <a:gd name="connsiteX721" fmla="*/ 4818524 w 6386648"/>
                <a:gd name="connsiteY721" fmla="*/ 1110425 h 1849426"/>
                <a:gd name="connsiteX722" fmla="*/ 4800499 w 6386648"/>
                <a:gd name="connsiteY722" fmla="*/ 1128450 h 1849426"/>
                <a:gd name="connsiteX723" fmla="*/ 4782475 w 6386648"/>
                <a:gd name="connsiteY723" fmla="*/ 1110425 h 1849426"/>
                <a:gd name="connsiteX724" fmla="*/ 4800499 w 6386648"/>
                <a:gd name="connsiteY724" fmla="*/ 1092401 h 1849426"/>
                <a:gd name="connsiteX725" fmla="*/ 2349180 w 6386648"/>
                <a:gd name="connsiteY725" fmla="*/ 1092401 h 1849426"/>
                <a:gd name="connsiteX726" fmla="*/ 2367205 w 6386648"/>
                <a:gd name="connsiteY726" fmla="*/ 1110425 h 1849426"/>
                <a:gd name="connsiteX727" fmla="*/ 2349180 w 6386648"/>
                <a:gd name="connsiteY727" fmla="*/ 1128450 h 1849426"/>
                <a:gd name="connsiteX728" fmla="*/ 2331156 w 6386648"/>
                <a:gd name="connsiteY728" fmla="*/ 1110425 h 1849426"/>
                <a:gd name="connsiteX729" fmla="*/ 2349180 w 6386648"/>
                <a:gd name="connsiteY729" fmla="*/ 1092401 h 1849426"/>
                <a:gd name="connsiteX730" fmla="*/ 931260 w 6386648"/>
                <a:gd name="connsiteY730" fmla="*/ 1092401 h 1849426"/>
                <a:gd name="connsiteX731" fmla="*/ 949285 w 6386648"/>
                <a:gd name="connsiteY731" fmla="*/ 1110425 h 1849426"/>
                <a:gd name="connsiteX732" fmla="*/ 931260 w 6386648"/>
                <a:gd name="connsiteY732" fmla="*/ 1128450 h 1849426"/>
                <a:gd name="connsiteX733" fmla="*/ 913236 w 6386648"/>
                <a:gd name="connsiteY733" fmla="*/ 1110425 h 1849426"/>
                <a:gd name="connsiteX734" fmla="*/ 931260 w 6386648"/>
                <a:gd name="connsiteY734" fmla="*/ 1092401 h 1849426"/>
                <a:gd name="connsiteX735" fmla="*/ 4986752 w 6386648"/>
                <a:gd name="connsiteY735" fmla="*/ 1086393 h 1849426"/>
                <a:gd name="connsiteX736" fmla="*/ 5004777 w 6386648"/>
                <a:gd name="connsiteY736" fmla="*/ 1104417 h 1849426"/>
                <a:gd name="connsiteX737" fmla="*/ 4986752 w 6386648"/>
                <a:gd name="connsiteY737" fmla="*/ 1122442 h 1849426"/>
                <a:gd name="connsiteX738" fmla="*/ 4968728 w 6386648"/>
                <a:gd name="connsiteY738" fmla="*/ 1104417 h 1849426"/>
                <a:gd name="connsiteX739" fmla="*/ 4986752 w 6386648"/>
                <a:gd name="connsiteY739" fmla="*/ 1086393 h 1849426"/>
                <a:gd name="connsiteX740" fmla="*/ 3815165 w 6386648"/>
                <a:gd name="connsiteY740" fmla="*/ 1086393 h 1849426"/>
                <a:gd name="connsiteX741" fmla="*/ 3833190 w 6386648"/>
                <a:gd name="connsiteY741" fmla="*/ 1104417 h 1849426"/>
                <a:gd name="connsiteX742" fmla="*/ 3815165 w 6386648"/>
                <a:gd name="connsiteY742" fmla="*/ 1122442 h 1849426"/>
                <a:gd name="connsiteX743" fmla="*/ 3797141 w 6386648"/>
                <a:gd name="connsiteY743" fmla="*/ 1104417 h 1849426"/>
                <a:gd name="connsiteX744" fmla="*/ 3815165 w 6386648"/>
                <a:gd name="connsiteY744" fmla="*/ 1086393 h 1849426"/>
                <a:gd name="connsiteX745" fmla="*/ 3586856 w 6386648"/>
                <a:gd name="connsiteY745" fmla="*/ 1086393 h 1849426"/>
                <a:gd name="connsiteX746" fmla="*/ 3604881 w 6386648"/>
                <a:gd name="connsiteY746" fmla="*/ 1104417 h 1849426"/>
                <a:gd name="connsiteX747" fmla="*/ 3586856 w 6386648"/>
                <a:gd name="connsiteY747" fmla="*/ 1122442 h 1849426"/>
                <a:gd name="connsiteX748" fmla="*/ 3568831 w 6386648"/>
                <a:gd name="connsiteY748" fmla="*/ 1104417 h 1849426"/>
                <a:gd name="connsiteX749" fmla="*/ 3586856 w 6386648"/>
                <a:gd name="connsiteY749" fmla="*/ 1086393 h 1849426"/>
                <a:gd name="connsiteX750" fmla="*/ 3166287 w 6386648"/>
                <a:gd name="connsiteY750" fmla="*/ 1086393 h 1849426"/>
                <a:gd name="connsiteX751" fmla="*/ 3184312 w 6386648"/>
                <a:gd name="connsiteY751" fmla="*/ 1104417 h 1849426"/>
                <a:gd name="connsiteX752" fmla="*/ 3166287 w 6386648"/>
                <a:gd name="connsiteY752" fmla="*/ 1122442 h 1849426"/>
                <a:gd name="connsiteX753" fmla="*/ 3148262 w 6386648"/>
                <a:gd name="connsiteY753" fmla="*/ 1104417 h 1849426"/>
                <a:gd name="connsiteX754" fmla="*/ 3166287 w 6386648"/>
                <a:gd name="connsiteY754" fmla="*/ 1086393 h 1849426"/>
                <a:gd name="connsiteX755" fmla="*/ 2595514 w 6386648"/>
                <a:gd name="connsiteY755" fmla="*/ 1086393 h 1849426"/>
                <a:gd name="connsiteX756" fmla="*/ 2613539 w 6386648"/>
                <a:gd name="connsiteY756" fmla="*/ 1104417 h 1849426"/>
                <a:gd name="connsiteX757" fmla="*/ 2595514 w 6386648"/>
                <a:gd name="connsiteY757" fmla="*/ 1122442 h 1849426"/>
                <a:gd name="connsiteX758" fmla="*/ 2577489 w 6386648"/>
                <a:gd name="connsiteY758" fmla="*/ 1104417 h 1849426"/>
                <a:gd name="connsiteX759" fmla="*/ 2595514 w 6386648"/>
                <a:gd name="connsiteY759" fmla="*/ 1086393 h 1849426"/>
                <a:gd name="connsiteX760" fmla="*/ 1628204 w 6386648"/>
                <a:gd name="connsiteY760" fmla="*/ 1074377 h 1849426"/>
                <a:gd name="connsiteX761" fmla="*/ 1646229 w 6386648"/>
                <a:gd name="connsiteY761" fmla="*/ 1092401 h 1849426"/>
                <a:gd name="connsiteX762" fmla="*/ 1628204 w 6386648"/>
                <a:gd name="connsiteY762" fmla="*/ 1110426 h 1849426"/>
                <a:gd name="connsiteX763" fmla="*/ 1610180 w 6386648"/>
                <a:gd name="connsiteY763" fmla="*/ 1092401 h 1849426"/>
                <a:gd name="connsiteX764" fmla="*/ 1628204 w 6386648"/>
                <a:gd name="connsiteY764" fmla="*/ 1074377 h 1849426"/>
                <a:gd name="connsiteX765" fmla="*/ 642870 w 6386648"/>
                <a:gd name="connsiteY765" fmla="*/ 1074377 h 1849426"/>
                <a:gd name="connsiteX766" fmla="*/ 660895 w 6386648"/>
                <a:gd name="connsiteY766" fmla="*/ 1092401 h 1849426"/>
                <a:gd name="connsiteX767" fmla="*/ 642870 w 6386648"/>
                <a:gd name="connsiteY767" fmla="*/ 1110426 h 1849426"/>
                <a:gd name="connsiteX768" fmla="*/ 624846 w 6386648"/>
                <a:gd name="connsiteY768" fmla="*/ 1092401 h 1849426"/>
                <a:gd name="connsiteX769" fmla="*/ 642870 w 6386648"/>
                <a:gd name="connsiteY769" fmla="*/ 1074377 h 1849426"/>
                <a:gd name="connsiteX770" fmla="*/ 2925961 w 6386648"/>
                <a:gd name="connsiteY770" fmla="*/ 1068369 h 1849426"/>
                <a:gd name="connsiteX771" fmla="*/ 2943986 w 6386648"/>
                <a:gd name="connsiteY771" fmla="*/ 1086394 h 1849426"/>
                <a:gd name="connsiteX772" fmla="*/ 2925961 w 6386648"/>
                <a:gd name="connsiteY772" fmla="*/ 1104418 h 1849426"/>
                <a:gd name="connsiteX773" fmla="*/ 2907936 w 6386648"/>
                <a:gd name="connsiteY773" fmla="*/ 1086394 h 1849426"/>
                <a:gd name="connsiteX774" fmla="*/ 2925961 w 6386648"/>
                <a:gd name="connsiteY774" fmla="*/ 1068369 h 1849426"/>
                <a:gd name="connsiteX775" fmla="*/ 3424636 w 6386648"/>
                <a:gd name="connsiteY775" fmla="*/ 1062360 h 1849426"/>
                <a:gd name="connsiteX776" fmla="*/ 3442661 w 6386648"/>
                <a:gd name="connsiteY776" fmla="*/ 1080384 h 1849426"/>
                <a:gd name="connsiteX777" fmla="*/ 3424636 w 6386648"/>
                <a:gd name="connsiteY777" fmla="*/ 1098409 h 1849426"/>
                <a:gd name="connsiteX778" fmla="*/ 3406612 w 6386648"/>
                <a:gd name="connsiteY778" fmla="*/ 1080384 h 1849426"/>
                <a:gd name="connsiteX779" fmla="*/ 3424636 w 6386648"/>
                <a:gd name="connsiteY779" fmla="*/ 1062360 h 1849426"/>
                <a:gd name="connsiteX780" fmla="*/ 1249691 w 6386648"/>
                <a:gd name="connsiteY780" fmla="*/ 1062360 h 1849426"/>
                <a:gd name="connsiteX781" fmla="*/ 1267716 w 6386648"/>
                <a:gd name="connsiteY781" fmla="*/ 1080384 h 1849426"/>
                <a:gd name="connsiteX782" fmla="*/ 1249691 w 6386648"/>
                <a:gd name="connsiteY782" fmla="*/ 1098409 h 1849426"/>
                <a:gd name="connsiteX783" fmla="*/ 1231667 w 6386648"/>
                <a:gd name="connsiteY783" fmla="*/ 1080384 h 1849426"/>
                <a:gd name="connsiteX784" fmla="*/ 1249691 w 6386648"/>
                <a:gd name="connsiteY784" fmla="*/ 1062360 h 1849426"/>
                <a:gd name="connsiteX785" fmla="*/ 1075456 w 6386648"/>
                <a:gd name="connsiteY785" fmla="*/ 1062360 h 1849426"/>
                <a:gd name="connsiteX786" fmla="*/ 1093480 w 6386648"/>
                <a:gd name="connsiteY786" fmla="*/ 1080384 h 1849426"/>
                <a:gd name="connsiteX787" fmla="*/ 1075456 w 6386648"/>
                <a:gd name="connsiteY787" fmla="*/ 1098409 h 1849426"/>
                <a:gd name="connsiteX788" fmla="*/ 1057431 w 6386648"/>
                <a:gd name="connsiteY788" fmla="*/ 1080384 h 1849426"/>
                <a:gd name="connsiteX789" fmla="*/ 1075456 w 6386648"/>
                <a:gd name="connsiteY789" fmla="*/ 1062360 h 1849426"/>
                <a:gd name="connsiteX790" fmla="*/ 1928611 w 6386648"/>
                <a:gd name="connsiteY790" fmla="*/ 1056352 h 1849426"/>
                <a:gd name="connsiteX791" fmla="*/ 1946636 w 6386648"/>
                <a:gd name="connsiteY791" fmla="*/ 1074376 h 1849426"/>
                <a:gd name="connsiteX792" fmla="*/ 1928611 w 6386648"/>
                <a:gd name="connsiteY792" fmla="*/ 1092401 h 1849426"/>
                <a:gd name="connsiteX793" fmla="*/ 1910587 w 6386648"/>
                <a:gd name="connsiteY793" fmla="*/ 1074376 h 1849426"/>
                <a:gd name="connsiteX794" fmla="*/ 1928611 w 6386648"/>
                <a:gd name="connsiteY794" fmla="*/ 1056352 h 1849426"/>
                <a:gd name="connsiteX795" fmla="*/ 2709668 w 6386648"/>
                <a:gd name="connsiteY795" fmla="*/ 1044336 h 1849426"/>
                <a:gd name="connsiteX796" fmla="*/ 2727693 w 6386648"/>
                <a:gd name="connsiteY796" fmla="*/ 1062360 h 1849426"/>
                <a:gd name="connsiteX797" fmla="*/ 2709668 w 6386648"/>
                <a:gd name="connsiteY797" fmla="*/ 1080385 h 1849426"/>
                <a:gd name="connsiteX798" fmla="*/ 2691644 w 6386648"/>
                <a:gd name="connsiteY798" fmla="*/ 1062360 h 1849426"/>
                <a:gd name="connsiteX799" fmla="*/ 2709668 w 6386648"/>
                <a:gd name="connsiteY799" fmla="*/ 1044336 h 1849426"/>
                <a:gd name="connsiteX800" fmla="*/ 1784415 w 6386648"/>
                <a:gd name="connsiteY800" fmla="*/ 1044336 h 1849426"/>
                <a:gd name="connsiteX801" fmla="*/ 1802440 w 6386648"/>
                <a:gd name="connsiteY801" fmla="*/ 1062360 h 1849426"/>
                <a:gd name="connsiteX802" fmla="*/ 1784415 w 6386648"/>
                <a:gd name="connsiteY802" fmla="*/ 1080385 h 1849426"/>
                <a:gd name="connsiteX803" fmla="*/ 1766391 w 6386648"/>
                <a:gd name="connsiteY803" fmla="*/ 1062360 h 1849426"/>
                <a:gd name="connsiteX804" fmla="*/ 1784415 w 6386648"/>
                <a:gd name="connsiteY804" fmla="*/ 1044336 h 1849426"/>
                <a:gd name="connsiteX805" fmla="*/ 3292457 w 6386648"/>
                <a:gd name="connsiteY805" fmla="*/ 1038328 h 1849426"/>
                <a:gd name="connsiteX806" fmla="*/ 3310482 w 6386648"/>
                <a:gd name="connsiteY806" fmla="*/ 1056353 h 1849426"/>
                <a:gd name="connsiteX807" fmla="*/ 3292457 w 6386648"/>
                <a:gd name="connsiteY807" fmla="*/ 1074377 h 1849426"/>
                <a:gd name="connsiteX808" fmla="*/ 3274433 w 6386648"/>
                <a:gd name="connsiteY808" fmla="*/ 1056353 h 1849426"/>
                <a:gd name="connsiteX809" fmla="*/ 3292457 w 6386648"/>
                <a:gd name="connsiteY809" fmla="*/ 1038328 h 1849426"/>
                <a:gd name="connsiteX810" fmla="*/ 2198977 w 6386648"/>
                <a:gd name="connsiteY810" fmla="*/ 1038328 h 1849426"/>
                <a:gd name="connsiteX811" fmla="*/ 2217002 w 6386648"/>
                <a:gd name="connsiteY811" fmla="*/ 1056353 h 1849426"/>
                <a:gd name="connsiteX812" fmla="*/ 2198977 w 6386648"/>
                <a:gd name="connsiteY812" fmla="*/ 1074377 h 1849426"/>
                <a:gd name="connsiteX813" fmla="*/ 2180953 w 6386648"/>
                <a:gd name="connsiteY813" fmla="*/ 1056353 h 1849426"/>
                <a:gd name="connsiteX814" fmla="*/ 2198977 w 6386648"/>
                <a:gd name="connsiteY814" fmla="*/ 1038328 h 1849426"/>
                <a:gd name="connsiteX815" fmla="*/ 2078814 w 6386648"/>
                <a:gd name="connsiteY815" fmla="*/ 1032320 h 1849426"/>
                <a:gd name="connsiteX816" fmla="*/ 2096839 w 6386648"/>
                <a:gd name="connsiteY816" fmla="*/ 1050344 h 1849426"/>
                <a:gd name="connsiteX817" fmla="*/ 2078814 w 6386648"/>
                <a:gd name="connsiteY817" fmla="*/ 1068369 h 1849426"/>
                <a:gd name="connsiteX818" fmla="*/ 2060790 w 6386648"/>
                <a:gd name="connsiteY818" fmla="*/ 1050344 h 1849426"/>
                <a:gd name="connsiteX819" fmla="*/ 2078814 w 6386648"/>
                <a:gd name="connsiteY819" fmla="*/ 1032320 h 1849426"/>
                <a:gd name="connsiteX820" fmla="*/ 3983393 w 6386648"/>
                <a:gd name="connsiteY820" fmla="*/ 1026312 h 1849426"/>
                <a:gd name="connsiteX821" fmla="*/ 4001418 w 6386648"/>
                <a:gd name="connsiteY821" fmla="*/ 1044336 h 1849426"/>
                <a:gd name="connsiteX822" fmla="*/ 3983393 w 6386648"/>
                <a:gd name="connsiteY822" fmla="*/ 1062361 h 1849426"/>
                <a:gd name="connsiteX823" fmla="*/ 3965369 w 6386648"/>
                <a:gd name="connsiteY823" fmla="*/ 1044336 h 1849426"/>
                <a:gd name="connsiteX824" fmla="*/ 3983393 w 6386648"/>
                <a:gd name="connsiteY824" fmla="*/ 1026312 h 1849426"/>
                <a:gd name="connsiteX825" fmla="*/ 817106 w 6386648"/>
                <a:gd name="connsiteY825" fmla="*/ 1020304 h 1849426"/>
                <a:gd name="connsiteX826" fmla="*/ 829123 w 6386648"/>
                <a:gd name="connsiteY826" fmla="*/ 1032320 h 1849426"/>
                <a:gd name="connsiteX827" fmla="*/ 817106 w 6386648"/>
                <a:gd name="connsiteY827" fmla="*/ 1044336 h 1849426"/>
                <a:gd name="connsiteX828" fmla="*/ 805090 w 6386648"/>
                <a:gd name="connsiteY828" fmla="*/ 1032320 h 1849426"/>
                <a:gd name="connsiteX829" fmla="*/ 817106 w 6386648"/>
                <a:gd name="connsiteY829" fmla="*/ 1020304 h 1849426"/>
                <a:gd name="connsiteX830" fmla="*/ 2817815 w 6386648"/>
                <a:gd name="connsiteY830" fmla="*/ 1014295 h 1849426"/>
                <a:gd name="connsiteX831" fmla="*/ 2835840 w 6386648"/>
                <a:gd name="connsiteY831" fmla="*/ 1032319 h 1849426"/>
                <a:gd name="connsiteX832" fmla="*/ 2817815 w 6386648"/>
                <a:gd name="connsiteY832" fmla="*/ 1050344 h 1849426"/>
                <a:gd name="connsiteX833" fmla="*/ 2799791 w 6386648"/>
                <a:gd name="connsiteY833" fmla="*/ 1032319 h 1849426"/>
                <a:gd name="connsiteX834" fmla="*/ 2817815 w 6386648"/>
                <a:gd name="connsiteY834" fmla="*/ 1014295 h 1849426"/>
                <a:gd name="connsiteX835" fmla="*/ 2445310 w 6386648"/>
                <a:gd name="connsiteY835" fmla="*/ 1014295 h 1849426"/>
                <a:gd name="connsiteX836" fmla="*/ 2463335 w 6386648"/>
                <a:gd name="connsiteY836" fmla="*/ 1032319 h 1849426"/>
                <a:gd name="connsiteX837" fmla="*/ 2445310 w 6386648"/>
                <a:gd name="connsiteY837" fmla="*/ 1050344 h 1849426"/>
                <a:gd name="connsiteX838" fmla="*/ 2427285 w 6386648"/>
                <a:gd name="connsiteY838" fmla="*/ 1032319 h 1849426"/>
                <a:gd name="connsiteX839" fmla="*/ 2445310 w 6386648"/>
                <a:gd name="connsiteY839" fmla="*/ 1014295 h 1849426"/>
                <a:gd name="connsiteX840" fmla="*/ 420569 w 6386648"/>
                <a:gd name="connsiteY840" fmla="*/ 1014295 h 1849426"/>
                <a:gd name="connsiteX841" fmla="*/ 438594 w 6386648"/>
                <a:gd name="connsiteY841" fmla="*/ 1032319 h 1849426"/>
                <a:gd name="connsiteX842" fmla="*/ 420569 w 6386648"/>
                <a:gd name="connsiteY842" fmla="*/ 1050344 h 1849426"/>
                <a:gd name="connsiteX843" fmla="*/ 402545 w 6386648"/>
                <a:gd name="connsiteY843" fmla="*/ 1032319 h 1849426"/>
                <a:gd name="connsiteX844" fmla="*/ 420569 w 6386648"/>
                <a:gd name="connsiteY844" fmla="*/ 1014295 h 1849426"/>
                <a:gd name="connsiteX845" fmla="*/ 1520057 w 6386648"/>
                <a:gd name="connsiteY845" fmla="*/ 1008287 h 1849426"/>
                <a:gd name="connsiteX846" fmla="*/ 1538082 w 6386648"/>
                <a:gd name="connsiteY846" fmla="*/ 1026312 h 1849426"/>
                <a:gd name="connsiteX847" fmla="*/ 1520057 w 6386648"/>
                <a:gd name="connsiteY847" fmla="*/ 1044336 h 1849426"/>
                <a:gd name="connsiteX848" fmla="*/ 1502033 w 6386648"/>
                <a:gd name="connsiteY848" fmla="*/ 1026312 h 1849426"/>
                <a:gd name="connsiteX849" fmla="*/ 1520057 w 6386648"/>
                <a:gd name="connsiteY849" fmla="*/ 1008287 h 1849426"/>
                <a:gd name="connsiteX850" fmla="*/ 1387878 w 6386648"/>
                <a:gd name="connsiteY850" fmla="*/ 1008287 h 1849426"/>
                <a:gd name="connsiteX851" fmla="*/ 1405903 w 6386648"/>
                <a:gd name="connsiteY851" fmla="*/ 1026312 h 1849426"/>
                <a:gd name="connsiteX852" fmla="*/ 1387878 w 6386648"/>
                <a:gd name="connsiteY852" fmla="*/ 1044336 h 1849426"/>
                <a:gd name="connsiteX853" fmla="*/ 1369854 w 6386648"/>
                <a:gd name="connsiteY853" fmla="*/ 1026312 h 1849426"/>
                <a:gd name="connsiteX854" fmla="*/ 1387878 w 6386648"/>
                <a:gd name="connsiteY854" fmla="*/ 1008287 h 1849426"/>
                <a:gd name="connsiteX855" fmla="*/ 534724 w 6386648"/>
                <a:gd name="connsiteY855" fmla="*/ 1008287 h 1849426"/>
                <a:gd name="connsiteX856" fmla="*/ 552748 w 6386648"/>
                <a:gd name="connsiteY856" fmla="*/ 1026312 h 1849426"/>
                <a:gd name="connsiteX857" fmla="*/ 534724 w 6386648"/>
                <a:gd name="connsiteY857" fmla="*/ 1044336 h 1849426"/>
                <a:gd name="connsiteX858" fmla="*/ 516699 w 6386648"/>
                <a:gd name="connsiteY858" fmla="*/ 1026312 h 1849426"/>
                <a:gd name="connsiteX859" fmla="*/ 534724 w 6386648"/>
                <a:gd name="connsiteY859" fmla="*/ 1008287 h 1849426"/>
                <a:gd name="connsiteX860" fmla="*/ 3016083 w 6386648"/>
                <a:gd name="connsiteY860" fmla="*/ 1002279 h 1849426"/>
                <a:gd name="connsiteX861" fmla="*/ 3034108 w 6386648"/>
                <a:gd name="connsiteY861" fmla="*/ 1020303 h 1849426"/>
                <a:gd name="connsiteX862" fmla="*/ 3016083 w 6386648"/>
                <a:gd name="connsiteY862" fmla="*/ 1038328 h 1849426"/>
                <a:gd name="connsiteX863" fmla="*/ 2998058 w 6386648"/>
                <a:gd name="connsiteY863" fmla="*/ 1020303 h 1849426"/>
                <a:gd name="connsiteX864" fmla="*/ 3016083 w 6386648"/>
                <a:gd name="connsiteY864" fmla="*/ 1002279 h 1849426"/>
                <a:gd name="connsiteX865" fmla="*/ 294398 w 6386648"/>
                <a:gd name="connsiteY865" fmla="*/ 996271 h 1849426"/>
                <a:gd name="connsiteX866" fmla="*/ 312423 w 6386648"/>
                <a:gd name="connsiteY866" fmla="*/ 1014295 h 1849426"/>
                <a:gd name="connsiteX867" fmla="*/ 294398 w 6386648"/>
                <a:gd name="connsiteY867" fmla="*/ 1032320 h 1849426"/>
                <a:gd name="connsiteX868" fmla="*/ 276374 w 6386648"/>
                <a:gd name="connsiteY868" fmla="*/ 1014295 h 1849426"/>
                <a:gd name="connsiteX869" fmla="*/ 294398 w 6386648"/>
                <a:gd name="connsiteY869" fmla="*/ 996271 h 1849426"/>
                <a:gd name="connsiteX870" fmla="*/ 3676978 w 6386648"/>
                <a:gd name="connsiteY870" fmla="*/ 990263 h 1849426"/>
                <a:gd name="connsiteX871" fmla="*/ 3695003 w 6386648"/>
                <a:gd name="connsiteY871" fmla="*/ 1008287 h 1849426"/>
                <a:gd name="connsiteX872" fmla="*/ 3676978 w 6386648"/>
                <a:gd name="connsiteY872" fmla="*/ 1026312 h 1849426"/>
                <a:gd name="connsiteX873" fmla="*/ 3658953 w 6386648"/>
                <a:gd name="connsiteY873" fmla="*/ 1008287 h 1849426"/>
                <a:gd name="connsiteX874" fmla="*/ 3676978 w 6386648"/>
                <a:gd name="connsiteY874" fmla="*/ 990263 h 1849426"/>
                <a:gd name="connsiteX875" fmla="*/ 3544799 w 6386648"/>
                <a:gd name="connsiteY875" fmla="*/ 984255 h 1849426"/>
                <a:gd name="connsiteX876" fmla="*/ 3562824 w 6386648"/>
                <a:gd name="connsiteY876" fmla="*/ 1002279 h 1849426"/>
                <a:gd name="connsiteX877" fmla="*/ 3544799 w 6386648"/>
                <a:gd name="connsiteY877" fmla="*/ 1020304 h 1849426"/>
                <a:gd name="connsiteX878" fmla="*/ 3526775 w 6386648"/>
                <a:gd name="connsiteY878" fmla="*/ 1002279 h 1849426"/>
                <a:gd name="connsiteX879" fmla="*/ 3544799 w 6386648"/>
                <a:gd name="connsiteY879" fmla="*/ 984255 h 1849426"/>
                <a:gd name="connsiteX880" fmla="*/ 708959 w 6386648"/>
                <a:gd name="connsiteY880" fmla="*/ 984255 h 1849426"/>
                <a:gd name="connsiteX881" fmla="*/ 726984 w 6386648"/>
                <a:gd name="connsiteY881" fmla="*/ 1002279 h 1849426"/>
                <a:gd name="connsiteX882" fmla="*/ 708959 w 6386648"/>
                <a:gd name="connsiteY882" fmla="*/ 1020304 h 1849426"/>
                <a:gd name="connsiteX883" fmla="*/ 690935 w 6386648"/>
                <a:gd name="connsiteY883" fmla="*/ 1002279 h 1849426"/>
                <a:gd name="connsiteX884" fmla="*/ 708959 w 6386648"/>
                <a:gd name="connsiteY884" fmla="*/ 984255 h 1849426"/>
                <a:gd name="connsiteX885" fmla="*/ 3803149 w 6386648"/>
                <a:gd name="connsiteY885" fmla="*/ 978247 h 1849426"/>
                <a:gd name="connsiteX886" fmla="*/ 3821174 w 6386648"/>
                <a:gd name="connsiteY886" fmla="*/ 996272 h 1849426"/>
                <a:gd name="connsiteX887" fmla="*/ 3803149 w 6386648"/>
                <a:gd name="connsiteY887" fmla="*/ 1014296 h 1849426"/>
                <a:gd name="connsiteX888" fmla="*/ 3785125 w 6386648"/>
                <a:gd name="connsiteY888" fmla="*/ 996272 h 1849426"/>
                <a:gd name="connsiteX889" fmla="*/ 3803149 w 6386648"/>
                <a:gd name="connsiteY889" fmla="*/ 978247 h 1849426"/>
                <a:gd name="connsiteX890" fmla="*/ 1003358 w 6386648"/>
                <a:gd name="connsiteY890" fmla="*/ 978247 h 1849426"/>
                <a:gd name="connsiteX891" fmla="*/ 1021383 w 6386648"/>
                <a:gd name="connsiteY891" fmla="*/ 996272 h 1849426"/>
                <a:gd name="connsiteX892" fmla="*/ 1003358 w 6386648"/>
                <a:gd name="connsiteY892" fmla="*/ 1014296 h 1849426"/>
                <a:gd name="connsiteX893" fmla="*/ 985334 w 6386648"/>
                <a:gd name="connsiteY893" fmla="*/ 996272 h 1849426"/>
                <a:gd name="connsiteX894" fmla="*/ 1003358 w 6386648"/>
                <a:gd name="connsiteY894" fmla="*/ 978247 h 1849426"/>
                <a:gd name="connsiteX895" fmla="*/ 3196327 w 6386648"/>
                <a:gd name="connsiteY895" fmla="*/ 972238 h 1849426"/>
                <a:gd name="connsiteX896" fmla="*/ 3214352 w 6386648"/>
                <a:gd name="connsiteY896" fmla="*/ 990262 h 1849426"/>
                <a:gd name="connsiteX897" fmla="*/ 3196327 w 6386648"/>
                <a:gd name="connsiteY897" fmla="*/ 1008287 h 1849426"/>
                <a:gd name="connsiteX898" fmla="*/ 3178302 w 6386648"/>
                <a:gd name="connsiteY898" fmla="*/ 990262 h 1849426"/>
                <a:gd name="connsiteX899" fmla="*/ 3196327 w 6386648"/>
                <a:gd name="connsiteY899" fmla="*/ 972238 h 1849426"/>
                <a:gd name="connsiteX900" fmla="*/ 1183602 w 6386648"/>
                <a:gd name="connsiteY900" fmla="*/ 972238 h 1849426"/>
                <a:gd name="connsiteX901" fmla="*/ 1201627 w 6386648"/>
                <a:gd name="connsiteY901" fmla="*/ 990262 h 1849426"/>
                <a:gd name="connsiteX902" fmla="*/ 1183602 w 6386648"/>
                <a:gd name="connsiteY902" fmla="*/ 1008287 h 1849426"/>
                <a:gd name="connsiteX903" fmla="*/ 1165578 w 6386648"/>
                <a:gd name="connsiteY903" fmla="*/ 990262 h 1849426"/>
                <a:gd name="connsiteX904" fmla="*/ 1183602 w 6386648"/>
                <a:gd name="connsiteY904" fmla="*/ 972238 h 1849426"/>
                <a:gd name="connsiteX905" fmla="*/ 2271074 w 6386648"/>
                <a:gd name="connsiteY905" fmla="*/ 960222 h 1849426"/>
                <a:gd name="connsiteX906" fmla="*/ 2289099 w 6386648"/>
                <a:gd name="connsiteY906" fmla="*/ 978246 h 1849426"/>
                <a:gd name="connsiteX907" fmla="*/ 2271074 w 6386648"/>
                <a:gd name="connsiteY907" fmla="*/ 996271 h 1849426"/>
                <a:gd name="connsiteX908" fmla="*/ 2253050 w 6386648"/>
                <a:gd name="connsiteY908" fmla="*/ 978246 h 1849426"/>
                <a:gd name="connsiteX909" fmla="*/ 2271074 w 6386648"/>
                <a:gd name="connsiteY909" fmla="*/ 960222 h 1849426"/>
                <a:gd name="connsiteX910" fmla="*/ 1658245 w 6386648"/>
                <a:gd name="connsiteY910" fmla="*/ 960222 h 1849426"/>
                <a:gd name="connsiteX911" fmla="*/ 1676270 w 6386648"/>
                <a:gd name="connsiteY911" fmla="*/ 978246 h 1849426"/>
                <a:gd name="connsiteX912" fmla="*/ 1658245 w 6386648"/>
                <a:gd name="connsiteY912" fmla="*/ 996271 h 1849426"/>
                <a:gd name="connsiteX913" fmla="*/ 1640221 w 6386648"/>
                <a:gd name="connsiteY913" fmla="*/ 978246 h 1849426"/>
                <a:gd name="connsiteX914" fmla="*/ 1658245 w 6386648"/>
                <a:gd name="connsiteY914" fmla="*/ 960222 h 1849426"/>
                <a:gd name="connsiteX915" fmla="*/ 1958651 w 6386648"/>
                <a:gd name="connsiteY915" fmla="*/ 954214 h 1849426"/>
                <a:gd name="connsiteX916" fmla="*/ 1976676 w 6386648"/>
                <a:gd name="connsiteY916" fmla="*/ 972238 h 1849426"/>
                <a:gd name="connsiteX917" fmla="*/ 1958651 w 6386648"/>
                <a:gd name="connsiteY917" fmla="*/ 990263 h 1849426"/>
                <a:gd name="connsiteX918" fmla="*/ 1940627 w 6386648"/>
                <a:gd name="connsiteY918" fmla="*/ 972238 h 1849426"/>
                <a:gd name="connsiteX919" fmla="*/ 1958651 w 6386648"/>
                <a:gd name="connsiteY919" fmla="*/ 954214 h 1849426"/>
                <a:gd name="connsiteX920" fmla="*/ 2631562 w 6386648"/>
                <a:gd name="connsiteY920" fmla="*/ 948206 h 1849426"/>
                <a:gd name="connsiteX921" fmla="*/ 2649587 w 6386648"/>
                <a:gd name="connsiteY921" fmla="*/ 966231 h 1849426"/>
                <a:gd name="connsiteX922" fmla="*/ 2631562 w 6386648"/>
                <a:gd name="connsiteY922" fmla="*/ 984255 h 1849426"/>
                <a:gd name="connsiteX923" fmla="*/ 2613538 w 6386648"/>
                <a:gd name="connsiteY923" fmla="*/ 966231 h 1849426"/>
                <a:gd name="connsiteX924" fmla="*/ 2631562 w 6386648"/>
                <a:gd name="connsiteY924" fmla="*/ 948206 h 1849426"/>
                <a:gd name="connsiteX925" fmla="*/ 1838489 w 6386648"/>
                <a:gd name="connsiteY925" fmla="*/ 948206 h 1849426"/>
                <a:gd name="connsiteX926" fmla="*/ 1856514 w 6386648"/>
                <a:gd name="connsiteY926" fmla="*/ 966231 h 1849426"/>
                <a:gd name="connsiteX927" fmla="*/ 1838489 w 6386648"/>
                <a:gd name="connsiteY927" fmla="*/ 984255 h 1849426"/>
                <a:gd name="connsiteX928" fmla="*/ 1820465 w 6386648"/>
                <a:gd name="connsiteY928" fmla="*/ 966231 h 1849426"/>
                <a:gd name="connsiteX929" fmla="*/ 1838489 w 6386648"/>
                <a:gd name="connsiteY929" fmla="*/ 948206 h 1849426"/>
                <a:gd name="connsiteX930" fmla="*/ 3430644 w 6386648"/>
                <a:gd name="connsiteY930" fmla="*/ 942198 h 1849426"/>
                <a:gd name="connsiteX931" fmla="*/ 3448669 w 6386648"/>
                <a:gd name="connsiteY931" fmla="*/ 960222 h 1849426"/>
                <a:gd name="connsiteX932" fmla="*/ 3430644 w 6386648"/>
                <a:gd name="connsiteY932" fmla="*/ 978247 h 1849426"/>
                <a:gd name="connsiteX933" fmla="*/ 3412620 w 6386648"/>
                <a:gd name="connsiteY933" fmla="*/ 960222 h 1849426"/>
                <a:gd name="connsiteX934" fmla="*/ 3430644 w 6386648"/>
                <a:gd name="connsiteY934" fmla="*/ 942198 h 1849426"/>
                <a:gd name="connsiteX935" fmla="*/ 2529424 w 6386648"/>
                <a:gd name="connsiteY935" fmla="*/ 942198 h 1849426"/>
                <a:gd name="connsiteX936" fmla="*/ 2547449 w 6386648"/>
                <a:gd name="connsiteY936" fmla="*/ 960222 h 1849426"/>
                <a:gd name="connsiteX937" fmla="*/ 2529424 w 6386648"/>
                <a:gd name="connsiteY937" fmla="*/ 978247 h 1849426"/>
                <a:gd name="connsiteX938" fmla="*/ 2511400 w 6386648"/>
                <a:gd name="connsiteY938" fmla="*/ 960222 h 1849426"/>
                <a:gd name="connsiteX939" fmla="*/ 2529424 w 6386648"/>
                <a:gd name="connsiteY939" fmla="*/ 942198 h 1849426"/>
                <a:gd name="connsiteX940" fmla="*/ 889203 w 6386648"/>
                <a:gd name="connsiteY940" fmla="*/ 942198 h 1849426"/>
                <a:gd name="connsiteX941" fmla="*/ 907228 w 6386648"/>
                <a:gd name="connsiteY941" fmla="*/ 960222 h 1849426"/>
                <a:gd name="connsiteX942" fmla="*/ 889203 w 6386648"/>
                <a:gd name="connsiteY942" fmla="*/ 978247 h 1849426"/>
                <a:gd name="connsiteX943" fmla="*/ 871179 w 6386648"/>
                <a:gd name="connsiteY943" fmla="*/ 960222 h 1849426"/>
                <a:gd name="connsiteX944" fmla="*/ 889203 w 6386648"/>
                <a:gd name="connsiteY944" fmla="*/ 942198 h 1849426"/>
                <a:gd name="connsiteX945" fmla="*/ 3935328 w 6386648"/>
                <a:gd name="connsiteY945" fmla="*/ 936190 h 1849426"/>
                <a:gd name="connsiteX946" fmla="*/ 3953353 w 6386648"/>
                <a:gd name="connsiteY946" fmla="*/ 954214 h 1849426"/>
                <a:gd name="connsiteX947" fmla="*/ 3935328 w 6386648"/>
                <a:gd name="connsiteY947" fmla="*/ 972239 h 1849426"/>
                <a:gd name="connsiteX948" fmla="*/ 3917304 w 6386648"/>
                <a:gd name="connsiteY948" fmla="*/ 954214 h 1849426"/>
                <a:gd name="connsiteX949" fmla="*/ 3935328 w 6386648"/>
                <a:gd name="connsiteY949" fmla="*/ 936190 h 1849426"/>
                <a:gd name="connsiteX950" fmla="*/ 1303765 w 6386648"/>
                <a:gd name="connsiteY950" fmla="*/ 936190 h 1849426"/>
                <a:gd name="connsiteX951" fmla="*/ 1321790 w 6386648"/>
                <a:gd name="connsiteY951" fmla="*/ 954214 h 1849426"/>
                <a:gd name="connsiteX952" fmla="*/ 1303765 w 6386648"/>
                <a:gd name="connsiteY952" fmla="*/ 972239 h 1849426"/>
                <a:gd name="connsiteX953" fmla="*/ 1285741 w 6386648"/>
                <a:gd name="connsiteY953" fmla="*/ 954214 h 1849426"/>
                <a:gd name="connsiteX954" fmla="*/ 1303765 w 6386648"/>
                <a:gd name="connsiteY954" fmla="*/ 936190 h 1849426"/>
                <a:gd name="connsiteX955" fmla="*/ 600813 w 6386648"/>
                <a:gd name="connsiteY955" fmla="*/ 924173 h 1849426"/>
                <a:gd name="connsiteX956" fmla="*/ 618838 w 6386648"/>
                <a:gd name="connsiteY956" fmla="*/ 942197 h 1849426"/>
                <a:gd name="connsiteX957" fmla="*/ 600813 w 6386648"/>
                <a:gd name="connsiteY957" fmla="*/ 960222 h 1849426"/>
                <a:gd name="connsiteX958" fmla="*/ 582789 w 6386648"/>
                <a:gd name="connsiteY958" fmla="*/ 942197 h 1849426"/>
                <a:gd name="connsiteX959" fmla="*/ 600813 w 6386648"/>
                <a:gd name="connsiteY959" fmla="*/ 924173 h 1849426"/>
                <a:gd name="connsiteX960" fmla="*/ 3088181 w 6386648"/>
                <a:gd name="connsiteY960" fmla="*/ 918165 h 1849426"/>
                <a:gd name="connsiteX961" fmla="*/ 3106206 w 6386648"/>
                <a:gd name="connsiteY961" fmla="*/ 936190 h 1849426"/>
                <a:gd name="connsiteX962" fmla="*/ 3088181 w 6386648"/>
                <a:gd name="connsiteY962" fmla="*/ 954214 h 1849426"/>
                <a:gd name="connsiteX963" fmla="*/ 3070157 w 6386648"/>
                <a:gd name="connsiteY963" fmla="*/ 936190 h 1849426"/>
                <a:gd name="connsiteX964" fmla="*/ 3088181 w 6386648"/>
                <a:gd name="connsiteY964" fmla="*/ 918165 h 1849426"/>
                <a:gd name="connsiteX965" fmla="*/ 2883904 w 6386648"/>
                <a:gd name="connsiteY965" fmla="*/ 918165 h 1849426"/>
                <a:gd name="connsiteX966" fmla="*/ 2901929 w 6386648"/>
                <a:gd name="connsiteY966" fmla="*/ 936190 h 1849426"/>
                <a:gd name="connsiteX967" fmla="*/ 2883904 w 6386648"/>
                <a:gd name="connsiteY967" fmla="*/ 954214 h 1849426"/>
                <a:gd name="connsiteX968" fmla="*/ 2865880 w 6386648"/>
                <a:gd name="connsiteY968" fmla="*/ 936190 h 1849426"/>
                <a:gd name="connsiteX969" fmla="*/ 2883904 w 6386648"/>
                <a:gd name="connsiteY969" fmla="*/ 918165 h 1849426"/>
                <a:gd name="connsiteX970" fmla="*/ 2379221 w 6386648"/>
                <a:gd name="connsiteY970" fmla="*/ 918165 h 1849426"/>
                <a:gd name="connsiteX971" fmla="*/ 2397246 w 6386648"/>
                <a:gd name="connsiteY971" fmla="*/ 936190 h 1849426"/>
                <a:gd name="connsiteX972" fmla="*/ 2379221 w 6386648"/>
                <a:gd name="connsiteY972" fmla="*/ 954214 h 1849426"/>
                <a:gd name="connsiteX973" fmla="*/ 2361197 w 6386648"/>
                <a:gd name="connsiteY973" fmla="*/ 936190 h 1849426"/>
                <a:gd name="connsiteX974" fmla="*/ 2379221 w 6386648"/>
                <a:gd name="connsiteY974" fmla="*/ 918165 h 1849426"/>
                <a:gd name="connsiteX975" fmla="*/ 2120871 w 6386648"/>
                <a:gd name="connsiteY975" fmla="*/ 918165 h 1849426"/>
                <a:gd name="connsiteX976" fmla="*/ 2138896 w 6386648"/>
                <a:gd name="connsiteY976" fmla="*/ 936190 h 1849426"/>
                <a:gd name="connsiteX977" fmla="*/ 2120871 w 6386648"/>
                <a:gd name="connsiteY977" fmla="*/ 954214 h 1849426"/>
                <a:gd name="connsiteX978" fmla="*/ 2102847 w 6386648"/>
                <a:gd name="connsiteY978" fmla="*/ 936190 h 1849426"/>
                <a:gd name="connsiteX979" fmla="*/ 2120871 w 6386648"/>
                <a:gd name="connsiteY979" fmla="*/ 918165 h 1849426"/>
                <a:gd name="connsiteX980" fmla="*/ 3328506 w 6386648"/>
                <a:gd name="connsiteY980" fmla="*/ 906149 h 1849426"/>
                <a:gd name="connsiteX981" fmla="*/ 3346531 w 6386648"/>
                <a:gd name="connsiteY981" fmla="*/ 924173 h 1849426"/>
                <a:gd name="connsiteX982" fmla="*/ 3328506 w 6386648"/>
                <a:gd name="connsiteY982" fmla="*/ 942198 h 1849426"/>
                <a:gd name="connsiteX983" fmla="*/ 3310482 w 6386648"/>
                <a:gd name="connsiteY983" fmla="*/ 924173 h 1849426"/>
                <a:gd name="connsiteX984" fmla="*/ 3328506 w 6386648"/>
                <a:gd name="connsiteY984" fmla="*/ 906149 h 1849426"/>
                <a:gd name="connsiteX985" fmla="*/ 1508041 w 6386648"/>
                <a:gd name="connsiteY985" fmla="*/ 900141 h 1849426"/>
                <a:gd name="connsiteX986" fmla="*/ 1526066 w 6386648"/>
                <a:gd name="connsiteY986" fmla="*/ 918165 h 1849426"/>
                <a:gd name="connsiteX987" fmla="*/ 1508041 w 6386648"/>
                <a:gd name="connsiteY987" fmla="*/ 936190 h 1849426"/>
                <a:gd name="connsiteX988" fmla="*/ 1490017 w 6386648"/>
                <a:gd name="connsiteY988" fmla="*/ 918165 h 1849426"/>
                <a:gd name="connsiteX989" fmla="*/ 1508041 w 6386648"/>
                <a:gd name="connsiteY989" fmla="*/ 900141 h 1849426"/>
                <a:gd name="connsiteX990" fmla="*/ 2739709 w 6386648"/>
                <a:gd name="connsiteY990" fmla="*/ 894133 h 1849426"/>
                <a:gd name="connsiteX991" fmla="*/ 2757734 w 6386648"/>
                <a:gd name="connsiteY991" fmla="*/ 912157 h 1849426"/>
                <a:gd name="connsiteX992" fmla="*/ 2739709 w 6386648"/>
                <a:gd name="connsiteY992" fmla="*/ 930182 h 1849426"/>
                <a:gd name="connsiteX993" fmla="*/ 2721685 w 6386648"/>
                <a:gd name="connsiteY993" fmla="*/ 912157 h 1849426"/>
                <a:gd name="connsiteX994" fmla="*/ 2739709 w 6386648"/>
                <a:gd name="connsiteY994" fmla="*/ 894133 h 1849426"/>
                <a:gd name="connsiteX995" fmla="*/ 360487 w 6386648"/>
                <a:gd name="connsiteY995" fmla="*/ 894133 h 1849426"/>
                <a:gd name="connsiteX996" fmla="*/ 378512 w 6386648"/>
                <a:gd name="connsiteY996" fmla="*/ 912157 h 1849426"/>
                <a:gd name="connsiteX997" fmla="*/ 360487 w 6386648"/>
                <a:gd name="connsiteY997" fmla="*/ 930182 h 1849426"/>
                <a:gd name="connsiteX998" fmla="*/ 342463 w 6386648"/>
                <a:gd name="connsiteY998" fmla="*/ 912157 h 1849426"/>
                <a:gd name="connsiteX999" fmla="*/ 360487 w 6386648"/>
                <a:gd name="connsiteY999" fmla="*/ 894133 h 1849426"/>
                <a:gd name="connsiteX1000" fmla="*/ 1093480 w 6386648"/>
                <a:gd name="connsiteY1000" fmla="*/ 888125 h 1849426"/>
                <a:gd name="connsiteX1001" fmla="*/ 1111505 w 6386648"/>
                <a:gd name="connsiteY1001" fmla="*/ 906150 h 1849426"/>
                <a:gd name="connsiteX1002" fmla="*/ 1093480 w 6386648"/>
                <a:gd name="connsiteY1002" fmla="*/ 924174 h 1849426"/>
                <a:gd name="connsiteX1003" fmla="*/ 1075456 w 6386648"/>
                <a:gd name="connsiteY1003" fmla="*/ 906150 h 1849426"/>
                <a:gd name="connsiteX1004" fmla="*/ 1093480 w 6386648"/>
                <a:gd name="connsiteY1004" fmla="*/ 888125 h 1849426"/>
                <a:gd name="connsiteX1005" fmla="*/ 3707019 w 6386648"/>
                <a:gd name="connsiteY1005" fmla="*/ 882116 h 1849426"/>
                <a:gd name="connsiteX1006" fmla="*/ 3725044 w 6386648"/>
                <a:gd name="connsiteY1006" fmla="*/ 900140 h 1849426"/>
                <a:gd name="connsiteX1007" fmla="*/ 3707019 w 6386648"/>
                <a:gd name="connsiteY1007" fmla="*/ 918165 h 1849426"/>
                <a:gd name="connsiteX1008" fmla="*/ 3688994 w 6386648"/>
                <a:gd name="connsiteY1008" fmla="*/ 900140 h 1849426"/>
                <a:gd name="connsiteX1009" fmla="*/ 3707019 w 6386648"/>
                <a:gd name="connsiteY1009" fmla="*/ 882116 h 1849426"/>
                <a:gd name="connsiteX1010" fmla="*/ 1742358 w 6386648"/>
                <a:gd name="connsiteY1010" fmla="*/ 882116 h 1849426"/>
                <a:gd name="connsiteX1011" fmla="*/ 1760383 w 6386648"/>
                <a:gd name="connsiteY1011" fmla="*/ 900140 h 1849426"/>
                <a:gd name="connsiteX1012" fmla="*/ 1742358 w 6386648"/>
                <a:gd name="connsiteY1012" fmla="*/ 918165 h 1849426"/>
                <a:gd name="connsiteX1013" fmla="*/ 1724334 w 6386648"/>
                <a:gd name="connsiteY1013" fmla="*/ 900140 h 1849426"/>
                <a:gd name="connsiteX1014" fmla="*/ 1742358 w 6386648"/>
                <a:gd name="connsiteY1014" fmla="*/ 882116 h 1849426"/>
                <a:gd name="connsiteX1015" fmla="*/ 757024 w 6386648"/>
                <a:gd name="connsiteY1015" fmla="*/ 876108 h 1849426"/>
                <a:gd name="connsiteX1016" fmla="*/ 775049 w 6386648"/>
                <a:gd name="connsiteY1016" fmla="*/ 894132 h 1849426"/>
                <a:gd name="connsiteX1017" fmla="*/ 757024 w 6386648"/>
                <a:gd name="connsiteY1017" fmla="*/ 912157 h 1849426"/>
                <a:gd name="connsiteX1018" fmla="*/ 739000 w 6386648"/>
                <a:gd name="connsiteY1018" fmla="*/ 894132 h 1849426"/>
                <a:gd name="connsiteX1019" fmla="*/ 757024 w 6386648"/>
                <a:gd name="connsiteY1019" fmla="*/ 876108 h 1849426"/>
                <a:gd name="connsiteX1020" fmla="*/ 6104265 w 6386648"/>
                <a:gd name="connsiteY1020" fmla="*/ 870100 h 1849426"/>
                <a:gd name="connsiteX1021" fmla="*/ 6122290 w 6386648"/>
                <a:gd name="connsiteY1021" fmla="*/ 888124 h 1849426"/>
                <a:gd name="connsiteX1022" fmla="*/ 6104265 w 6386648"/>
                <a:gd name="connsiteY1022" fmla="*/ 906149 h 1849426"/>
                <a:gd name="connsiteX1023" fmla="*/ 6086241 w 6386648"/>
                <a:gd name="connsiteY1023" fmla="*/ 888124 h 1849426"/>
                <a:gd name="connsiteX1024" fmla="*/ 6104265 w 6386648"/>
                <a:gd name="connsiteY1024" fmla="*/ 870100 h 1849426"/>
                <a:gd name="connsiteX1025" fmla="*/ 474642 w 6386648"/>
                <a:gd name="connsiteY1025" fmla="*/ 870100 h 1849426"/>
                <a:gd name="connsiteX1026" fmla="*/ 492667 w 6386648"/>
                <a:gd name="connsiteY1026" fmla="*/ 888124 h 1849426"/>
                <a:gd name="connsiteX1027" fmla="*/ 474642 w 6386648"/>
                <a:gd name="connsiteY1027" fmla="*/ 906149 h 1849426"/>
                <a:gd name="connsiteX1028" fmla="*/ 456618 w 6386648"/>
                <a:gd name="connsiteY1028" fmla="*/ 888124 h 1849426"/>
                <a:gd name="connsiteX1029" fmla="*/ 474642 w 6386648"/>
                <a:gd name="connsiteY1029" fmla="*/ 870100 h 1849426"/>
                <a:gd name="connsiteX1030" fmla="*/ 3568832 w 6386648"/>
                <a:gd name="connsiteY1030" fmla="*/ 864092 h 1849426"/>
                <a:gd name="connsiteX1031" fmla="*/ 3586857 w 6386648"/>
                <a:gd name="connsiteY1031" fmla="*/ 882116 h 1849426"/>
                <a:gd name="connsiteX1032" fmla="*/ 3568832 w 6386648"/>
                <a:gd name="connsiteY1032" fmla="*/ 900141 h 1849426"/>
                <a:gd name="connsiteX1033" fmla="*/ 3550808 w 6386648"/>
                <a:gd name="connsiteY1033" fmla="*/ 882116 h 1849426"/>
                <a:gd name="connsiteX1034" fmla="*/ 3568832 w 6386648"/>
                <a:gd name="connsiteY1034" fmla="*/ 864092 h 1849426"/>
                <a:gd name="connsiteX1035" fmla="*/ 2980034 w 6386648"/>
                <a:gd name="connsiteY1035" fmla="*/ 864092 h 1849426"/>
                <a:gd name="connsiteX1036" fmla="*/ 2998059 w 6386648"/>
                <a:gd name="connsiteY1036" fmla="*/ 882116 h 1849426"/>
                <a:gd name="connsiteX1037" fmla="*/ 2980034 w 6386648"/>
                <a:gd name="connsiteY1037" fmla="*/ 900141 h 1849426"/>
                <a:gd name="connsiteX1038" fmla="*/ 2962010 w 6386648"/>
                <a:gd name="connsiteY1038" fmla="*/ 882116 h 1849426"/>
                <a:gd name="connsiteX1039" fmla="*/ 2980034 w 6386648"/>
                <a:gd name="connsiteY1039" fmla="*/ 864092 h 1849426"/>
                <a:gd name="connsiteX1040" fmla="*/ 2012725 w 6386648"/>
                <a:gd name="connsiteY1040" fmla="*/ 864092 h 1849426"/>
                <a:gd name="connsiteX1041" fmla="*/ 2030750 w 6386648"/>
                <a:gd name="connsiteY1041" fmla="*/ 882116 h 1849426"/>
                <a:gd name="connsiteX1042" fmla="*/ 2012725 w 6386648"/>
                <a:gd name="connsiteY1042" fmla="*/ 900141 h 1849426"/>
                <a:gd name="connsiteX1043" fmla="*/ 1994701 w 6386648"/>
                <a:gd name="connsiteY1043" fmla="*/ 882116 h 1849426"/>
                <a:gd name="connsiteX1044" fmla="*/ 2012725 w 6386648"/>
                <a:gd name="connsiteY1044" fmla="*/ 864092 h 1849426"/>
                <a:gd name="connsiteX1045" fmla="*/ 3857222 w 6386648"/>
                <a:gd name="connsiteY1045" fmla="*/ 858084 h 1849426"/>
                <a:gd name="connsiteX1046" fmla="*/ 3875247 w 6386648"/>
                <a:gd name="connsiteY1046" fmla="*/ 876109 h 1849426"/>
                <a:gd name="connsiteX1047" fmla="*/ 3857222 w 6386648"/>
                <a:gd name="connsiteY1047" fmla="*/ 894133 h 1849426"/>
                <a:gd name="connsiteX1048" fmla="*/ 3839197 w 6386648"/>
                <a:gd name="connsiteY1048" fmla="*/ 876109 h 1849426"/>
                <a:gd name="connsiteX1049" fmla="*/ 3857222 w 6386648"/>
                <a:gd name="connsiteY1049" fmla="*/ 858084 h 1849426"/>
                <a:gd name="connsiteX1050" fmla="*/ 1387878 w 6386648"/>
                <a:gd name="connsiteY1050" fmla="*/ 858084 h 1849426"/>
                <a:gd name="connsiteX1051" fmla="*/ 1405903 w 6386648"/>
                <a:gd name="connsiteY1051" fmla="*/ 876109 h 1849426"/>
                <a:gd name="connsiteX1052" fmla="*/ 1387878 w 6386648"/>
                <a:gd name="connsiteY1052" fmla="*/ 894133 h 1849426"/>
                <a:gd name="connsiteX1053" fmla="*/ 1369854 w 6386648"/>
                <a:gd name="connsiteY1053" fmla="*/ 876109 h 1849426"/>
                <a:gd name="connsiteX1054" fmla="*/ 1387878 w 6386648"/>
                <a:gd name="connsiteY1054" fmla="*/ 858084 h 1849426"/>
                <a:gd name="connsiteX1055" fmla="*/ 973317 w 6386648"/>
                <a:gd name="connsiteY1055" fmla="*/ 852076 h 1849426"/>
                <a:gd name="connsiteX1056" fmla="*/ 991342 w 6386648"/>
                <a:gd name="connsiteY1056" fmla="*/ 870100 h 1849426"/>
                <a:gd name="connsiteX1057" fmla="*/ 973317 w 6386648"/>
                <a:gd name="connsiteY1057" fmla="*/ 888125 h 1849426"/>
                <a:gd name="connsiteX1058" fmla="*/ 955293 w 6386648"/>
                <a:gd name="connsiteY1058" fmla="*/ 870100 h 1849426"/>
                <a:gd name="connsiteX1059" fmla="*/ 973317 w 6386648"/>
                <a:gd name="connsiteY1059" fmla="*/ 852076 h 1849426"/>
                <a:gd name="connsiteX1060" fmla="*/ 228308 w 6386648"/>
                <a:gd name="connsiteY1060" fmla="*/ 852076 h 1849426"/>
                <a:gd name="connsiteX1061" fmla="*/ 246333 w 6386648"/>
                <a:gd name="connsiteY1061" fmla="*/ 870100 h 1849426"/>
                <a:gd name="connsiteX1062" fmla="*/ 228308 w 6386648"/>
                <a:gd name="connsiteY1062" fmla="*/ 888125 h 1849426"/>
                <a:gd name="connsiteX1063" fmla="*/ 210284 w 6386648"/>
                <a:gd name="connsiteY1063" fmla="*/ 870100 h 1849426"/>
                <a:gd name="connsiteX1064" fmla="*/ 228308 w 6386648"/>
                <a:gd name="connsiteY1064" fmla="*/ 852076 h 1849426"/>
                <a:gd name="connsiteX1065" fmla="*/ 3196327 w 6386648"/>
                <a:gd name="connsiteY1065" fmla="*/ 846068 h 1849426"/>
                <a:gd name="connsiteX1066" fmla="*/ 3214352 w 6386648"/>
                <a:gd name="connsiteY1066" fmla="*/ 864092 h 1849426"/>
                <a:gd name="connsiteX1067" fmla="*/ 3196327 w 6386648"/>
                <a:gd name="connsiteY1067" fmla="*/ 882117 h 1849426"/>
                <a:gd name="connsiteX1068" fmla="*/ 3178302 w 6386648"/>
                <a:gd name="connsiteY1068" fmla="*/ 864092 h 1849426"/>
                <a:gd name="connsiteX1069" fmla="*/ 3196327 w 6386648"/>
                <a:gd name="connsiteY1069" fmla="*/ 846068 h 1849426"/>
                <a:gd name="connsiteX1070" fmla="*/ 6218419 w 6386648"/>
                <a:gd name="connsiteY1070" fmla="*/ 840059 h 1849426"/>
                <a:gd name="connsiteX1071" fmla="*/ 6236444 w 6386648"/>
                <a:gd name="connsiteY1071" fmla="*/ 858083 h 1849426"/>
                <a:gd name="connsiteX1072" fmla="*/ 6218419 w 6386648"/>
                <a:gd name="connsiteY1072" fmla="*/ 876108 h 1849426"/>
                <a:gd name="connsiteX1073" fmla="*/ 6200395 w 6386648"/>
                <a:gd name="connsiteY1073" fmla="*/ 858083 h 1849426"/>
                <a:gd name="connsiteX1074" fmla="*/ 6218419 w 6386648"/>
                <a:gd name="connsiteY1074" fmla="*/ 840059 h 1849426"/>
                <a:gd name="connsiteX1075" fmla="*/ 5978094 w 6386648"/>
                <a:gd name="connsiteY1075" fmla="*/ 834051 h 1849426"/>
                <a:gd name="connsiteX1076" fmla="*/ 5996119 w 6386648"/>
                <a:gd name="connsiteY1076" fmla="*/ 852075 h 1849426"/>
                <a:gd name="connsiteX1077" fmla="*/ 5978094 w 6386648"/>
                <a:gd name="connsiteY1077" fmla="*/ 870100 h 1849426"/>
                <a:gd name="connsiteX1078" fmla="*/ 5960070 w 6386648"/>
                <a:gd name="connsiteY1078" fmla="*/ 852075 h 1849426"/>
                <a:gd name="connsiteX1079" fmla="*/ 5978094 w 6386648"/>
                <a:gd name="connsiteY1079" fmla="*/ 834051 h 1849426"/>
                <a:gd name="connsiteX1080" fmla="*/ 2198977 w 6386648"/>
                <a:gd name="connsiteY1080" fmla="*/ 834051 h 1849426"/>
                <a:gd name="connsiteX1081" fmla="*/ 2217002 w 6386648"/>
                <a:gd name="connsiteY1081" fmla="*/ 852075 h 1849426"/>
                <a:gd name="connsiteX1082" fmla="*/ 2198977 w 6386648"/>
                <a:gd name="connsiteY1082" fmla="*/ 870100 h 1849426"/>
                <a:gd name="connsiteX1083" fmla="*/ 2180953 w 6386648"/>
                <a:gd name="connsiteY1083" fmla="*/ 852075 h 1849426"/>
                <a:gd name="connsiteX1084" fmla="*/ 2198977 w 6386648"/>
                <a:gd name="connsiteY1084" fmla="*/ 834051 h 1849426"/>
                <a:gd name="connsiteX1085" fmla="*/ 1622196 w 6386648"/>
                <a:gd name="connsiteY1085" fmla="*/ 834051 h 1849426"/>
                <a:gd name="connsiteX1086" fmla="*/ 1640221 w 6386648"/>
                <a:gd name="connsiteY1086" fmla="*/ 852075 h 1849426"/>
                <a:gd name="connsiteX1087" fmla="*/ 1622196 w 6386648"/>
                <a:gd name="connsiteY1087" fmla="*/ 870100 h 1849426"/>
                <a:gd name="connsiteX1088" fmla="*/ 1604172 w 6386648"/>
                <a:gd name="connsiteY1088" fmla="*/ 852075 h 1849426"/>
                <a:gd name="connsiteX1089" fmla="*/ 1622196 w 6386648"/>
                <a:gd name="connsiteY1089" fmla="*/ 834051 h 1849426"/>
                <a:gd name="connsiteX1090" fmla="*/ 1201626 w 6386648"/>
                <a:gd name="connsiteY1090" fmla="*/ 834051 h 1849426"/>
                <a:gd name="connsiteX1091" fmla="*/ 1219651 w 6386648"/>
                <a:gd name="connsiteY1091" fmla="*/ 852075 h 1849426"/>
                <a:gd name="connsiteX1092" fmla="*/ 1201626 w 6386648"/>
                <a:gd name="connsiteY1092" fmla="*/ 870100 h 1849426"/>
                <a:gd name="connsiteX1093" fmla="*/ 1183602 w 6386648"/>
                <a:gd name="connsiteY1093" fmla="*/ 852075 h 1849426"/>
                <a:gd name="connsiteX1094" fmla="*/ 1201626 w 6386648"/>
                <a:gd name="connsiteY1094" fmla="*/ 834051 h 1849426"/>
                <a:gd name="connsiteX1095" fmla="*/ 2469343 w 6386648"/>
                <a:gd name="connsiteY1095" fmla="*/ 828043 h 1849426"/>
                <a:gd name="connsiteX1096" fmla="*/ 2487368 w 6386648"/>
                <a:gd name="connsiteY1096" fmla="*/ 846068 h 1849426"/>
                <a:gd name="connsiteX1097" fmla="*/ 2469343 w 6386648"/>
                <a:gd name="connsiteY1097" fmla="*/ 864092 h 1849426"/>
                <a:gd name="connsiteX1098" fmla="*/ 2451319 w 6386648"/>
                <a:gd name="connsiteY1098" fmla="*/ 846068 h 1849426"/>
                <a:gd name="connsiteX1099" fmla="*/ 2469343 w 6386648"/>
                <a:gd name="connsiteY1099" fmla="*/ 828043 h 1849426"/>
                <a:gd name="connsiteX1100" fmla="*/ 3448669 w 6386648"/>
                <a:gd name="connsiteY1100" fmla="*/ 822035 h 1849426"/>
                <a:gd name="connsiteX1101" fmla="*/ 3466694 w 6386648"/>
                <a:gd name="connsiteY1101" fmla="*/ 840059 h 1849426"/>
                <a:gd name="connsiteX1102" fmla="*/ 3448669 w 6386648"/>
                <a:gd name="connsiteY1102" fmla="*/ 858084 h 1849426"/>
                <a:gd name="connsiteX1103" fmla="*/ 3430645 w 6386648"/>
                <a:gd name="connsiteY1103" fmla="*/ 840059 h 1849426"/>
                <a:gd name="connsiteX1104" fmla="*/ 3448669 w 6386648"/>
                <a:gd name="connsiteY1104" fmla="*/ 822035 h 1849426"/>
                <a:gd name="connsiteX1105" fmla="*/ 1874537 w 6386648"/>
                <a:gd name="connsiteY1105" fmla="*/ 822035 h 1849426"/>
                <a:gd name="connsiteX1106" fmla="*/ 1892562 w 6386648"/>
                <a:gd name="connsiteY1106" fmla="*/ 840059 h 1849426"/>
                <a:gd name="connsiteX1107" fmla="*/ 1874537 w 6386648"/>
                <a:gd name="connsiteY1107" fmla="*/ 858084 h 1849426"/>
                <a:gd name="connsiteX1108" fmla="*/ 1856513 w 6386648"/>
                <a:gd name="connsiteY1108" fmla="*/ 840059 h 1849426"/>
                <a:gd name="connsiteX1109" fmla="*/ 1874537 w 6386648"/>
                <a:gd name="connsiteY1109" fmla="*/ 822035 h 1849426"/>
                <a:gd name="connsiteX1110" fmla="*/ 2823823 w 6386648"/>
                <a:gd name="connsiteY1110" fmla="*/ 816027 h 1849426"/>
                <a:gd name="connsiteX1111" fmla="*/ 2841848 w 6386648"/>
                <a:gd name="connsiteY1111" fmla="*/ 834051 h 1849426"/>
                <a:gd name="connsiteX1112" fmla="*/ 2823823 w 6386648"/>
                <a:gd name="connsiteY1112" fmla="*/ 852076 h 1849426"/>
                <a:gd name="connsiteX1113" fmla="*/ 2805799 w 6386648"/>
                <a:gd name="connsiteY1113" fmla="*/ 834051 h 1849426"/>
                <a:gd name="connsiteX1114" fmla="*/ 2823823 w 6386648"/>
                <a:gd name="connsiteY1114" fmla="*/ 816027 h 1849426"/>
                <a:gd name="connsiteX1115" fmla="*/ 2595514 w 6386648"/>
                <a:gd name="connsiteY1115" fmla="*/ 816027 h 1849426"/>
                <a:gd name="connsiteX1116" fmla="*/ 2613539 w 6386648"/>
                <a:gd name="connsiteY1116" fmla="*/ 834051 h 1849426"/>
                <a:gd name="connsiteX1117" fmla="*/ 2595514 w 6386648"/>
                <a:gd name="connsiteY1117" fmla="*/ 852076 h 1849426"/>
                <a:gd name="connsiteX1118" fmla="*/ 2577489 w 6386648"/>
                <a:gd name="connsiteY1118" fmla="*/ 834051 h 1849426"/>
                <a:gd name="connsiteX1119" fmla="*/ 2595514 w 6386648"/>
                <a:gd name="connsiteY1119" fmla="*/ 816027 h 1849426"/>
                <a:gd name="connsiteX1120" fmla="*/ 2307124 w 6386648"/>
                <a:gd name="connsiteY1120" fmla="*/ 816027 h 1849426"/>
                <a:gd name="connsiteX1121" fmla="*/ 2325148 w 6386648"/>
                <a:gd name="connsiteY1121" fmla="*/ 834051 h 1849426"/>
                <a:gd name="connsiteX1122" fmla="*/ 2307124 w 6386648"/>
                <a:gd name="connsiteY1122" fmla="*/ 852076 h 1849426"/>
                <a:gd name="connsiteX1123" fmla="*/ 2289099 w 6386648"/>
                <a:gd name="connsiteY1123" fmla="*/ 834051 h 1849426"/>
                <a:gd name="connsiteX1124" fmla="*/ 2307124 w 6386648"/>
                <a:gd name="connsiteY1124" fmla="*/ 816027 h 1849426"/>
                <a:gd name="connsiteX1125" fmla="*/ 606821 w 6386648"/>
                <a:gd name="connsiteY1125" fmla="*/ 816027 h 1849426"/>
                <a:gd name="connsiteX1126" fmla="*/ 624846 w 6386648"/>
                <a:gd name="connsiteY1126" fmla="*/ 834051 h 1849426"/>
                <a:gd name="connsiteX1127" fmla="*/ 606821 w 6386648"/>
                <a:gd name="connsiteY1127" fmla="*/ 852076 h 1849426"/>
                <a:gd name="connsiteX1128" fmla="*/ 588797 w 6386648"/>
                <a:gd name="connsiteY1128" fmla="*/ 834051 h 1849426"/>
                <a:gd name="connsiteX1129" fmla="*/ 606821 w 6386648"/>
                <a:gd name="connsiteY1129" fmla="*/ 816027 h 1849426"/>
                <a:gd name="connsiteX1130" fmla="*/ 3292457 w 6386648"/>
                <a:gd name="connsiteY1130" fmla="*/ 791994 h 1849426"/>
                <a:gd name="connsiteX1131" fmla="*/ 3310482 w 6386648"/>
                <a:gd name="connsiteY1131" fmla="*/ 810018 h 1849426"/>
                <a:gd name="connsiteX1132" fmla="*/ 3292457 w 6386648"/>
                <a:gd name="connsiteY1132" fmla="*/ 828043 h 1849426"/>
                <a:gd name="connsiteX1133" fmla="*/ 3274433 w 6386648"/>
                <a:gd name="connsiteY1133" fmla="*/ 810018 h 1849426"/>
                <a:gd name="connsiteX1134" fmla="*/ 3292457 w 6386648"/>
                <a:gd name="connsiteY1134" fmla="*/ 791994 h 1849426"/>
                <a:gd name="connsiteX1135" fmla="*/ 859163 w 6386648"/>
                <a:gd name="connsiteY1135" fmla="*/ 791994 h 1849426"/>
                <a:gd name="connsiteX1136" fmla="*/ 877188 w 6386648"/>
                <a:gd name="connsiteY1136" fmla="*/ 810018 h 1849426"/>
                <a:gd name="connsiteX1137" fmla="*/ 859163 w 6386648"/>
                <a:gd name="connsiteY1137" fmla="*/ 828043 h 1849426"/>
                <a:gd name="connsiteX1138" fmla="*/ 841139 w 6386648"/>
                <a:gd name="connsiteY1138" fmla="*/ 810018 h 1849426"/>
                <a:gd name="connsiteX1139" fmla="*/ 859163 w 6386648"/>
                <a:gd name="connsiteY1139" fmla="*/ 791994 h 1849426"/>
                <a:gd name="connsiteX1140" fmla="*/ 1297756 w 6386648"/>
                <a:gd name="connsiteY1140" fmla="*/ 785986 h 1849426"/>
                <a:gd name="connsiteX1141" fmla="*/ 1315781 w 6386648"/>
                <a:gd name="connsiteY1141" fmla="*/ 804010 h 1849426"/>
                <a:gd name="connsiteX1142" fmla="*/ 1297756 w 6386648"/>
                <a:gd name="connsiteY1142" fmla="*/ 822035 h 1849426"/>
                <a:gd name="connsiteX1143" fmla="*/ 1279732 w 6386648"/>
                <a:gd name="connsiteY1143" fmla="*/ 804010 h 1849426"/>
                <a:gd name="connsiteX1144" fmla="*/ 1297756 w 6386648"/>
                <a:gd name="connsiteY1144" fmla="*/ 785986 h 1849426"/>
                <a:gd name="connsiteX1145" fmla="*/ 324438 w 6386648"/>
                <a:gd name="connsiteY1145" fmla="*/ 785986 h 1849426"/>
                <a:gd name="connsiteX1146" fmla="*/ 342463 w 6386648"/>
                <a:gd name="connsiteY1146" fmla="*/ 804010 h 1849426"/>
                <a:gd name="connsiteX1147" fmla="*/ 324438 w 6386648"/>
                <a:gd name="connsiteY1147" fmla="*/ 822035 h 1849426"/>
                <a:gd name="connsiteX1148" fmla="*/ 306414 w 6386648"/>
                <a:gd name="connsiteY1148" fmla="*/ 804010 h 1849426"/>
                <a:gd name="connsiteX1149" fmla="*/ 324438 w 6386648"/>
                <a:gd name="connsiteY1149" fmla="*/ 785986 h 1849426"/>
                <a:gd name="connsiteX1150" fmla="*/ 3755084 w 6386648"/>
                <a:gd name="connsiteY1150" fmla="*/ 779978 h 1849426"/>
                <a:gd name="connsiteX1151" fmla="*/ 3773109 w 6386648"/>
                <a:gd name="connsiteY1151" fmla="*/ 798002 h 1849426"/>
                <a:gd name="connsiteX1152" fmla="*/ 3755084 w 6386648"/>
                <a:gd name="connsiteY1152" fmla="*/ 816027 h 1849426"/>
                <a:gd name="connsiteX1153" fmla="*/ 3737060 w 6386648"/>
                <a:gd name="connsiteY1153" fmla="*/ 798002 h 1849426"/>
                <a:gd name="connsiteX1154" fmla="*/ 3755084 w 6386648"/>
                <a:gd name="connsiteY1154" fmla="*/ 779978 h 1849426"/>
                <a:gd name="connsiteX1155" fmla="*/ 1496026 w 6386648"/>
                <a:gd name="connsiteY1155" fmla="*/ 779978 h 1849426"/>
                <a:gd name="connsiteX1156" fmla="*/ 1514050 w 6386648"/>
                <a:gd name="connsiteY1156" fmla="*/ 798002 h 1849426"/>
                <a:gd name="connsiteX1157" fmla="*/ 1496026 w 6386648"/>
                <a:gd name="connsiteY1157" fmla="*/ 816027 h 1849426"/>
                <a:gd name="connsiteX1158" fmla="*/ 1478001 w 6386648"/>
                <a:gd name="connsiteY1158" fmla="*/ 798002 h 1849426"/>
                <a:gd name="connsiteX1159" fmla="*/ 1496026 w 6386648"/>
                <a:gd name="connsiteY1159" fmla="*/ 779978 h 1849426"/>
                <a:gd name="connsiteX1160" fmla="*/ 3622905 w 6386648"/>
                <a:gd name="connsiteY1160" fmla="*/ 767962 h 1849426"/>
                <a:gd name="connsiteX1161" fmla="*/ 3640930 w 6386648"/>
                <a:gd name="connsiteY1161" fmla="*/ 785987 h 1849426"/>
                <a:gd name="connsiteX1162" fmla="*/ 3622905 w 6386648"/>
                <a:gd name="connsiteY1162" fmla="*/ 804011 h 1849426"/>
                <a:gd name="connsiteX1163" fmla="*/ 3604881 w 6386648"/>
                <a:gd name="connsiteY1163" fmla="*/ 785987 h 1849426"/>
                <a:gd name="connsiteX1164" fmla="*/ 3622905 w 6386648"/>
                <a:gd name="connsiteY1164" fmla="*/ 767962 h 1849426"/>
                <a:gd name="connsiteX1165" fmla="*/ 3112213 w 6386648"/>
                <a:gd name="connsiteY1165" fmla="*/ 767962 h 1849426"/>
                <a:gd name="connsiteX1166" fmla="*/ 3130238 w 6386648"/>
                <a:gd name="connsiteY1166" fmla="*/ 785987 h 1849426"/>
                <a:gd name="connsiteX1167" fmla="*/ 3112213 w 6386648"/>
                <a:gd name="connsiteY1167" fmla="*/ 804011 h 1849426"/>
                <a:gd name="connsiteX1168" fmla="*/ 3094189 w 6386648"/>
                <a:gd name="connsiteY1168" fmla="*/ 785987 h 1849426"/>
                <a:gd name="connsiteX1169" fmla="*/ 3112213 w 6386648"/>
                <a:gd name="connsiteY1169" fmla="*/ 767962 h 1849426"/>
                <a:gd name="connsiteX1170" fmla="*/ 714968 w 6386648"/>
                <a:gd name="connsiteY1170" fmla="*/ 767962 h 1849426"/>
                <a:gd name="connsiteX1171" fmla="*/ 732992 w 6386648"/>
                <a:gd name="connsiteY1171" fmla="*/ 785987 h 1849426"/>
                <a:gd name="connsiteX1172" fmla="*/ 714968 w 6386648"/>
                <a:gd name="connsiteY1172" fmla="*/ 804011 h 1849426"/>
                <a:gd name="connsiteX1173" fmla="*/ 696943 w 6386648"/>
                <a:gd name="connsiteY1173" fmla="*/ 785987 h 1849426"/>
                <a:gd name="connsiteX1174" fmla="*/ 714968 w 6386648"/>
                <a:gd name="connsiteY1174" fmla="*/ 767962 h 1849426"/>
                <a:gd name="connsiteX1175" fmla="*/ 2986042 w 6386648"/>
                <a:gd name="connsiteY1175" fmla="*/ 761954 h 1849426"/>
                <a:gd name="connsiteX1176" fmla="*/ 3004067 w 6386648"/>
                <a:gd name="connsiteY1176" fmla="*/ 779978 h 1849426"/>
                <a:gd name="connsiteX1177" fmla="*/ 2986042 w 6386648"/>
                <a:gd name="connsiteY1177" fmla="*/ 798003 h 1849426"/>
                <a:gd name="connsiteX1178" fmla="*/ 2968017 w 6386648"/>
                <a:gd name="connsiteY1178" fmla="*/ 779978 h 1849426"/>
                <a:gd name="connsiteX1179" fmla="*/ 2986042 w 6386648"/>
                <a:gd name="connsiteY1179" fmla="*/ 761954 h 1849426"/>
                <a:gd name="connsiteX1180" fmla="*/ 1736351 w 6386648"/>
                <a:gd name="connsiteY1180" fmla="*/ 761954 h 1849426"/>
                <a:gd name="connsiteX1181" fmla="*/ 1754375 w 6386648"/>
                <a:gd name="connsiteY1181" fmla="*/ 779978 h 1849426"/>
                <a:gd name="connsiteX1182" fmla="*/ 1736351 w 6386648"/>
                <a:gd name="connsiteY1182" fmla="*/ 798003 h 1849426"/>
                <a:gd name="connsiteX1183" fmla="*/ 1718326 w 6386648"/>
                <a:gd name="connsiteY1183" fmla="*/ 779978 h 1849426"/>
                <a:gd name="connsiteX1184" fmla="*/ 1736351 w 6386648"/>
                <a:gd name="connsiteY1184" fmla="*/ 761954 h 1849426"/>
                <a:gd name="connsiteX1185" fmla="*/ 5863939 w 6386648"/>
                <a:gd name="connsiteY1185" fmla="*/ 755946 h 1849426"/>
                <a:gd name="connsiteX1186" fmla="*/ 5881964 w 6386648"/>
                <a:gd name="connsiteY1186" fmla="*/ 773970 h 1849426"/>
                <a:gd name="connsiteX1187" fmla="*/ 5863939 w 6386648"/>
                <a:gd name="connsiteY1187" fmla="*/ 791995 h 1849426"/>
                <a:gd name="connsiteX1188" fmla="*/ 5845915 w 6386648"/>
                <a:gd name="connsiteY1188" fmla="*/ 773970 h 1849426"/>
                <a:gd name="connsiteX1189" fmla="*/ 5863939 w 6386648"/>
                <a:gd name="connsiteY1189" fmla="*/ 755946 h 1849426"/>
                <a:gd name="connsiteX1190" fmla="*/ 2685636 w 6386648"/>
                <a:gd name="connsiteY1190" fmla="*/ 755946 h 1849426"/>
                <a:gd name="connsiteX1191" fmla="*/ 2703661 w 6386648"/>
                <a:gd name="connsiteY1191" fmla="*/ 773970 h 1849426"/>
                <a:gd name="connsiteX1192" fmla="*/ 2685636 w 6386648"/>
                <a:gd name="connsiteY1192" fmla="*/ 791995 h 1849426"/>
                <a:gd name="connsiteX1193" fmla="*/ 2667611 w 6386648"/>
                <a:gd name="connsiteY1193" fmla="*/ 773970 h 1849426"/>
                <a:gd name="connsiteX1194" fmla="*/ 2685636 w 6386648"/>
                <a:gd name="connsiteY1194" fmla="*/ 755946 h 1849426"/>
                <a:gd name="connsiteX1195" fmla="*/ 1069447 w 6386648"/>
                <a:gd name="connsiteY1195" fmla="*/ 755946 h 1849426"/>
                <a:gd name="connsiteX1196" fmla="*/ 1087472 w 6386648"/>
                <a:gd name="connsiteY1196" fmla="*/ 773970 h 1849426"/>
                <a:gd name="connsiteX1197" fmla="*/ 1069447 w 6386648"/>
                <a:gd name="connsiteY1197" fmla="*/ 791995 h 1849426"/>
                <a:gd name="connsiteX1198" fmla="*/ 1051423 w 6386648"/>
                <a:gd name="connsiteY1198" fmla="*/ 773970 h 1849426"/>
                <a:gd name="connsiteX1199" fmla="*/ 1069447 w 6386648"/>
                <a:gd name="connsiteY1199" fmla="*/ 755946 h 1849426"/>
                <a:gd name="connsiteX1200" fmla="*/ 3935328 w 6386648"/>
                <a:gd name="connsiteY1200" fmla="*/ 749937 h 1849426"/>
                <a:gd name="connsiteX1201" fmla="*/ 3953353 w 6386648"/>
                <a:gd name="connsiteY1201" fmla="*/ 767961 h 1849426"/>
                <a:gd name="connsiteX1202" fmla="*/ 3935328 w 6386648"/>
                <a:gd name="connsiteY1202" fmla="*/ 785986 h 1849426"/>
                <a:gd name="connsiteX1203" fmla="*/ 3917304 w 6386648"/>
                <a:gd name="connsiteY1203" fmla="*/ 767961 h 1849426"/>
                <a:gd name="connsiteX1204" fmla="*/ 3935328 w 6386648"/>
                <a:gd name="connsiteY1204" fmla="*/ 749937 h 1849426"/>
                <a:gd name="connsiteX1205" fmla="*/ 2114863 w 6386648"/>
                <a:gd name="connsiteY1205" fmla="*/ 749937 h 1849426"/>
                <a:gd name="connsiteX1206" fmla="*/ 2132888 w 6386648"/>
                <a:gd name="connsiteY1206" fmla="*/ 767961 h 1849426"/>
                <a:gd name="connsiteX1207" fmla="*/ 2114863 w 6386648"/>
                <a:gd name="connsiteY1207" fmla="*/ 785986 h 1849426"/>
                <a:gd name="connsiteX1208" fmla="*/ 2096839 w 6386648"/>
                <a:gd name="connsiteY1208" fmla="*/ 767961 h 1849426"/>
                <a:gd name="connsiteX1209" fmla="*/ 2114863 w 6386648"/>
                <a:gd name="connsiteY1209" fmla="*/ 749937 h 1849426"/>
                <a:gd name="connsiteX1210" fmla="*/ 2006717 w 6386648"/>
                <a:gd name="connsiteY1210" fmla="*/ 749937 h 1849426"/>
                <a:gd name="connsiteX1211" fmla="*/ 2024741 w 6386648"/>
                <a:gd name="connsiteY1211" fmla="*/ 767961 h 1849426"/>
                <a:gd name="connsiteX1212" fmla="*/ 2006717 w 6386648"/>
                <a:gd name="connsiteY1212" fmla="*/ 785986 h 1849426"/>
                <a:gd name="connsiteX1213" fmla="*/ 1988692 w 6386648"/>
                <a:gd name="connsiteY1213" fmla="*/ 767961 h 1849426"/>
                <a:gd name="connsiteX1214" fmla="*/ 2006717 w 6386648"/>
                <a:gd name="connsiteY1214" fmla="*/ 749937 h 1849426"/>
                <a:gd name="connsiteX1215" fmla="*/ 6116281 w 6386648"/>
                <a:gd name="connsiteY1215" fmla="*/ 737921 h 1849426"/>
                <a:gd name="connsiteX1216" fmla="*/ 6134306 w 6386648"/>
                <a:gd name="connsiteY1216" fmla="*/ 755946 h 1849426"/>
                <a:gd name="connsiteX1217" fmla="*/ 6116281 w 6386648"/>
                <a:gd name="connsiteY1217" fmla="*/ 773970 h 1849426"/>
                <a:gd name="connsiteX1218" fmla="*/ 6098257 w 6386648"/>
                <a:gd name="connsiteY1218" fmla="*/ 755946 h 1849426"/>
                <a:gd name="connsiteX1219" fmla="*/ 6116281 w 6386648"/>
                <a:gd name="connsiteY1219" fmla="*/ 737921 h 1849426"/>
                <a:gd name="connsiteX1220" fmla="*/ 2397246 w 6386648"/>
                <a:gd name="connsiteY1220" fmla="*/ 737921 h 1849426"/>
                <a:gd name="connsiteX1221" fmla="*/ 2415270 w 6386648"/>
                <a:gd name="connsiteY1221" fmla="*/ 755946 h 1849426"/>
                <a:gd name="connsiteX1222" fmla="*/ 2397246 w 6386648"/>
                <a:gd name="connsiteY1222" fmla="*/ 773970 h 1849426"/>
                <a:gd name="connsiteX1223" fmla="*/ 2379221 w 6386648"/>
                <a:gd name="connsiteY1223" fmla="*/ 755946 h 1849426"/>
                <a:gd name="connsiteX1224" fmla="*/ 2397246 w 6386648"/>
                <a:gd name="connsiteY1224" fmla="*/ 737921 h 1849426"/>
                <a:gd name="connsiteX1225" fmla="*/ 522707 w 6386648"/>
                <a:gd name="connsiteY1225" fmla="*/ 731913 h 1849426"/>
                <a:gd name="connsiteX1226" fmla="*/ 540732 w 6386648"/>
                <a:gd name="connsiteY1226" fmla="*/ 749937 h 1849426"/>
                <a:gd name="connsiteX1227" fmla="*/ 522707 w 6386648"/>
                <a:gd name="connsiteY1227" fmla="*/ 767962 h 1849426"/>
                <a:gd name="connsiteX1228" fmla="*/ 504683 w 6386648"/>
                <a:gd name="connsiteY1228" fmla="*/ 749937 h 1849426"/>
                <a:gd name="connsiteX1229" fmla="*/ 522707 w 6386648"/>
                <a:gd name="connsiteY1229" fmla="*/ 731913 h 1849426"/>
                <a:gd name="connsiteX1230" fmla="*/ 414561 w 6386648"/>
                <a:gd name="connsiteY1230" fmla="*/ 731913 h 1849426"/>
                <a:gd name="connsiteX1231" fmla="*/ 432586 w 6386648"/>
                <a:gd name="connsiteY1231" fmla="*/ 749937 h 1849426"/>
                <a:gd name="connsiteX1232" fmla="*/ 414561 w 6386648"/>
                <a:gd name="connsiteY1232" fmla="*/ 767962 h 1849426"/>
                <a:gd name="connsiteX1233" fmla="*/ 396537 w 6386648"/>
                <a:gd name="connsiteY1233" fmla="*/ 749937 h 1849426"/>
                <a:gd name="connsiteX1234" fmla="*/ 414561 w 6386648"/>
                <a:gd name="connsiteY1234" fmla="*/ 731913 h 1849426"/>
                <a:gd name="connsiteX1235" fmla="*/ 6236444 w 6386648"/>
                <a:gd name="connsiteY1235" fmla="*/ 725905 h 1849426"/>
                <a:gd name="connsiteX1236" fmla="*/ 6254469 w 6386648"/>
                <a:gd name="connsiteY1236" fmla="*/ 743929 h 1849426"/>
                <a:gd name="connsiteX1237" fmla="*/ 6236444 w 6386648"/>
                <a:gd name="connsiteY1237" fmla="*/ 761954 h 1849426"/>
                <a:gd name="connsiteX1238" fmla="*/ 6218420 w 6386648"/>
                <a:gd name="connsiteY1238" fmla="*/ 743929 h 1849426"/>
                <a:gd name="connsiteX1239" fmla="*/ 6236444 w 6386648"/>
                <a:gd name="connsiteY1239" fmla="*/ 725905 h 1849426"/>
                <a:gd name="connsiteX1240" fmla="*/ 961301 w 6386648"/>
                <a:gd name="connsiteY1240" fmla="*/ 725905 h 1849426"/>
                <a:gd name="connsiteX1241" fmla="*/ 979326 w 6386648"/>
                <a:gd name="connsiteY1241" fmla="*/ 743929 h 1849426"/>
                <a:gd name="connsiteX1242" fmla="*/ 961301 w 6386648"/>
                <a:gd name="connsiteY1242" fmla="*/ 761954 h 1849426"/>
                <a:gd name="connsiteX1243" fmla="*/ 943277 w 6386648"/>
                <a:gd name="connsiteY1243" fmla="*/ 743929 h 1849426"/>
                <a:gd name="connsiteX1244" fmla="*/ 961301 w 6386648"/>
                <a:gd name="connsiteY1244" fmla="*/ 725905 h 1849426"/>
                <a:gd name="connsiteX1245" fmla="*/ 3400604 w 6386648"/>
                <a:gd name="connsiteY1245" fmla="*/ 719897 h 1849426"/>
                <a:gd name="connsiteX1246" fmla="*/ 3418629 w 6386648"/>
                <a:gd name="connsiteY1246" fmla="*/ 737921 h 1849426"/>
                <a:gd name="connsiteX1247" fmla="*/ 3400604 w 6386648"/>
                <a:gd name="connsiteY1247" fmla="*/ 755946 h 1849426"/>
                <a:gd name="connsiteX1248" fmla="*/ 3382580 w 6386648"/>
                <a:gd name="connsiteY1248" fmla="*/ 737921 h 1849426"/>
                <a:gd name="connsiteX1249" fmla="*/ 3400604 w 6386648"/>
                <a:gd name="connsiteY1249" fmla="*/ 719897 h 1849426"/>
                <a:gd name="connsiteX1250" fmla="*/ 6002126 w 6386648"/>
                <a:gd name="connsiteY1250" fmla="*/ 713889 h 1849426"/>
                <a:gd name="connsiteX1251" fmla="*/ 6020151 w 6386648"/>
                <a:gd name="connsiteY1251" fmla="*/ 731913 h 1849426"/>
                <a:gd name="connsiteX1252" fmla="*/ 6002126 w 6386648"/>
                <a:gd name="connsiteY1252" fmla="*/ 749938 h 1849426"/>
                <a:gd name="connsiteX1253" fmla="*/ 5984102 w 6386648"/>
                <a:gd name="connsiteY1253" fmla="*/ 731913 h 1849426"/>
                <a:gd name="connsiteX1254" fmla="*/ 6002126 w 6386648"/>
                <a:gd name="connsiteY1254" fmla="*/ 713889 h 1849426"/>
                <a:gd name="connsiteX1255" fmla="*/ 1610179 w 6386648"/>
                <a:gd name="connsiteY1255" fmla="*/ 713889 h 1849426"/>
                <a:gd name="connsiteX1256" fmla="*/ 1628204 w 6386648"/>
                <a:gd name="connsiteY1256" fmla="*/ 731913 h 1849426"/>
                <a:gd name="connsiteX1257" fmla="*/ 1610179 w 6386648"/>
                <a:gd name="connsiteY1257" fmla="*/ 749938 h 1849426"/>
                <a:gd name="connsiteX1258" fmla="*/ 1592155 w 6386648"/>
                <a:gd name="connsiteY1258" fmla="*/ 731913 h 1849426"/>
                <a:gd name="connsiteX1259" fmla="*/ 1610179 w 6386648"/>
                <a:gd name="connsiteY1259" fmla="*/ 713889 h 1849426"/>
                <a:gd name="connsiteX1260" fmla="*/ 3520767 w 6386648"/>
                <a:gd name="connsiteY1260" fmla="*/ 707881 h 1849426"/>
                <a:gd name="connsiteX1261" fmla="*/ 3538792 w 6386648"/>
                <a:gd name="connsiteY1261" fmla="*/ 725906 h 1849426"/>
                <a:gd name="connsiteX1262" fmla="*/ 3520767 w 6386648"/>
                <a:gd name="connsiteY1262" fmla="*/ 743930 h 1849426"/>
                <a:gd name="connsiteX1263" fmla="*/ 3502743 w 6386648"/>
                <a:gd name="connsiteY1263" fmla="*/ 725906 h 1849426"/>
                <a:gd name="connsiteX1264" fmla="*/ 3520767 w 6386648"/>
                <a:gd name="connsiteY1264" fmla="*/ 707881 h 1849426"/>
                <a:gd name="connsiteX1265" fmla="*/ 2895920 w 6386648"/>
                <a:gd name="connsiteY1265" fmla="*/ 701872 h 1849426"/>
                <a:gd name="connsiteX1266" fmla="*/ 2913945 w 6386648"/>
                <a:gd name="connsiteY1266" fmla="*/ 719896 h 1849426"/>
                <a:gd name="connsiteX1267" fmla="*/ 2895920 w 6386648"/>
                <a:gd name="connsiteY1267" fmla="*/ 737921 h 1849426"/>
                <a:gd name="connsiteX1268" fmla="*/ 2877895 w 6386648"/>
                <a:gd name="connsiteY1268" fmla="*/ 719896 h 1849426"/>
                <a:gd name="connsiteX1269" fmla="*/ 2895920 w 6386648"/>
                <a:gd name="connsiteY1269" fmla="*/ 701872 h 1849426"/>
                <a:gd name="connsiteX1270" fmla="*/ 2547449 w 6386648"/>
                <a:gd name="connsiteY1270" fmla="*/ 701872 h 1849426"/>
                <a:gd name="connsiteX1271" fmla="*/ 2565474 w 6386648"/>
                <a:gd name="connsiteY1271" fmla="*/ 719896 h 1849426"/>
                <a:gd name="connsiteX1272" fmla="*/ 2547449 w 6386648"/>
                <a:gd name="connsiteY1272" fmla="*/ 737921 h 1849426"/>
                <a:gd name="connsiteX1273" fmla="*/ 2529425 w 6386648"/>
                <a:gd name="connsiteY1273" fmla="*/ 719896 h 1849426"/>
                <a:gd name="connsiteX1274" fmla="*/ 2547449 w 6386648"/>
                <a:gd name="connsiteY1274" fmla="*/ 701872 h 1849426"/>
                <a:gd name="connsiteX1275" fmla="*/ 2241034 w 6386648"/>
                <a:gd name="connsiteY1275" fmla="*/ 701872 h 1849426"/>
                <a:gd name="connsiteX1276" fmla="*/ 2259059 w 6386648"/>
                <a:gd name="connsiteY1276" fmla="*/ 719896 h 1849426"/>
                <a:gd name="connsiteX1277" fmla="*/ 2241034 w 6386648"/>
                <a:gd name="connsiteY1277" fmla="*/ 737921 h 1849426"/>
                <a:gd name="connsiteX1278" fmla="*/ 2223010 w 6386648"/>
                <a:gd name="connsiteY1278" fmla="*/ 719896 h 1849426"/>
                <a:gd name="connsiteX1279" fmla="*/ 2241034 w 6386648"/>
                <a:gd name="connsiteY1279" fmla="*/ 701872 h 1849426"/>
                <a:gd name="connsiteX1280" fmla="*/ 1411911 w 6386648"/>
                <a:gd name="connsiteY1280" fmla="*/ 701872 h 1849426"/>
                <a:gd name="connsiteX1281" fmla="*/ 1429936 w 6386648"/>
                <a:gd name="connsiteY1281" fmla="*/ 719896 h 1849426"/>
                <a:gd name="connsiteX1282" fmla="*/ 1411911 w 6386648"/>
                <a:gd name="connsiteY1282" fmla="*/ 737921 h 1849426"/>
                <a:gd name="connsiteX1283" fmla="*/ 1393887 w 6386648"/>
                <a:gd name="connsiteY1283" fmla="*/ 719896 h 1849426"/>
                <a:gd name="connsiteX1284" fmla="*/ 1411911 w 6386648"/>
                <a:gd name="connsiteY1284" fmla="*/ 701872 h 1849426"/>
                <a:gd name="connsiteX1285" fmla="*/ 1165578 w 6386648"/>
                <a:gd name="connsiteY1285" fmla="*/ 701872 h 1849426"/>
                <a:gd name="connsiteX1286" fmla="*/ 1183602 w 6386648"/>
                <a:gd name="connsiteY1286" fmla="*/ 719896 h 1849426"/>
                <a:gd name="connsiteX1287" fmla="*/ 1165578 w 6386648"/>
                <a:gd name="connsiteY1287" fmla="*/ 737921 h 1849426"/>
                <a:gd name="connsiteX1288" fmla="*/ 1147553 w 6386648"/>
                <a:gd name="connsiteY1288" fmla="*/ 719896 h 1849426"/>
                <a:gd name="connsiteX1289" fmla="*/ 1165578 w 6386648"/>
                <a:gd name="connsiteY1289" fmla="*/ 701872 h 1849426"/>
                <a:gd name="connsiteX1290" fmla="*/ 168227 w 6386648"/>
                <a:gd name="connsiteY1290" fmla="*/ 701872 h 1849426"/>
                <a:gd name="connsiteX1291" fmla="*/ 186252 w 6386648"/>
                <a:gd name="connsiteY1291" fmla="*/ 719896 h 1849426"/>
                <a:gd name="connsiteX1292" fmla="*/ 168227 w 6386648"/>
                <a:gd name="connsiteY1292" fmla="*/ 737921 h 1849426"/>
                <a:gd name="connsiteX1293" fmla="*/ 150203 w 6386648"/>
                <a:gd name="connsiteY1293" fmla="*/ 719896 h 1849426"/>
                <a:gd name="connsiteX1294" fmla="*/ 168227 w 6386648"/>
                <a:gd name="connsiteY1294" fmla="*/ 701872 h 1849426"/>
                <a:gd name="connsiteX1295" fmla="*/ 1910586 w 6386648"/>
                <a:gd name="connsiteY1295" fmla="*/ 695864 h 1849426"/>
                <a:gd name="connsiteX1296" fmla="*/ 1928611 w 6386648"/>
                <a:gd name="connsiteY1296" fmla="*/ 713888 h 1849426"/>
                <a:gd name="connsiteX1297" fmla="*/ 1910586 w 6386648"/>
                <a:gd name="connsiteY1297" fmla="*/ 731913 h 1849426"/>
                <a:gd name="connsiteX1298" fmla="*/ 1892562 w 6386648"/>
                <a:gd name="connsiteY1298" fmla="*/ 713888 h 1849426"/>
                <a:gd name="connsiteX1299" fmla="*/ 1910586 w 6386648"/>
                <a:gd name="connsiteY1299" fmla="*/ 695864 h 1849426"/>
                <a:gd name="connsiteX1300" fmla="*/ 3833190 w 6386648"/>
                <a:gd name="connsiteY1300" fmla="*/ 689856 h 1849426"/>
                <a:gd name="connsiteX1301" fmla="*/ 3851215 w 6386648"/>
                <a:gd name="connsiteY1301" fmla="*/ 707880 h 1849426"/>
                <a:gd name="connsiteX1302" fmla="*/ 3833190 w 6386648"/>
                <a:gd name="connsiteY1302" fmla="*/ 725905 h 1849426"/>
                <a:gd name="connsiteX1303" fmla="*/ 3815166 w 6386648"/>
                <a:gd name="connsiteY1303" fmla="*/ 707880 h 1849426"/>
                <a:gd name="connsiteX1304" fmla="*/ 3833190 w 6386648"/>
                <a:gd name="connsiteY1304" fmla="*/ 689856 h 1849426"/>
                <a:gd name="connsiteX1305" fmla="*/ 2787774 w 6386648"/>
                <a:gd name="connsiteY1305" fmla="*/ 689856 h 1849426"/>
                <a:gd name="connsiteX1306" fmla="*/ 2805799 w 6386648"/>
                <a:gd name="connsiteY1306" fmla="*/ 707880 h 1849426"/>
                <a:gd name="connsiteX1307" fmla="*/ 2787774 w 6386648"/>
                <a:gd name="connsiteY1307" fmla="*/ 725905 h 1849426"/>
                <a:gd name="connsiteX1308" fmla="*/ 2769750 w 6386648"/>
                <a:gd name="connsiteY1308" fmla="*/ 707880 h 1849426"/>
                <a:gd name="connsiteX1309" fmla="*/ 2787774 w 6386648"/>
                <a:gd name="connsiteY1309" fmla="*/ 689856 h 1849426"/>
                <a:gd name="connsiteX1310" fmla="*/ 5737768 w 6386648"/>
                <a:gd name="connsiteY1310" fmla="*/ 677840 h 1849426"/>
                <a:gd name="connsiteX1311" fmla="*/ 5755793 w 6386648"/>
                <a:gd name="connsiteY1311" fmla="*/ 695865 h 1849426"/>
                <a:gd name="connsiteX1312" fmla="*/ 5737768 w 6386648"/>
                <a:gd name="connsiteY1312" fmla="*/ 713889 h 1849426"/>
                <a:gd name="connsiteX1313" fmla="*/ 5719744 w 6386648"/>
                <a:gd name="connsiteY1313" fmla="*/ 695865 h 1849426"/>
                <a:gd name="connsiteX1314" fmla="*/ 5737768 w 6386648"/>
                <a:gd name="connsiteY1314" fmla="*/ 677840 h 1849426"/>
                <a:gd name="connsiteX1315" fmla="*/ 781057 w 6386648"/>
                <a:gd name="connsiteY1315" fmla="*/ 677840 h 1849426"/>
                <a:gd name="connsiteX1316" fmla="*/ 799082 w 6386648"/>
                <a:gd name="connsiteY1316" fmla="*/ 695865 h 1849426"/>
                <a:gd name="connsiteX1317" fmla="*/ 781057 w 6386648"/>
                <a:gd name="connsiteY1317" fmla="*/ 713889 h 1849426"/>
                <a:gd name="connsiteX1318" fmla="*/ 763033 w 6386648"/>
                <a:gd name="connsiteY1318" fmla="*/ 695865 h 1849426"/>
                <a:gd name="connsiteX1319" fmla="*/ 781057 w 6386648"/>
                <a:gd name="connsiteY1319" fmla="*/ 677840 h 1849426"/>
                <a:gd name="connsiteX1320" fmla="*/ 276373 w 6386648"/>
                <a:gd name="connsiteY1320" fmla="*/ 677840 h 1849426"/>
                <a:gd name="connsiteX1321" fmla="*/ 294398 w 6386648"/>
                <a:gd name="connsiteY1321" fmla="*/ 695865 h 1849426"/>
                <a:gd name="connsiteX1322" fmla="*/ 276373 w 6386648"/>
                <a:gd name="connsiteY1322" fmla="*/ 713889 h 1849426"/>
                <a:gd name="connsiteX1323" fmla="*/ 258349 w 6386648"/>
                <a:gd name="connsiteY1323" fmla="*/ 695865 h 1849426"/>
                <a:gd name="connsiteX1324" fmla="*/ 276373 w 6386648"/>
                <a:gd name="connsiteY1324" fmla="*/ 677840 h 1849426"/>
                <a:gd name="connsiteX1325" fmla="*/ 1784415 w 6386648"/>
                <a:gd name="connsiteY1325" fmla="*/ 671832 h 1849426"/>
                <a:gd name="connsiteX1326" fmla="*/ 1802440 w 6386648"/>
                <a:gd name="connsiteY1326" fmla="*/ 689856 h 1849426"/>
                <a:gd name="connsiteX1327" fmla="*/ 1784415 w 6386648"/>
                <a:gd name="connsiteY1327" fmla="*/ 707881 h 1849426"/>
                <a:gd name="connsiteX1328" fmla="*/ 1766391 w 6386648"/>
                <a:gd name="connsiteY1328" fmla="*/ 689856 h 1849426"/>
                <a:gd name="connsiteX1329" fmla="*/ 1784415 w 6386648"/>
                <a:gd name="connsiteY1329" fmla="*/ 671832 h 1849426"/>
                <a:gd name="connsiteX1330" fmla="*/ 3713027 w 6386648"/>
                <a:gd name="connsiteY1330" fmla="*/ 665824 h 1849426"/>
                <a:gd name="connsiteX1331" fmla="*/ 3731052 w 6386648"/>
                <a:gd name="connsiteY1331" fmla="*/ 683848 h 1849426"/>
                <a:gd name="connsiteX1332" fmla="*/ 3713027 w 6386648"/>
                <a:gd name="connsiteY1332" fmla="*/ 701873 h 1849426"/>
                <a:gd name="connsiteX1333" fmla="*/ 3695003 w 6386648"/>
                <a:gd name="connsiteY1333" fmla="*/ 683848 h 1849426"/>
                <a:gd name="connsiteX1334" fmla="*/ 3713027 w 6386648"/>
                <a:gd name="connsiteY1334" fmla="*/ 665824 h 1849426"/>
                <a:gd name="connsiteX1335" fmla="*/ 3274433 w 6386648"/>
                <a:gd name="connsiteY1335" fmla="*/ 665824 h 1849426"/>
                <a:gd name="connsiteX1336" fmla="*/ 3292458 w 6386648"/>
                <a:gd name="connsiteY1336" fmla="*/ 683848 h 1849426"/>
                <a:gd name="connsiteX1337" fmla="*/ 3274433 w 6386648"/>
                <a:gd name="connsiteY1337" fmla="*/ 701873 h 1849426"/>
                <a:gd name="connsiteX1338" fmla="*/ 3256409 w 6386648"/>
                <a:gd name="connsiteY1338" fmla="*/ 683848 h 1849426"/>
                <a:gd name="connsiteX1339" fmla="*/ 3274433 w 6386648"/>
                <a:gd name="connsiteY1339" fmla="*/ 665824 h 1849426"/>
                <a:gd name="connsiteX1340" fmla="*/ 1291748 w 6386648"/>
                <a:gd name="connsiteY1340" fmla="*/ 665824 h 1849426"/>
                <a:gd name="connsiteX1341" fmla="*/ 1309773 w 6386648"/>
                <a:gd name="connsiteY1341" fmla="*/ 683848 h 1849426"/>
                <a:gd name="connsiteX1342" fmla="*/ 1291748 w 6386648"/>
                <a:gd name="connsiteY1342" fmla="*/ 701873 h 1849426"/>
                <a:gd name="connsiteX1343" fmla="*/ 1273724 w 6386648"/>
                <a:gd name="connsiteY1343" fmla="*/ 683848 h 1849426"/>
                <a:gd name="connsiteX1344" fmla="*/ 1291748 w 6386648"/>
                <a:gd name="connsiteY1344" fmla="*/ 665824 h 1849426"/>
                <a:gd name="connsiteX1345" fmla="*/ 636862 w 6386648"/>
                <a:gd name="connsiteY1345" fmla="*/ 665824 h 1849426"/>
                <a:gd name="connsiteX1346" fmla="*/ 654887 w 6386648"/>
                <a:gd name="connsiteY1346" fmla="*/ 683848 h 1849426"/>
                <a:gd name="connsiteX1347" fmla="*/ 636862 w 6386648"/>
                <a:gd name="connsiteY1347" fmla="*/ 701873 h 1849426"/>
                <a:gd name="connsiteX1348" fmla="*/ 618838 w 6386648"/>
                <a:gd name="connsiteY1348" fmla="*/ 683848 h 1849426"/>
                <a:gd name="connsiteX1349" fmla="*/ 636862 w 6386648"/>
                <a:gd name="connsiteY1349" fmla="*/ 665824 h 1849426"/>
                <a:gd name="connsiteX1350" fmla="*/ 3172295 w 6386648"/>
                <a:gd name="connsiteY1350" fmla="*/ 659815 h 1849426"/>
                <a:gd name="connsiteX1351" fmla="*/ 3190320 w 6386648"/>
                <a:gd name="connsiteY1351" fmla="*/ 677839 h 1849426"/>
                <a:gd name="connsiteX1352" fmla="*/ 3172295 w 6386648"/>
                <a:gd name="connsiteY1352" fmla="*/ 695864 h 1849426"/>
                <a:gd name="connsiteX1353" fmla="*/ 3154271 w 6386648"/>
                <a:gd name="connsiteY1353" fmla="*/ 677839 h 1849426"/>
                <a:gd name="connsiteX1354" fmla="*/ 3172295 w 6386648"/>
                <a:gd name="connsiteY1354" fmla="*/ 659815 h 1849426"/>
                <a:gd name="connsiteX1355" fmla="*/ 6314550 w 6386648"/>
                <a:gd name="connsiteY1355" fmla="*/ 647799 h 1849426"/>
                <a:gd name="connsiteX1356" fmla="*/ 6332574 w 6386648"/>
                <a:gd name="connsiteY1356" fmla="*/ 665824 h 1849426"/>
                <a:gd name="connsiteX1357" fmla="*/ 6314550 w 6386648"/>
                <a:gd name="connsiteY1357" fmla="*/ 683848 h 1849426"/>
                <a:gd name="connsiteX1358" fmla="*/ 6296525 w 6386648"/>
                <a:gd name="connsiteY1358" fmla="*/ 665824 h 1849426"/>
                <a:gd name="connsiteX1359" fmla="*/ 6314550 w 6386648"/>
                <a:gd name="connsiteY1359" fmla="*/ 647799 h 1849426"/>
                <a:gd name="connsiteX1360" fmla="*/ 3040116 w 6386648"/>
                <a:gd name="connsiteY1360" fmla="*/ 647799 h 1849426"/>
                <a:gd name="connsiteX1361" fmla="*/ 3058141 w 6386648"/>
                <a:gd name="connsiteY1361" fmla="*/ 665824 h 1849426"/>
                <a:gd name="connsiteX1362" fmla="*/ 3040116 w 6386648"/>
                <a:gd name="connsiteY1362" fmla="*/ 683848 h 1849426"/>
                <a:gd name="connsiteX1363" fmla="*/ 3022092 w 6386648"/>
                <a:gd name="connsiteY1363" fmla="*/ 665824 h 1849426"/>
                <a:gd name="connsiteX1364" fmla="*/ 3040116 w 6386648"/>
                <a:gd name="connsiteY1364" fmla="*/ 647799 h 1849426"/>
                <a:gd name="connsiteX1365" fmla="*/ 4025450 w 6386648"/>
                <a:gd name="connsiteY1365" fmla="*/ 641791 h 1849426"/>
                <a:gd name="connsiteX1366" fmla="*/ 4043475 w 6386648"/>
                <a:gd name="connsiteY1366" fmla="*/ 659815 h 1849426"/>
                <a:gd name="connsiteX1367" fmla="*/ 4025450 w 6386648"/>
                <a:gd name="connsiteY1367" fmla="*/ 677840 h 1849426"/>
                <a:gd name="connsiteX1368" fmla="*/ 4007426 w 6386648"/>
                <a:gd name="connsiteY1368" fmla="*/ 659815 h 1849426"/>
                <a:gd name="connsiteX1369" fmla="*/ 4025450 w 6386648"/>
                <a:gd name="connsiteY1369" fmla="*/ 641791 h 1849426"/>
                <a:gd name="connsiteX1370" fmla="*/ 5948053 w 6386648"/>
                <a:gd name="connsiteY1370" fmla="*/ 629775 h 1849426"/>
                <a:gd name="connsiteX1371" fmla="*/ 5966078 w 6386648"/>
                <a:gd name="connsiteY1371" fmla="*/ 647799 h 1849426"/>
                <a:gd name="connsiteX1372" fmla="*/ 5948053 w 6386648"/>
                <a:gd name="connsiteY1372" fmla="*/ 665824 h 1849426"/>
                <a:gd name="connsiteX1373" fmla="*/ 5930029 w 6386648"/>
                <a:gd name="connsiteY1373" fmla="*/ 647799 h 1849426"/>
                <a:gd name="connsiteX1374" fmla="*/ 5948053 w 6386648"/>
                <a:gd name="connsiteY1374" fmla="*/ 629775 h 1849426"/>
                <a:gd name="connsiteX1375" fmla="*/ 2673619 w 6386648"/>
                <a:gd name="connsiteY1375" fmla="*/ 629775 h 1849426"/>
                <a:gd name="connsiteX1376" fmla="*/ 2691644 w 6386648"/>
                <a:gd name="connsiteY1376" fmla="*/ 647799 h 1849426"/>
                <a:gd name="connsiteX1377" fmla="*/ 2673619 w 6386648"/>
                <a:gd name="connsiteY1377" fmla="*/ 665824 h 1849426"/>
                <a:gd name="connsiteX1378" fmla="*/ 2655595 w 6386648"/>
                <a:gd name="connsiteY1378" fmla="*/ 647799 h 1849426"/>
                <a:gd name="connsiteX1379" fmla="*/ 2673619 w 6386648"/>
                <a:gd name="connsiteY1379" fmla="*/ 629775 h 1849426"/>
                <a:gd name="connsiteX1380" fmla="*/ 2331156 w 6386648"/>
                <a:gd name="connsiteY1380" fmla="*/ 629775 h 1849426"/>
                <a:gd name="connsiteX1381" fmla="*/ 2349181 w 6386648"/>
                <a:gd name="connsiteY1381" fmla="*/ 647799 h 1849426"/>
                <a:gd name="connsiteX1382" fmla="*/ 2331156 w 6386648"/>
                <a:gd name="connsiteY1382" fmla="*/ 665824 h 1849426"/>
                <a:gd name="connsiteX1383" fmla="*/ 2313132 w 6386648"/>
                <a:gd name="connsiteY1383" fmla="*/ 647799 h 1849426"/>
                <a:gd name="connsiteX1384" fmla="*/ 2331156 w 6386648"/>
                <a:gd name="connsiteY1384" fmla="*/ 629775 h 1849426"/>
                <a:gd name="connsiteX1385" fmla="*/ 1514049 w 6386648"/>
                <a:gd name="connsiteY1385" fmla="*/ 629775 h 1849426"/>
                <a:gd name="connsiteX1386" fmla="*/ 1532074 w 6386648"/>
                <a:gd name="connsiteY1386" fmla="*/ 647799 h 1849426"/>
                <a:gd name="connsiteX1387" fmla="*/ 1514049 w 6386648"/>
                <a:gd name="connsiteY1387" fmla="*/ 665824 h 1849426"/>
                <a:gd name="connsiteX1388" fmla="*/ 1496025 w 6386648"/>
                <a:gd name="connsiteY1388" fmla="*/ 647799 h 1849426"/>
                <a:gd name="connsiteX1389" fmla="*/ 1514049 w 6386648"/>
                <a:gd name="connsiteY1389" fmla="*/ 629775 h 1849426"/>
                <a:gd name="connsiteX1390" fmla="*/ 901219 w 6386648"/>
                <a:gd name="connsiteY1390" fmla="*/ 629775 h 1849426"/>
                <a:gd name="connsiteX1391" fmla="*/ 919244 w 6386648"/>
                <a:gd name="connsiteY1391" fmla="*/ 647799 h 1849426"/>
                <a:gd name="connsiteX1392" fmla="*/ 901219 w 6386648"/>
                <a:gd name="connsiteY1392" fmla="*/ 665824 h 1849426"/>
                <a:gd name="connsiteX1393" fmla="*/ 883195 w 6386648"/>
                <a:gd name="connsiteY1393" fmla="*/ 647799 h 1849426"/>
                <a:gd name="connsiteX1394" fmla="*/ 901219 w 6386648"/>
                <a:gd name="connsiteY1394" fmla="*/ 629775 h 1849426"/>
                <a:gd name="connsiteX1395" fmla="*/ 5827891 w 6386648"/>
                <a:gd name="connsiteY1395" fmla="*/ 617758 h 1849426"/>
                <a:gd name="connsiteX1396" fmla="*/ 5845916 w 6386648"/>
                <a:gd name="connsiteY1396" fmla="*/ 635783 h 1849426"/>
                <a:gd name="connsiteX1397" fmla="*/ 5827891 w 6386648"/>
                <a:gd name="connsiteY1397" fmla="*/ 653807 h 1849426"/>
                <a:gd name="connsiteX1398" fmla="*/ 5809867 w 6386648"/>
                <a:gd name="connsiteY1398" fmla="*/ 635783 h 1849426"/>
                <a:gd name="connsiteX1399" fmla="*/ 5827891 w 6386648"/>
                <a:gd name="connsiteY1399" fmla="*/ 617758 h 1849426"/>
                <a:gd name="connsiteX1400" fmla="*/ 2469343 w 6386648"/>
                <a:gd name="connsiteY1400" fmla="*/ 617758 h 1849426"/>
                <a:gd name="connsiteX1401" fmla="*/ 2487368 w 6386648"/>
                <a:gd name="connsiteY1401" fmla="*/ 635783 h 1849426"/>
                <a:gd name="connsiteX1402" fmla="*/ 2469343 w 6386648"/>
                <a:gd name="connsiteY1402" fmla="*/ 653807 h 1849426"/>
                <a:gd name="connsiteX1403" fmla="*/ 2451319 w 6386648"/>
                <a:gd name="connsiteY1403" fmla="*/ 635783 h 1849426"/>
                <a:gd name="connsiteX1404" fmla="*/ 2469343 w 6386648"/>
                <a:gd name="connsiteY1404" fmla="*/ 617758 h 1849426"/>
                <a:gd name="connsiteX1405" fmla="*/ 6110273 w 6386648"/>
                <a:gd name="connsiteY1405" fmla="*/ 611750 h 1849426"/>
                <a:gd name="connsiteX1406" fmla="*/ 6128298 w 6386648"/>
                <a:gd name="connsiteY1406" fmla="*/ 629774 h 1849426"/>
                <a:gd name="connsiteX1407" fmla="*/ 6110273 w 6386648"/>
                <a:gd name="connsiteY1407" fmla="*/ 647799 h 1849426"/>
                <a:gd name="connsiteX1408" fmla="*/ 6092248 w 6386648"/>
                <a:gd name="connsiteY1408" fmla="*/ 629774 h 1849426"/>
                <a:gd name="connsiteX1409" fmla="*/ 6110273 w 6386648"/>
                <a:gd name="connsiteY1409" fmla="*/ 611750 h 1849426"/>
                <a:gd name="connsiteX1410" fmla="*/ 3598872 w 6386648"/>
                <a:gd name="connsiteY1410" fmla="*/ 611750 h 1849426"/>
                <a:gd name="connsiteX1411" fmla="*/ 3616897 w 6386648"/>
                <a:gd name="connsiteY1411" fmla="*/ 629774 h 1849426"/>
                <a:gd name="connsiteX1412" fmla="*/ 3598872 w 6386648"/>
                <a:gd name="connsiteY1412" fmla="*/ 647799 h 1849426"/>
                <a:gd name="connsiteX1413" fmla="*/ 3580848 w 6386648"/>
                <a:gd name="connsiteY1413" fmla="*/ 629774 h 1849426"/>
                <a:gd name="connsiteX1414" fmla="*/ 3598872 w 6386648"/>
                <a:gd name="connsiteY1414" fmla="*/ 611750 h 1849426"/>
                <a:gd name="connsiteX1415" fmla="*/ 2150912 w 6386648"/>
                <a:gd name="connsiteY1415" fmla="*/ 611750 h 1849426"/>
                <a:gd name="connsiteX1416" fmla="*/ 2168937 w 6386648"/>
                <a:gd name="connsiteY1416" fmla="*/ 629774 h 1849426"/>
                <a:gd name="connsiteX1417" fmla="*/ 2150912 w 6386648"/>
                <a:gd name="connsiteY1417" fmla="*/ 647799 h 1849426"/>
                <a:gd name="connsiteX1418" fmla="*/ 2132888 w 6386648"/>
                <a:gd name="connsiteY1418" fmla="*/ 629774 h 1849426"/>
                <a:gd name="connsiteX1419" fmla="*/ 2150912 w 6386648"/>
                <a:gd name="connsiteY1419" fmla="*/ 611750 h 1849426"/>
                <a:gd name="connsiteX1420" fmla="*/ 2036758 w 6386648"/>
                <a:gd name="connsiteY1420" fmla="*/ 605742 h 1849426"/>
                <a:gd name="connsiteX1421" fmla="*/ 2054782 w 6386648"/>
                <a:gd name="connsiteY1421" fmla="*/ 623766 h 1849426"/>
                <a:gd name="connsiteX1422" fmla="*/ 2036758 w 6386648"/>
                <a:gd name="connsiteY1422" fmla="*/ 641791 h 1849426"/>
                <a:gd name="connsiteX1423" fmla="*/ 2018733 w 6386648"/>
                <a:gd name="connsiteY1423" fmla="*/ 623766 h 1849426"/>
                <a:gd name="connsiteX1424" fmla="*/ 2036758 w 6386648"/>
                <a:gd name="connsiteY1424" fmla="*/ 605742 h 1849426"/>
                <a:gd name="connsiteX1425" fmla="*/ 1652236 w 6386648"/>
                <a:gd name="connsiteY1425" fmla="*/ 605742 h 1849426"/>
                <a:gd name="connsiteX1426" fmla="*/ 1670261 w 6386648"/>
                <a:gd name="connsiteY1426" fmla="*/ 623766 h 1849426"/>
                <a:gd name="connsiteX1427" fmla="*/ 1652236 w 6386648"/>
                <a:gd name="connsiteY1427" fmla="*/ 641791 h 1849426"/>
                <a:gd name="connsiteX1428" fmla="*/ 1634212 w 6386648"/>
                <a:gd name="connsiteY1428" fmla="*/ 623766 h 1849426"/>
                <a:gd name="connsiteX1429" fmla="*/ 1652236 w 6386648"/>
                <a:gd name="connsiteY1429" fmla="*/ 605742 h 1849426"/>
                <a:gd name="connsiteX1430" fmla="*/ 1027390 w 6386648"/>
                <a:gd name="connsiteY1430" fmla="*/ 605742 h 1849426"/>
                <a:gd name="connsiteX1431" fmla="*/ 1045415 w 6386648"/>
                <a:gd name="connsiteY1431" fmla="*/ 623766 h 1849426"/>
                <a:gd name="connsiteX1432" fmla="*/ 1027390 w 6386648"/>
                <a:gd name="connsiteY1432" fmla="*/ 641791 h 1849426"/>
                <a:gd name="connsiteX1433" fmla="*/ 1009366 w 6386648"/>
                <a:gd name="connsiteY1433" fmla="*/ 623766 h 1849426"/>
                <a:gd name="connsiteX1434" fmla="*/ 1027390 w 6386648"/>
                <a:gd name="connsiteY1434" fmla="*/ 605742 h 1849426"/>
                <a:gd name="connsiteX1435" fmla="*/ 504684 w 6386648"/>
                <a:gd name="connsiteY1435" fmla="*/ 605742 h 1849426"/>
                <a:gd name="connsiteX1436" fmla="*/ 522708 w 6386648"/>
                <a:gd name="connsiteY1436" fmla="*/ 623766 h 1849426"/>
                <a:gd name="connsiteX1437" fmla="*/ 504684 w 6386648"/>
                <a:gd name="connsiteY1437" fmla="*/ 641791 h 1849426"/>
                <a:gd name="connsiteX1438" fmla="*/ 486659 w 6386648"/>
                <a:gd name="connsiteY1438" fmla="*/ 623766 h 1849426"/>
                <a:gd name="connsiteX1439" fmla="*/ 504684 w 6386648"/>
                <a:gd name="connsiteY1439" fmla="*/ 605742 h 1849426"/>
                <a:gd name="connsiteX1440" fmla="*/ 378512 w 6386648"/>
                <a:gd name="connsiteY1440" fmla="*/ 605742 h 1849426"/>
                <a:gd name="connsiteX1441" fmla="*/ 396537 w 6386648"/>
                <a:gd name="connsiteY1441" fmla="*/ 623766 h 1849426"/>
                <a:gd name="connsiteX1442" fmla="*/ 378512 w 6386648"/>
                <a:gd name="connsiteY1442" fmla="*/ 641791 h 1849426"/>
                <a:gd name="connsiteX1443" fmla="*/ 360488 w 6386648"/>
                <a:gd name="connsiteY1443" fmla="*/ 623766 h 1849426"/>
                <a:gd name="connsiteX1444" fmla="*/ 378512 w 6386648"/>
                <a:gd name="connsiteY1444" fmla="*/ 605742 h 1849426"/>
                <a:gd name="connsiteX1445" fmla="*/ 3358547 w 6386648"/>
                <a:gd name="connsiteY1445" fmla="*/ 599734 h 1849426"/>
                <a:gd name="connsiteX1446" fmla="*/ 3376572 w 6386648"/>
                <a:gd name="connsiteY1446" fmla="*/ 617758 h 1849426"/>
                <a:gd name="connsiteX1447" fmla="*/ 3358547 w 6386648"/>
                <a:gd name="connsiteY1447" fmla="*/ 635783 h 1849426"/>
                <a:gd name="connsiteX1448" fmla="*/ 3340523 w 6386648"/>
                <a:gd name="connsiteY1448" fmla="*/ 617758 h 1849426"/>
                <a:gd name="connsiteX1449" fmla="*/ 3358547 w 6386648"/>
                <a:gd name="connsiteY1449" fmla="*/ 599734 h 1849426"/>
                <a:gd name="connsiteX1450" fmla="*/ 3887263 w 6386648"/>
                <a:gd name="connsiteY1450" fmla="*/ 593726 h 1849426"/>
                <a:gd name="connsiteX1451" fmla="*/ 3905288 w 6386648"/>
                <a:gd name="connsiteY1451" fmla="*/ 611750 h 1849426"/>
                <a:gd name="connsiteX1452" fmla="*/ 3887263 w 6386648"/>
                <a:gd name="connsiteY1452" fmla="*/ 629775 h 1849426"/>
                <a:gd name="connsiteX1453" fmla="*/ 3869238 w 6386648"/>
                <a:gd name="connsiteY1453" fmla="*/ 611750 h 1849426"/>
                <a:gd name="connsiteX1454" fmla="*/ 3887263 w 6386648"/>
                <a:gd name="connsiteY1454" fmla="*/ 593726 h 1849426"/>
                <a:gd name="connsiteX1455" fmla="*/ 5623614 w 6386648"/>
                <a:gd name="connsiteY1455" fmla="*/ 587718 h 1849426"/>
                <a:gd name="connsiteX1456" fmla="*/ 5641639 w 6386648"/>
                <a:gd name="connsiteY1456" fmla="*/ 605743 h 1849426"/>
                <a:gd name="connsiteX1457" fmla="*/ 5623614 w 6386648"/>
                <a:gd name="connsiteY1457" fmla="*/ 623767 h 1849426"/>
                <a:gd name="connsiteX1458" fmla="*/ 5605590 w 6386648"/>
                <a:gd name="connsiteY1458" fmla="*/ 605743 h 1849426"/>
                <a:gd name="connsiteX1459" fmla="*/ 5623614 w 6386648"/>
                <a:gd name="connsiteY1459" fmla="*/ 587718 h 1849426"/>
                <a:gd name="connsiteX1460" fmla="*/ 4157629 w 6386648"/>
                <a:gd name="connsiteY1460" fmla="*/ 587718 h 1849426"/>
                <a:gd name="connsiteX1461" fmla="*/ 4175654 w 6386648"/>
                <a:gd name="connsiteY1461" fmla="*/ 605743 h 1849426"/>
                <a:gd name="connsiteX1462" fmla="*/ 4157629 w 6386648"/>
                <a:gd name="connsiteY1462" fmla="*/ 623767 h 1849426"/>
                <a:gd name="connsiteX1463" fmla="*/ 4139604 w 6386648"/>
                <a:gd name="connsiteY1463" fmla="*/ 605743 h 1849426"/>
                <a:gd name="connsiteX1464" fmla="*/ 4157629 w 6386648"/>
                <a:gd name="connsiteY1464" fmla="*/ 587718 h 1849426"/>
                <a:gd name="connsiteX1465" fmla="*/ 1886555 w 6386648"/>
                <a:gd name="connsiteY1465" fmla="*/ 587718 h 1849426"/>
                <a:gd name="connsiteX1466" fmla="*/ 1904579 w 6386648"/>
                <a:gd name="connsiteY1466" fmla="*/ 605743 h 1849426"/>
                <a:gd name="connsiteX1467" fmla="*/ 1886555 w 6386648"/>
                <a:gd name="connsiteY1467" fmla="*/ 623767 h 1849426"/>
                <a:gd name="connsiteX1468" fmla="*/ 1868530 w 6386648"/>
                <a:gd name="connsiteY1468" fmla="*/ 605743 h 1849426"/>
                <a:gd name="connsiteX1469" fmla="*/ 1886555 w 6386648"/>
                <a:gd name="connsiteY1469" fmla="*/ 587718 h 1849426"/>
                <a:gd name="connsiteX1470" fmla="*/ 1147553 w 6386648"/>
                <a:gd name="connsiteY1470" fmla="*/ 587718 h 1849426"/>
                <a:gd name="connsiteX1471" fmla="*/ 1165578 w 6386648"/>
                <a:gd name="connsiteY1471" fmla="*/ 605743 h 1849426"/>
                <a:gd name="connsiteX1472" fmla="*/ 1147553 w 6386648"/>
                <a:gd name="connsiteY1472" fmla="*/ 623767 h 1849426"/>
                <a:gd name="connsiteX1473" fmla="*/ 1129529 w 6386648"/>
                <a:gd name="connsiteY1473" fmla="*/ 605743 h 1849426"/>
                <a:gd name="connsiteX1474" fmla="*/ 1147553 w 6386648"/>
                <a:gd name="connsiteY1474" fmla="*/ 587718 h 1849426"/>
                <a:gd name="connsiteX1475" fmla="*/ 6212411 w 6386648"/>
                <a:gd name="connsiteY1475" fmla="*/ 581710 h 1849426"/>
                <a:gd name="connsiteX1476" fmla="*/ 6230436 w 6386648"/>
                <a:gd name="connsiteY1476" fmla="*/ 599734 h 1849426"/>
                <a:gd name="connsiteX1477" fmla="*/ 6212411 w 6386648"/>
                <a:gd name="connsiteY1477" fmla="*/ 617759 h 1849426"/>
                <a:gd name="connsiteX1478" fmla="*/ 6194387 w 6386648"/>
                <a:gd name="connsiteY1478" fmla="*/ 599734 h 1849426"/>
                <a:gd name="connsiteX1479" fmla="*/ 6212411 w 6386648"/>
                <a:gd name="connsiteY1479" fmla="*/ 581710 h 1849426"/>
                <a:gd name="connsiteX1480" fmla="*/ 3478710 w 6386648"/>
                <a:gd name="connsiteY1480" fmla="*/ 581710 h 1849426"/>
                <a:gd name="connsiteX1481" fmla="*/ 3496735 w 6386648"/>
                <a:gd name="connsiteY1481" fmla="*/ 599734 h 1849426"/>
                <a:gd name="connsiteX1482" fmla="*/ 3478710 w 6386648"/>
                <a:gd name="connsiteY1482" fmla="*/ 617759 h 1849426"/>
                <a:gd name="connsiteX1483" fmla="*/ 3460686 w 6386648"/>
                <a:gd name="connsiteY1483" fmla="*/ 599734 h 1849426"/>
                <a:gd name="connsiteX1484" fmla="*/ 3478710 w 6386648"/>
                <a:gd name="connsiteY1484" fmla="*/ 581710 h 1849426"/>
                <a:gd name="connsiteX1485" fmla="*/ 2883904 w 6386648"/>
                <a:gd name="connsiteY1485" fmla="*/ 581710 h 1849426"/>
                <a:gd name="connsiteX1486" fmla="*/ 2901929 w 6386648"/>
                <a:gd name="connsiteY1486" fmla="*/ 599734 h 1849426"/>
                <a:gd name="connsiteX1487" fmla="*/ 2883904 w 6386648"/>
                <a:gd name="connsiteY1487" fmla="*/ 617759 h 1849426"/>
                <a:gd name="connsiteX1488" fmla="*/ 2865880 w 6386648"/>
                <a:gd name="connsiteY1488" fmla="*/ 599734 h 1849426"/>
                <a:gd name="connsiteX1489" fmla="*/ 2883904 w 6386648"/>
                <a:gd name="connsiteY1489" fmla="*/ 581710 h 1849426"/>
                <a:gd name="connsiteX1490" fmla="*/ 4488076 w 6386648"/>
                <a:gd name="connsiteY1490" fmla="*/ 575702 h 1849426"/>
                <a:gd name="connsiteX1491" fmla="*/ 4506101 w 6386648"/>
                <a:gd name="connsiteY1491" fmla="*/ 593726 h 1849426"/>
                <a:gd name="connsiteX1492" fmla="*/ 4488076 w 6386648"/>
                <a:gd name="connsiteY1492" fmla="*/ 611751 h 1849426"/>
                <a:gd name="connsiteX1493" fmla="*/ 4470051 w 6386648"/>
                <a:gd name="connsiteY1493" fmla="*/ 593726 h 1849426"/>
                <a:gd name="connsiteX1494" fmla="*/ 4488076 w 6386648"/>
                <a:gd name="connsiteY1494" fmla="*/ 575702 h 1849426"/>
                <a:gd name="connsiteX1495" fmla="*/ 4313840 w 6386648"/>
                <a:gd name="connsiteY1495" fmla="*/ 575702 h 1849426"/>
                <a:gd name="connsiteX1496" fmla="*/ 4331865 w 6386648"/>
                <a:gd name="connsiteY1496" fmla="*/ 593726 h 1849426"/>
                <a:gd name="connsiteX1497" fmla="*/ 4313840 w 6386648"/>
                <a:gd name="connsiteY1497" fmla="*/ 611751 h 1849426"/>
                <a:gd name="connsiteX1498" fmla="*/ 4295816 w 6386648"/>
                <a:gd name="connsiteY1498" fmla="*/ 593726 h 1849426"/>
                <a:gd name="connsiteX1499" fmla="*/ 4313840 w 6386648"/>
                <a:gd name="connsiteY1499" fmla="*/ 575702 h 1849426"/>
                <a:gd name="connsiteX1500" fmla="*/ 1381870 w 6386648"/>
                <a:gd name="connsiteY1500" fmla="*/ 569693 h 1849426"/>
                <a:gd name="connsiteX1501" fmla="*/ 1399895 w 6386648"/>
                <a:gd name="connsiteY1501" fmla="*/ 587717 h 1849426"/>
                <a:gd name="connsiteX1502" fmla="*/ 1381870 w 6386648"/>
                <a:gd name="connsiteY1502" fmla="*/ 605742 h 1849426"/>
                <a:gd name="connsiteX1503" fmla="*/ 1363846 w 6386648"/>
                <a:gd name="connsiteY1503" fmla="*/ 587717 h 1849426"/>
                <a:gd name="connsiteX1504" fmla="*/ 1381870 w 6386648"/>
                <a:gd name="connsiteY1504" fmla="*/ 569693 h 1849426"/>
                <a:gd name="connsiteX1505" fmla="*/ 126170 w 6386648"/>
                <a:gd name="connsiteY1505" fmla="*/ 563685 h 1849426"/>
                <a:gd name="connsiteX1506" fmla="*/ 144195 w 6386648"/>
                <a:gd name="connsiteY1506" fmla="*/ 581709 h 1849426"/>
                <a:gd name="connsiteX1507" fmla="*/ 126170 w 6386648"/>
                <a:gd name="connsiteY1507" fmla="*/ 599734 h 1849426"/>
                <a:gd name="connsiteX1508" fmla="*/ 108146 w 6386648"/>
                <a:gd name="connsiteY1508" fmla="*/ 581709 h 1849426"/>
                <a:gd name="connsiteX1509" fmla="*/ 126170 w 6386648"/>
                <a:gd name="connsiteY1509" fmla="*/ 563685 h 1849426"/>
                <a:gd name="connsiteX1510" fmla="*/ 2583497 w 6386648"/>
                <a:gd name="connsiteY1510" fmla="*/ 557677 h 1849426"/>
                <a:gd name="connsiteX1511" fmla="*/ 2601522 w 6386648"/>
                <a:gd name="connsiteY1511" fmla="*/ 575702 h 1849426"/>
                <a:gd name="connsiteX1512" fmla="*/ 2583497 w 6386648"/>
                <a:gd name="connsiteY1512" fmla="*/ 593726 h 1849426"/>
                <a:gd name="connsiteX1513" fmla="*/ 2565473 w 6386648"/>
                <a:gd name="connsiteY1513" fmla="*/ 575702 h 1849426"/>
                <a:gd name="connsiteX1514" fmla="*/ 2583497 w 6386648"/>
                <a:gd name="connsiteY1514" fmla="*/ 557677 h 1849426"/>
                <a:gd name="connsiteX1515" fmla="*/ 246333 w 6386648"/>
                <a:gd name="connsiteY1515" fmla="*/ 557677 h 1849426"/>
                <a:gd name="connsiteX1516" fmla="*/ 264358 w 6386648"/>
                <a:gd name="connsiteY1516" fmla="*/ 575702 h 1849426"/>
                <a:gd name="connsiteX1517" fmla="*/ 246333 w 6386648"/>
                <a:gd name="connsiteY1517" fmla="*/ 593726 h 1849426"/>
                <a:gd name="connsiteX1518" fmla="*/ 228309 w 6386648"/>
                <a:gd name="connsiteY1518" fmla="*/ 575702 h 1849426"/>
                <a:gd name="connsiteX1519" fmla="*/ 246333 w 6386648"/>
                <a:gd name="connsiteY1519" fmla="*/ 557677 h 1849426"/>
                <a:gd name="connsiteX1520" fmla="*/ 1736351 w 6386648"/>
                <a:gd name="connsiteY1520" fmla="*/ 551669 h 1849426"/>
                <a:gd name="connsiteX1521" fmla="*/ 1754375 w 6386648"/>
                <a:gd name="connsiteY1521" fmla="*/ 569693 h 1849426"/>
                <a:gd name="connsiteX1522" fmla="*/ 1736351 w 6386648"/>
                <a:gd name="connsiteY1522" fmla="*/ 587718 h 1849426"/>
                <a:gd name="connsiteX1523" fmla="*/ 1718326 w 6386648"/>
                <a:gd name="connsiteY1523" fmla="*/ 569693 h 1849426"/>
                <a:gd name="connsiteX1524" fmla="*/ 1736351 w 6386648"/>
                <a:gd name="connsiteY1524" fmla="*/ 551669 h 1849426"/>
                <a:gd name="connsiteX1525" fmla="*/ 3731051 w 6386648"/>
                <a:gd name="connsiteY1525" fmla="*/ 545661 h 1849426"/>
                <a:gd name="connsiteX1526" fmla="*/ 3749076 w 6386648"/>
                <a:gd name="connsiteY1526" fmla="*/ 563685 h 1849426"/>
                <a:gd name="connsiteX1527" fmla="*/ 3731051 w 6386648"/>
                <a:gd name="connsiteY1527" fmla="*/ 581710 h 1849426"/>
                <a:gd name="connsiteX1528" fmla="*/ 3713027 w 6386648"/>
                <a:gd name="connsiteY1528" fmla="*/ 563685 h 1849426"/>
                <a:gd name="connsiteX1529" fmla="*/ 3731051 w 6386648"/>
                <a:gd name="connsiteY1529" fmla="*/ 545661 h 1849426"/>
                <a:gd name="connsiteX1530" fmla="*/ 2763741 w 6386648"/>
                <a:gd name="connsiteY1530" fmla="*/ 545661 h 1849426"/>
                <a:gd name="connsiteX1531" fmla="*/ 2781766 w 6386648"/>
                <a:gd name="connsiteY1531" fmla="*/ 563685 h 1849426"/>
                <a:gd name="connsiteX1532" fmla="*/ 2763741 w 6386648"/>
                <a:gd name="connsiteY1532" fmla="*/ 581710 h 1849426"/>
                <a:gd name="connsiteX1533" fmla="*/ 2745717 w 6386648"/>
                <a:gd name="connsiteY1533" fmla="*/ 563685 h 1849426"/>
                <a:gd name="connsiteX1534" fmla="*/ 2763741 w 6386648"/>
                <a:gd name="connsiteY1534" fmla="*/ 545661 h 1849426"/>
                <a:gd name="connsiteX1535" fmla="*/ 726984 w 6386648"/>
                <a:gd name="connsiteY1535" fmla="*/ 545661 h 1849426"/>
                <a:gd name="connsiteX1536" fmla="*/ 745009 w 6386648"/>
                <a:gd name="connsiteY1536" fmla="*/ 563685 h 1849426"/>
                <a:gd name="connsiteX1537" fmla="*/ 726984 w 6386648"/>
                <a:gd name="connsiteY1537" fmla="*/ 581710 h 1849426"/>
                <a:gd name="connsiteX1538" fmla="*/ 708960 w 6386648"/>
                <a:gd name="connsiteY1538" fmla="*/ 563685 h 1849426"/>
                <a:gd name="connsiteX1539" fmla="*/ 726984 w 6386648"/>
                <a:gd name="connsiteY1539" fmla="*/ 545661 h 1849426"/>
                <a:gd name="connsiteX1540" fmla="*/ 3136246 w 6386648"/>
                <a:gd name="connsiteY1540" fmla="*/ 539653 h 1849426"/>
                <a:gd name="connsiteX1541" fmla="*/ 3154271 w 6386648"/>
                <a:gd name="connsiteY1541" fmla="*/ 557677 h 1849426"/>
                <a:gd name="connsiteX1542" fmla="*/ 3136246 w 6386648"/>
                <a:gd name="connsiteY1542" fmla="*/ 575702 h 1849426"/>
                <a:gd name="connsiteX1543" fmla="*/ 3118221 w 6386648"/>
                <a:gd name="connsiteY1543" fmla="*/ 557677 h 1849426"/>
                <a:gd name="connsiteX1544" fmla="*/ 3136246 w 6386648"/>
                <a:gd name="connsiteY1544" fmla="*/ 539653 h 1849426"/>
                <a:gd name="connsiteX1545" fmla="*/ 3004067 w 6386648"/>
                <a:gd name="connsiteY1545" fmla="*/ 539653 h 1849426"/>
                <a:gd name="connsiteX1546" fmla="*/ 3022092 w 6386648"/>
                <a:gd name="connsiteY1546" fmla="*/ 557677 h 1849426"/>
                <a:gd name="connsiteX1547" fmla="*/ 3004067 w 6386648"/>
                <a:gd name="connsiteY1547" fmla="*/ 575702 h 1849426"/>
                <a:gd name="connsiteX1548" fmla="*/ 2986043 w 6386648"/>
                <a:gd name="connsiteY1548" fmla="*/ 557677 h 1849426"/>
                <a:gd name="connsiteX1549" fmla="*/ 3004067 w 6386648"/>
                <a:gd name="connsiteY1549" fmla="*/ 539653 h 1849426"/>
                <a:gd name="connsiteX1550" fmla="*/ 835130 w 6386648"/>
                <a:gd name="connsiteY1550" fmla="*/ 539653 h 1849426"/>
                <a:gd name="connsiteX1551" fmla="*/ 847146 w 6386648"/>
                <a:gd name="connsiteY1551" fmla="*/ 551669 h 1849426"/>
                <a:gd name="connsiteX1552" fmla="*/ 835130 w 6386648"/>
                <a:gd name="connsiteY1552" fmla="*/ 563685 h 1849426"/>
                <a:gd name="connsiteX1553" fmla="*/ 823114 w 6386648"/>
                <a:gd name="connsiteY1553" fmla="*/ 551669 h 1849426"/>
                <a:gd name="connsiteX1554" fmla="*/ 835130 w 6386648"/>
                <a:gd name="connsiteY1554" fmla="*/ 539653 h 1849426"/>
                <a:gd name="connsiteX1555" fmla="*/ 612829 w 6386648"/>
                <a:gd name="connsiteY1555" fmla="*/ 539653 h 1849426"/>
                <a:gd name="connsiteX1556" fmla="*/ 630854 w 6386648"/>
                <a:gd name="connsiteY1556" fmla="*/ 557677 h 1849426"/>
                <a:gd name="connsiteX1557" fmla="*/ 612829 w 6386648"/>
                <a:gd name="connsiteY1557" fmla="*/ 575702 h 1849426"/>
                <a:gd name="connsiteX1558" fmla="*/ 594805 w 6386648"/>
                <a:gd name="connsiteY1558" fmla="*/ 557677 h 1849426"/>
                <a:gd name="connsiteX1559" fmla="*/ 612829 w 6386648"/>
                <a:gd name="connsiteY1559" fmla="*/ 539653 h 1849426"/>
                <a:gd name="connsiteX1560" fmla="*/ 6014143 w 6386648"/>
                <a:gd name="connsiteY1560" fmla="*/ 533645 h 1849426"/>
                <a:gd name="connsiteX1561" fmla="*/ 6032168 w 6386648"/>
                <a:gd name="connsiteY1561" fmla="*/ 551669 h 1849426"/>
                <a:gd name="connsiteX1562" fmla="*/ 6014143 w 6386648"/>
                <a:gd name="connsiteY1562" fmla="*/ 569694 h 1849426"/>
                <a:gd name="connsiteX1563" fmla="*/ 5996119 w 6386648"/>
                <a:gd name="connsiteY1563" fmla="*/ 551669 h 1849426"/>
                <a:gd name="connsiteX1564" fmla="*/ 6014143 w 6386648"/>
                <a:gd name="connsiteY1564" fmla="*/ 533645 h 1849426"/>
                <a:gd name="connsiteX1565" fmla="*/ 5725752 w 6386648"/>
                <a:gd name="connsiteY1565" fmla="*/ 533645 h 1849426"/>
                <a:gd name="connsiteX1566" fmla="*/ 5743777 w 6386648"/>
                <a:gd name="connsiteY1566" fmla="*/ 551669 h 1849426"/>
                <a:gd name="connsiteX1567" fmla="*/ 5725752 w 6386648"/>
                <a:gd name="connsiteY1567" fmla="*/ 569694 h 1849426"/>
                <a:gd name="connsiteX1568" fmla="*/ 5707728 w 6386648"/>
                <a:gd name="connsiteY1568" fmla="*/ 551669 h 1849426"/>
                <a:gd name="connsiteX1569" fmla="*/ 5725752 w 6386648"/>
                <a:gd name="connsiteY1569" fmla="*/ 533645 h 1849426"/>
                <a:gd name="connsiteX1570" fmla="*/ 4013434 w 6386648"/>
                <a:gd name="connsiteY1570" fmla="*/ 533645 h 1849426"/>
                <a:gd name="connsiteX1571" fmla="*/ 4031459 w 6386648"/>
                <a:gd name="connsiteY1571" fmla="*/ 551669 h 1849426"/>
                <a:gd name="connsiteX1572" fmla="*/ 4013434 w 6386648"/>
                <a:gd name="connsiteY1572" fmla="*/ 569694 h 1849426"/>
                <a:gd name="connsiteX1573" fmla="*/ 3995410 w 6386648"/>
                <a:gd name="connsiteY1573" fmla="*/ 551669 h 1849426"/>
                <a:gd name="connsiteX1574" fmla="*/ 4013434 w 6386648"/>
                <a:gd name="connsiteY1574" fmla="*/ 533645 h 1849426"/>
                <a:gd name="connsiteX1575" fmla="*/ 2223009 w 6386648"/>
                <a:gd name="connsiteY1575" fmla="*/ 533645 h 1849426"/>
                <a:gd name="connsiteX1576" fmla="*/ 2241034 w 6386648"/>
                <a:gd name="connsiteY1576" fmla="*/ 551669 h 1849426"/>
                <a:gd name="connsiteX1577" fmla="*/ 2223009 w 6386648"/>
                <a:gd name="connsiteY1577" fmla="*/ 569694 h 1849426"/>
                <a:gd name="connsiteX1578" fmla="*/ 2204985 w 6386648"/>
                <a:gd name="connsiteY1578" fmla="*/ 551669 h 1849426"/>
                <a:gd name="connsiteX1579" fmla="*/ 2223009 w 6386648"/>
                <a:gd name="connsiteY1579" fmla="*/ 533645 h 1849426"/>
                <a:gd name="connsiteX1580" fmla="*/ 1249691 w 6386648"/>
                <a:gd name="connsiteY1580" fmla="*/ 533645 h 1849426"/>
                <a:gd name="connsiteX1581" fmla="*/ 1267716 w 6386648"/>
                <a:gd name="connsiteY1581" fmla="*/ 551669 h 1849426"/>
                <a:gd name="connsiteX1582" fmla="*/ 1249691 w 6386648"/>
                <a:gd name="connsiteY1582" fmla="*/ 569694 h 1849426"/>
                <a:gd name="connsiteX1583" fmla="*/ 1231667 w 6386648"/>
                <a:gd name="connsiteY1583" fmla="*/ 551669 h 1849426"/>
                <a:gd name="connsiteX1584" fmla="*/ 1249691 w 6386648"/>
                <a:gd name="connsiteY1584" fmla="*/ 533645 h 1849426"/>
                <a:gd name="connsiteX1585" fmla="*/ 2409261 w 6386648"/>
                <a:gd name="connsiteY1585" fmla="*/ 527636 h 1849426"/>
                <a:gd name="connsiteX1586" fmla="*/ 2427286 w 6386648"/>
                <a:gd name="connsiteY1586" fmla="*/ 545661 h 1849426"/>
                <a:gd name="connsiteX1587" fmla="*/ 2409261 w 6386648"/>
                <a:gd name="connsiteY1587" fmla="*/ 563685 h 1849426"/>
                <a:gd name="connsiteX1588" fmla="*/ 2391237 w 6386648"/>
                <a:gd name="connsiteY1588" fmla="*/ 545661 h 1849426"/>
                <a:gd name="connsiteX1589" fmla="*/ 2409261 w 6386648"/>
                <a:gd name="connsiteY1589" fmla="*/ 527636 h 1849426"/>
                <a:gd name="connsiteX1590" fmla="*/ 5527484 w 6386648"/>
                <a:gd name="connsiteY1590" fmla="*/ 521628 h 1849426"/>
                <a:gd name="connsiteX1591" fmla="*/ 5545509 w 6386648"/>
                <a:gd name="connsiteY1591" fmla="*/ 539652 h 1849426"/>
                <a:gd name="connsiteX1592" fmla="*/ 5527484 w 6386648"/>
                <a:gd name="connsiteY1592" fmla="*/ 557677 h 1849426"/>
                <a:gd name="connsiteX1593" fmla="*/ 5509460 w 6386648"/>
                <a:gd name="connsiteY1593" fmla="*/ 539652 h 1849426"/>
                <a:gd name="connsiteX1594" fmla="*/ 5527484 w 6386648"/>
                <a:gd name="connsiteY1594" fmla="*/ 521628 h 1849426"/>
                <a:gd name="connsiteX1595" fmla="*/ 4830540 w 6386648"/>
                <a:gd name="connsiteY1595" fmla="*/ 521628 h 1849426"/>
                <a:gd name="connsiteX1596" fmla="*/ 4848565 w 6386648"/>
                <a:gd name="connsiteY1596" fmla="*/ 539652 h 1849426"/>
                <a:gd name="connsiteX1597" fmla="*/ 4830540 w 6386648"/>
                <a:gd name="connsiteY1597" fmla="*/ 557677 h 1849426"/>
                <a:gd name="connsiteX1598" fmla="*/ 4812516 w 6386648"/>
                <a:gd name="connsiteY1598" fmla="*/ 539652 h 1849426"/>
                <a:gd name="connsiteX1599" fmla="*/ 4830540 w 6386648"/>
                <a:gd name="connsiteY1599" fmla="*/ 521628 h 1849426"/>
                <a:gd name="connsiteX1600" fmla="*/ 1514049 w 6386648"/>
                <a:gd name="connsiteY1600" fmla="*/ 521628 h 1849426"/>
                <a:gd name="connsiteX1601" fmla="*/ 1532074 w 6386648"/>
                <a:gd name="connsiteY1601" fmla="*/ 539652 h 1849426"/>
                <a:gd name="connsiteX1602" fmla="*/ 1514049 w 6386648"/>
                <a:gd name="connsiteY1602" fmla="*/ 557677 h 1849426"/>
                <a:gd name="connsiteX1603" fmla="*/ 1496025 w 6386648"/>
                <a:gd name="connsiteY1603" fmla="*/ 539652 h 1849426"/>
                <a:gd name="connsiteX1604" fmla="*/ 1514049 w 6386648"/>
                <a:gd name="connsiteY1604" fmla="*/ 521628 h 1849426"/>
                <a:gd name="connsiteX1605" fmla="*/ 6332574 w 6386648"/>
                <a:gd name="connsiteY1605" fmla="*/ 515620 h 1849426"/>
                <a:gd name="connsiteX1606" fmla="*/ 6350598 w 6386648"/>
                <a:gd name="connsiteY1606" fmla="*/ 533644 h 1849426"/>
                <a:gd name="connsiteX1607" fmla="*/ 6332574 w 6386648"/>
                <a:gd name="connsiteY1607" fmla="*/ 551669 h 1849426"/>
                <a:gd name="connsiteX1608" fmla="*/ 6314549 w 6386648"/>
                <a:gd name="connsiteY1608" fmla="*/ 533644 h 1849426"/>
                <a:gd name="connsiteX1609" fmla="*/ 6332574 w 6386648"/>
                <a:gd name="connsiteY1609" fmla="*/ 515620 h 1849426"/>
                <a:gd name="connsiteX1610" fmla="*/ 5893980 w 6386648"/>
                <a:gd name="connsiteY1610" fmla="*/ 509612 h 1849426"/>
                <a:gd name="connsiteX1611" fmla="*/ 5912005 w 6386648"/>
                <a:gd name="connsiteY1611" fmla="*/ 527636 h 1849426"/>
                <a:gd name="connsiteX1612" fmla="*/ 5893980 w 6386648"/>
                <a:gd name="connsiteY1612" fmla="*/ 545661 h 1849426"/>
                <a:gd name="connsiteX1613" fmla="*/ 5875956 w 6386648"/>
                <a:gd name="connsiteY1613" fmla="*/ 527636 h 1849426"/>
                <a:gd name="connsiteX1614" fmla="*/ 5893980 w 6386648"/>
                <a:gd name="connsiteY1614" fmla="*/ 509612 h 1849426"/>
                <a:gd name="connsiteX1615" fmla="*/ 3244392 w 6386648"/>
                <a:gd name="connsiteY1615" fmla="*/ 509612 h 1849426"/>
                <a:gd name="connsiteX1616" fmla="*/ 3262417 w 6386648"/>
                <a:gd name="connsiteY1616" fmla="*/ 527636 h 1849426"/>
                <a:gd name="connsiteX1617" fmla="*/ 3244392 w 6386648"/>
                <a:gd name="connsiteY1617" fmla="*/ 545661 h 1849426"/>
                <a:gd name="connsiteX1618" fmla="*/ 3226368 w 6386648"/>
                <a:gd name="connsiteY1618" fmla="*/ 527636 h 1849426"/>
                <a:gd name="connsiteX1619" fmla="*/ 3244392 w 6386648"/>
                <a:gd name="connsiteY1619" fmla="*/ 509612 h 1849426"/>
                <a:gd name="connsiteX1620" fmla="*/ 1982684 w 6386648"/>
                <a:gd name="connsiteY1620" fmla="*/ 509612 h 1849426"/>
                <a:gd name="connsiteX1621" fmla="*/ 2000709 w 6386648"/>
                <a:gd name="connsiteY1621" fmla="*/ 527636 h 1849426"/>
                <a:gd name="connsiteX1622" fmla="*/ 1982684 w 6386648"/>
                <a:gd name="connsiteY1622" fmla="*/ 545661 h 1849426"/>
                <a:gd name="connsiteX1623" fmla="*/ 1964660 w 6386648"/>
                <a:gd name="connsiteY1623" fmla="*/ 527636 h 1849426"/>
                <a:gd name="connsiteX1624" fmla="*/ 1982684 w 6386648"/>
                <a:gd name="connsiteY1624" fmla="*/ 509612 h 1849426"/>
                <a:gd name="connsiteX1625" fmla="*/ 5040825 w 6386648"/>
                <a:gd name="connsiteY1625" fmla="*/ 503604 h 1849426"/>
                <a:gd name="connsiteX1626" fmla="*/ 5058850 w 6386648"/>
                <a:gd name="connsiteY1626" fmla="*/ 521628 h 1849426"/>
                <a:gd name="connsiteX1627" fmla="*/ 5040825 w 6386648"/>
                <a:gd name="connsiteY1627" fmla="*/ 539653 h 1849426"/>
                <a:gd name="connsiteX1628" fmla="*/ 5022801 w 6386648"/>
                <a:gd name="connsiteY1628" fmla="*/ 521628 h 1849426"/>
                <a:gd name="connsiteX1629" fmla="*/ 5040825 w 6386648"/>
                <a:gd name="connsiteY1629" fmla="*/ 503604 h 1849426"/>
                <a:gd name="connsiteX1630" fmla="*/ 4926670 w 6386648"/>
                <a:gd name="connsiteY1630" fmla="*/ 503604 h 1849426"/>
                <a:gd name="connsiteX1631" fmla="*/ 4944695 w 6386648"/>
                <a:gd name="connsiteY1631" fmla="*/ 521628 h 1849426"/>
                <a:gd name="connsiteX1632" fmla="*/ 4926670 w 6386648"/>
                <a:gd name="connsiteY1632" fmla="*/ 539653 h 1849426"/>
                <a:gd name="connsiteX1633" fmla="*/ 4908646 w 6386648"/>
                <a:gd name="connsiteY1633" fmla="*/ 521628 h 1849426"/>
                <a:gd name="connsiteX1634" fmla="*/ 4926670 w 6386648"/>
                <a:gd name="connsiteY1634" fmla="*/ 503604 h 1849426"/>
                <a:gd name="connsiteX1635" fmla="*/ 5419337 w 6386648"/>
                <a:gd name="connsiteY1635" fmla="*/ 497596 h 1849426"/>
                <a:gd name="connsiteX1636" fmla="*/ 5437362 w 6386648"/>
                <a:gd name="connsiteY1636" fmla="*/ 515621 h 1849426"/>
                <a:gd name="connsiteX1637" fmla="*/ 5419337 w 6386648"/>
                <a:gd name="connsiteY1637" fmla="*/ 533645 h 1849426"/>
                <a:gd name="connsiteX1638" fmla="*/ 5401312 w 6386648"/>
                <a:gd name="connsiteY1638" fmla="*/ 515621 h 1849426"/>
                <a:gd name="connsiteX1639" fmla="*/ 5419337 w 6386648"/>
                <a:gd name="connsiteY1639" fmla="*/ 497596 h 1849426"/>
                <a:gd name="connsiteX1640" fmla="*/ 3610889 w 6386648"/>
                <a:gd name="connsiteY1640" fmla="*/ 497596 h 1849426"/>
                <a:gd name="connsiteX1641" fmla="*/ 3628914 w 6386648"/>
                <a:gd name="connsiteY1641" fmla="*/ 515621 h 1849426"/>
                <a:gd name="connsiteX1642" fmla="*/ 3610889 w 6386648"/>
                <a:gd name="connsiteY1642" fmla="*/ 533645 h 1849426"/>
                <a:gd name="connsiteX1643" fmla="*/ 3592865 w 6386648"/>
                <a:gd name="connsiteY1643" fmla="*/ 515621 h 1849426"/>
                <a:gd name="connsiteX1644" fmla="*/ 3610889 w 6386648"/>
                <a:gd name="connsiteY1644" fmla="*/ 497596 h 1849426"/>
                <a:gd name="connsiteX1645" fmla="*/ 967309 w 6386648"/>
                <a:gd name="connsiteY1645" fmla="*/ 497596 h 1849426"/>
                <a:gd name="connsiteX1646" fmla="*/ 985334 w 6386648"/>
                <a:gd name="connsiteY1646" fmla="*/ 515621 h 1849426"/>
                <a:gd name="connsiteX1647" fmla="*/ 967309 w 6386648"/>
                <a:gd name="connsiteY1647" fmla="*/ 533645 h 1849426"/>
                <a:gd name="connsiteX1648" fmla="*/ 949285 w 6386648"/>
                <a:gd name="connsiteY1648" fmla="*/ 515621 h 1849426"/>
                <a:gd name="connsiteX1649" fmla="*/ 967309 w 6386648"/>
                <a:gd name="connsiteY1649" fmla="*/ 497596 h 1849426"/>
                <a:gd name="connsiteX1650" fmla="*/ 450609 w 6386648"/>
                <a:gd name="connsiteY1650" fmla="*/ 497596 h 1849426"/>
                <a:gd name="connsiteX1651" fmla="*/ 468634 w 6386648"/>
                <a:gd name="connsiteY1651" fmla="*/ 515621 h 1849426"/>
                <a:gd name="connsiteX1652" fmla="*/ 450609 w 6386648"/>
                <a:gd name="connsiteY1652" fmla="*/ 533645 h 1849426"/>
                <a:gd name="connsiteX1653" fmla="*/ 432585 w 6386648"/>
                <a:gd name="connsiteY1653" fmla="*/ 515621 h 1849426"/>
                <a:gd name="connsiteX1654" fmla="*/ 450609 w 6386648"/>
                <a:gd name="connsiteY1654" fmla="*/ 497596 h 1849426"/>
                <a:gd name="connsiteX1655" fmla="*/ 4632272 w 6386648"/>
                <a:gd name="connsiteY1655" fmla="*/ 485580 h 1849426"/>
                <a:gd name="connsiteX1656" fmla="*/ 4650297 w 6386648"/>
                <a:gd name="connsiteY1656" fmla="*/ 503604 h 1849426"/>
                <a:gd name="connsiteX1657" fmla="*/ 4632272 w 6386648"/>
                <a:gd name="connsiteY1657" fmla="*/ 521629 h 1849426"/>
                <a:gd name="connsiteX1658" fmla="*/ 4614248 w 6386648"/>
                <a:gd name="connsiteY1658" fmla="*/ 503604 h 1849426"/>
                <a:gd name="connsiteX1659" fmla="*/ 4632272 w 6386648"/>
                <a:gd name="connsiteY1659" fmla="*/ 485580 h 1849426"/>
                <a:gd name="connsiteX1660" fmla="*/ 4379930 w 6386648"/>
                <a:gd name="connsiteY1660" fmla="*/ 485580 h 1849426"/>
                <a:gd name="connsiteX1661" fmla="*/ 4397955 w 6386648"/>
                <a:gd name="connsiteY1661" fmla="*/ 503604 h 1849426"/>
                <a:gd name="connsiteX1662" fmla="*/ 4379930 w 6386648"/>
                <a:gd name="connsiteY1662" fmla="*/ 521629 h 1849426"/>
                <a:gd name="connsiteX1663" fmla="*/ 4361906 w 6386648"/>
                <a:gd name="connsiteY1663" fmla="*/ 503604 h 1849426"/>
                <a:gd name="connsiteX1664" fmla="*/ 4379930 w 6386648"/>
                <a:gd name="connsiteY1664" fmla="*/ 485580 h 1849426"/>
                <a:gd name="connsiteX1665" fmla="*/ 5160987 w 6386648"/>
                <a:gd name="connsiteY1665" fmla="*/ 479571 h 1849426"/>
                <a:gd name="connsiteX1666" fmla="*/ 5179012 w 6386648"/>
                <a:gd name="connsiteY1666" fmla="*/ 497595 h 1849426"/>
                <a:gd name="connsiteX1667" fmla="*/ 5160987 w 6386648"/>
                <a:gd name="connsiteY1667" fmla="*/ 515620 h 1849426"/>
                <a:gd name="connsiteX1668" fmla="*/ 5142963 w 6386648"/>
                <a:gd name="connsiteY1668" fmla="*/ 497595 h 1849426"/>
                <a:gd name="connsiteX1669" fmla="*/ 5160987 w 6386648"/>
                <a:gd name="connsiteY1669" fmla="*/ 479571 h 1849426"/>
                <a:gd name="connsiteX1670" fmla="*/ 4241743 w 6386648"/>
                <a:gd name="connsiteY1670" fmla="*/ 479571 h 1849426"/>
                <a:gd name="connsiteX1671" fmla="*/ 4259768 w 6386648"/>
                <a:gd name="connsiteY1671" fmla="*/ 497595 h 1849426"/>
                <a:gd name="connsiteX1672" fmla="*/ 4241743 w 6386648"/>
                <a:gd name="connsiteY1672" fmla="*/ 515620 h 1849426"/>
                <a:gd name="connsiteX1673" fmla="*/ 4223719 w 6386648"/>
                <a:gd name="connsiteY1673" fmla="*/ 497595 h 1849426"/>
                <a:gd name="connsiteX1674" fmla="*/ 4241743 w 6386648"/>
                <a:gd name="connsiteY1674" fmla="*/ 479571 h 1849426"/>
                <a:gd name="connsiteX1675" fmla="*/ 3821173 w 6386648"/>
                <a:gd name="connsiteY1675" fmla="*/ 479571 h 1849426"/>
                <a:gd name="connsiteX1676" fmla="*/ 3839198 w 6386648"/>
                <a:gd name="connsiteY1676" fmla="*/ 497595 h 1849426"/>
                <a:gd name="connsiteX1677" fmla="*/ 3821173 w 6386648"/>
                <a:gd name="connsiteY1677" fmla="*/ 515620 h 1849426"/>
                <a:gd name="connsiteX1678" fmla="*/ 3803149 w 6386648"/>
                <a:gd name="connsiteY1678" fmla="*/ 497595 h 1849426"/>
                <a:gd name="connsiteX1679" fmla="*/ 3821173 w 6386648"/>
                <a:gd name="connsiteY1679" fmla="*/ 479571 h 1849426"/>
                <a:gd name="connsiteX1680" fmla="*/ 3364555 w 6386648"/>
                <a:gd name="connsiteY1680" fmla="*/ 479571 h 1849426"/>
                <a:gd name="connsiteX1681" fmla="*/ 3382580 w 6386648"/>
                <a:gd name="connsiteY1681" fmla="*/ 497595 h 1849426"/>
                <a:gd name="connsiteX1682" fmla="*/ 3364555 w 6386648"/>
                <a:gd name="connsiteY1682" fmla="*/ 515620 h 1849426"/>
                <a:gd name="connsiteX1683" fmla="*/ 3346531 w 6386648"/>
                <a:gd name="connsiteY1683" fmla="*/ 497595 h 1849426"/>
                <a:gd name="connsiteX1684" fmla="*/ 3364555 w 6386648"/>
                <a:gd name="connsiteY1684" fmla="*/ 479571 h 1849426"/>
                <a:gd name="connsiteX1685" fmla="*/ 1093480 w 6386648"/>
                <a:gd name="connsiteY1685" fmla="*/ 479571 h 1849426"/>
                <a:gd name="connsiteX1686" fmla="*/ 1111505 w 6386648"/>
                <a:gd name="connsiteY1686" fmla="*/ 497595 h 1849426"/>
                <a:gd name="connsiteX1687" fmla="*/ 1093480 w 6386648"/>
                <a:gd name="connsiteY1687" fmla="*/ 515620 h 1849426"/>
                <a:gd name="connsiteX1688" fmla="*/ 1075456 w 6386648"/>
                <a:gd name="connsiteY1688" fmla="*/ 497595 h 1849426"/>
                <a:gd name="connsiteX1689" fmla="*/ 1093480 w 6386648"/>
                <a:gd name="connsiteY1689" fmla="*/ 479571 h 1849426"/>
                <a:gd name="connsiteX1690" fmla="*/ 5299175 w 6386648"/>
                <a:gd name="connsiteY1690" fmla="*/ 473563 h 1849426"/>
                <a:gd name="connsiteX1691" fmla="*/ 5317200 w 6386648"/>
                <a:gd name="connsiteY1691" fmla="*/ 491587 h 1849426"/>
                <a:gd name="connsiteX1692" fmla="*/ 5299175 w 6386648"/>
                <a:gd name="connsiteY1692" fmla="*/ 509612 h 1849426"/>
                <a:gd name="connsiteX1693" fmla="*/ 5281150 w 6386648"/>
                <a:gd name="connsiteY1693" fmla="*/ 491587 h 1849426"/>
                <a:gd name="connsiteX1694" fmla="*/ 5299175 w 6386648"/>
                <a:gd name="connsiteY1694" fmla="*/ 473563 h 1849426"/>
                <a:gd name="connsiteX1695" fmla="*/ 4506101 w 6386648"/>
                <a:gd name="connsiteY1695" fmla="*/ 473563 h 1849426"/>
                <a:gd name="connsiteX1696" fmla="*/ 4524126 w 6386648"/>
                <a:gd name="connsiteY1696" fmla="*/ 491587 h 1849426"/>
                <a:gd name="connsiteX1697" fmla="*/ 4506101 w 6386648"/>
                <a:gd name="connsiteY1697" fmla="*/ 509612 h 1849426"/>
                <a:gd name="connsiteX1698" fmla="*/ 4488077 w 6386648"/>
                <a:gd name="connsiteY1698" fmla="*/ 491587 h 1849426"/>
                <a:gd name="connsiteX1699" fmla="*/ 4506101 w 6386648"/>
                <a:gd name="connsiteY1699" fmla="*/ 473563 h 1849426"/>
                <a:gd name="connsiteX1700" fmla="*/ 4115572 w 6386648"/>
                <a:gd name="connsiteY1700" fmla="*/ 473563 h 1849426"/>
                <a:gd name="connsiteX1701" fmla="*/ 4133597 w 6386648"/>
                <a:gd name="connsiteY1701" fmla="*/ 491587 h 1849426"/>
                <a:gd name="connsiteX1702" fmla="*/ 4115572 w 6386648"/>
                <a:gd name="connsiteY1702" fmla="*/ 509612 h 1849426"/>
                <a:gd name="connsiteX1703" fmla="*/ 4097548 w 6386648"/>
                <a:gd name="connsiteY1703" fmla="*/ 491587 h 1849426"/>
                <a:gd name="connsiteX1704" fmla="*/ 4115572 w 6386648"/>
                <a:gd name="connsiteY1704" fmla="*/ 473563 h 1849426"/>
                <a:gd name="connsiteX1705" fmla="*/ 2295107 w 6386648"/>
                <a:gd name="connsiteY1705" fmla="*/ 473563 h 1849426"/>
                <a:gd name="connsiteX1706" fmla="*/ 2313132 w 6386648"/>
                <a:gd name="connsiteY1706" fmla="*/ 491587 h 1849426"/>
                <a:gd name="connsiteX1707" fmla="*/ 2295107 w 6386648"/>
                <a:gd name="connsiteY1707" fmla="*/ 509612 h 1849426"/>
                <a:gd name="connsiteX1708" fmla="*/ 2277083 w 6386648"/>
                <a:gd name="connsiteY1708" fmla="*/ 491587 h 1849426"/>
                <a:gd name="connsiteX1709" fmla="*/ 2295107 w 6386648"/>
                <a:gd name="connsiteY1709" fmla="*/ 473563 h 1849426"/>
                <a:gd name="connsiteX1710" fmla="*/ 1838489 w 6386648"/>
                <a:gd name="connsiteY1710" fmla="*/ 473563 h 1849426"/>
                <a:gd name="connsiteX1711" fmla="*/ 1856514 w 6386648"/>
                <a:gd name="connsiteY1711" fmla="*/ 491587 h 1849426"/>
                <a:gd name="connsiteX1712" fmla="*/ 1838489 w 6386648"/>
                <a:gd name="connsiteY1712" fmla="*/ 509612 h 1849426"/>
                <a:gd name="connsiteX1713" fmla="*/ 1820465 w 6386648"/>
                <a:gd name="connsiteY1713" fmla="*/ 491587 h 1849426"/>
                <a:gd name="connsiteX1714" fmla="*/ 1838489 w 6386648"/>
                <a:gd name="connsiteY1714" fmla="*/ 473563 h 1849426"/>
                <a:gd name="connsiteX1715" fmla="*/ 2889912 w 6386648"/>
                <a:gd name="connsiteY1715" fmla="*/ 467555 h 1849426"/>
                <a:gd name="connsiteX1716" fmla="*/ 2907937 w 6386648"/>
                <a:gd name="connsiteY1716" fmla="*/ 485580 h 1849426"/>
                <a:gd name="connsiteX1717" fmla="*/ 2889912 w 6386648"/>
                <a:gd name="connsiteY1717" fmla="*/ 503604 h 1849426"/>
                <a:gd name="connsiteX1718" fmla="*/ 2871888 w 6386648"/>
                <a:gd name="connsiteY1718" fmla="*/ 485580 h 1849426"/>
                <a:gd name="connsiteX1719" fmla="*/ 2889912 w 6386648"/>
                <a:gd name="connsiteY1719" fmla="*/ 467555 h 1849426"/>
                <a:gd name="connsiteX1720" fmla="*/ 2108855 w 6386648"/>
                <a:gd name="connsiteY1720" fmla="*/ 467555 h 1849426"/>
                <a:gd name="connsiteX1721" fmla="*/ 2126880 w 6386648"/>
                <a:gd name="connsiteY1721" fmla="*/ 485580 h 1849426"/>
                <a:gd name="connsiteX1722" fmla="*/ 2108855 w 6386648"/>
                <a:gd name="connsiteY1722" fmla="*/ 503604 h 1849426"/>
                <a:gd name="connsiteX1723" fmla="*/ 2090831 w 6386648"/>
                <a:gd name="connsiteY1723" fmla="*/ 485580 h 1849426"/>
                <a:gd name="connsiteX1724" fmla="*/ 2108855 w 6386648"/>
                <a:gd name="connsiteY1724" fmla="*/ 467555 h 1849426"/>
                <a:gd name="connsiteX1725" fmla="*/ 1616189 w 6386648"/>
                <a:gd name="connsiteY1725" fmla="*/ 467555 h 1849426"/>
                <a:gd name="connsiteX1726" fmla="*/ 1634213 w 6386648"/>
                <a:gd name="connsiteY1726" fmla="*/ 485580 h 1849426"/>
                <a:gd name="connsiteX1727" fmla="*/ 1616189 w 6386648"/>
                <a:gd name="connsiteY1727" fmla="*/ 503604 h 1849426"/>
                <a:gd name="connsiteX1728" fmla="*/ 1598164 w 6386648"/>
                <a:gd name="connsiteY1728" fmla="*/ 485580 h 1849426"/>
                <a:gd name="connsiteX1729" fmla="*/ 1616189 w 6386648"/>
                <a:gd name="connsiteY1729" fmla="*/ 467555 h 1849426"/>
                <a:gd name="connsiteX1730" fmla="*/ 330447 w 6386648"/>
                <a:gd name="connsiteY1730" fmla="*/ 467555 h 1849426"/>
                <a:gd name="connsiteX1731" fmla="*/ 348472 w 6386648"/>
                <a:gd name="connsiteY1731" fmla="*/ 485580 h 1849426"/>
                <a:gd name="connsiteX1732" fmla="*/ 330447 w 6386648"/>
                <a:gd name="connsiteY1732" fmla="*/ 503604 h 1849426"/>
                <a:gd name="connsiteX1733" fmla="*/ 312423 w 6386648"/>
                <a:gd name="connsiteY1733" fmla="*/ 485580 h 1849426"/>
                <a:gd name="connsiteX1734" fmla="*/ 330447 w 6386648"/>
                <a:gd name="connsiteY1734" fmla="*/ 467555 h 1849426"/>
                <a:gd name="connsiteX1735" fmla="*/ 3935328 w 6386648"/>
                <a:gd name="connsiteY1735" fmla="*/ 461547 h 1849426"/>
                <a:gd name="connsiteX1736" fmla="*/ 3953353 w 6386648"/>
                <a:gd name="connsiteY1736" fmla="*/ 479571 h 1849426"/>
                <a:gd name="connsiteX1737" fmla="*/ 3935328 w 6386648"/>
                <a:gd name="connsiteY1737" fmla="*/ 497596 h 1849426"/>
                <a:gd name="connsiteX1738" fmla="*/ 3917304 w 6386648"/>
                <a:gd name="connsiteY1738" fmla="*/ 479571 h 1849426"/>
                <a:gd name="connsiteX1739" fmla="*/ 3935328 w 6386648"/>
                <a:gd name="connsiteY1739" fmla="*/ 461547 h 1849426"/>
                <a:gd name="connsiteX1740" fmla="*/ 6224427 w 6386648"/>
                <a:gd name="connsiteY1740" fmla="*/ 455539 h 1849426"/>
                <a:gd name="connsiteX1741" fmla="*/ 6242452 w 6386648"/>
                <a:gd name="connsiteY1741" fmla="*/ 473563 h 1849426"/>
                <a:gd name="connsiteX1742" fmla="*/ 6224427 w 6386648"/>
                <a:gd name="connsiteY1742" fmla="*/ 491588 h 1849426"/>
                <a:gd name="connsiteX1743" fmla="*/ 6206403 w 6386648"/>
                <a:gd name="connsiteY1743" fmla="*/ 473563 h 1849426"/>
                <a:gd name="connsiteX1744" fmla="*/ 6224427 w 6386648"/>
                <a:gd name="connsiteY1744" fmla="*/ 455539 h 1849426"/>
                <a:gd name="connsiteX1745" fmla="*/ 6110273 w 6386648"/>
                <a:gd name="connsiteY1745" fmla="*/ 455539 h 1849426"/>
                <a:gd name="connsiteX1746" fmla="*/ 6128298 w 6386648"/>
                <a:gd name="connsiteY1746" fmla="*/ 473563 h 1849426"/>
                <a:gd name="connsiteX1747" fmla="*/ 6110273 w 6386648"/>
                <a:gd name="connsiteY1747" fmla="*/ 491588 h 1849426"/>
                <a:gd name="connsiteX1748" fmla="*/ 6092248 w 6386648"/>
                <a:gd name="connsiteY1748" fmla="*/ 473563 h 1849426"/>
                <a:gd name="connsiteX1749" fmla="*/ 6110273 w 6386648"/>
                <a:gd name="connsiteY1749" fmla="*/ 455539 h 1849426"/>
                <a:gd name="connsiteX1750" fmla="*/ 3496734 w 6386648"/>
                <a:gd name="connsiteY1750" fmla="*/ 455539 h 1849426"/>
                <a:gd name="connsiteX1751" fmla="*/ 3514759 w 6386648"/>
                <a:gd name="connsiteY1751" fmla="*/ 473563 h 1849426"/>
                <a:gd name="connsiteX1752" fmla="*/ 3496734 w 6386648"/>
                <a:gd name="connsiteY1752" fmla="*/ 491588 h 1849426"/>
                <a:gd name="connsiteX1753" fmla="*/ 3478709 w 6386648"/>
                <a:gd name="connsiteY1753" fmla="*/ 473563 h 1849426"/>
                <a:gd name="connsiteX1754" fmla="*/ 3496734 w 6386648"/>
                <a:gd name="connsiteY1754" fmla="*/ 455539 h 1849426"/>
                <a:gd name="connsiteX1755" fmla="*/ 1333805 w 6386648"/>
                <a:gd name="connsiteY1755" fmla="*/ 455539 h 1849426"/>
                <a:gd name="connsiteX1756" fmla="*/ 1351830 w 6386648"/>
                <a:gd name="connsiteY1756" fmla="*/ 473563 h 1849426"/>
                <a:gd name="connsiteX1757" fmla="*/ 1333805 w 6386648"/>
                <a:gd name="connsiteY1757" fmla="*/ 491588 h 1849426"/>
                <a:gd name="connsiteX1758" fmla="*/ 1315781 w 6386648"/>
                <a:gd name="connsiteY1758" fmla="*/ 473563 h 1849426"/>
                <a:gd name="connsiteX1759" fmla="*/ 1333805 w 6386648"/>
                <a:gd name="connsiteY1759" fmla="*/ 455539 h 1849426"/>
                <a:gd name="connsiteX1760" fmla="*/ 2727693 w 6386648"/>
                <a:gd name="connsiteY1760" fmla="*/ 449531 h 1849426"/>
                <a:gd name="connsiteX1761" fmla="*/ 2745718 w 6386648"/>
                <a:gd name="connsiteY1761" fmla="*/ 467555 h 1849426"/>
                <a:gd name="connsiteX1762" fmla="*/ 2727693 w 6386648"/>
                <a:gd name="connsiteY1762" fmla="*/ 485580 h 1849426"/>
                <a:gd name="connsiteX1763" fmla="*/ 2709669 w 6386648"/>
                <a:gd name="connsiteY1763" fmla="*/ 467555 h 1849426"/>
                <a:gd name="connsiteX1764" fmla="*/ 2727693 w 6386648"/>
                <a:gd name="connsiteY1764" fmla="*/ 449531 h 1849426"/>
                <a:gd name="connsiteX1765" fmla="*/ 2607530 w 6386648"/>
                <a:gd name="connsiteY1765" fmla="*/ 449531 h 1849426"/>
                <a:gd name="connsiteX1766" fmla="*/ 2625555 w 6386648"/>
                <a:gd name="connsiteY1766" fmla="*/ 467555 h 1849426"/>
                <a:gd name="connsiteX1767" fmla="*/ 2607530 w 6386648"/>
                <a:gd name="connsiteY1767" fmla="*/ 485580 h 1849426"/>
                <a:gd name="connsiteX1768" fmla="*/ 2589506 w 6386648"/>
                <a:gd name="connsiteY1768" fmla="*/ 467555 h 1849426"/>
                <a:gd name="connsiteX1769" fmla="*/ 2607530 w 6386648"/>
                <a:gd name="connsiteY1769" fmla="*/ 449531 h 1849426"/>
                <a:gd name="connsiteX1770" fmla="*/ 5797850 w 6386648"/>
                <a:gd name="connsiteY1770" fmla="*/ 443523 h 1849426"/>
                <a:gd name="connsiteX1771" fmla="*/ 5815875 w 6386648"/>
                <a:gd name="connsiteY1771" fmla="*/ 461547 h 1849426"/>
                <a:gd name="connsiteX1772" fmla="*/ 5797850 w 6386648"/>
                <a:gd name="connsiteY1772" fmla="*/ 479572 h 1849426"/>
                <a:gd name="connsiteX1773" fmla="*/ 5779826 w 6386648"/>
                <a:gd name="connsiteY1773" fmla="*/ 461547 h 1849426"/>
                <a:gd name="connsiteX1774" fmla="*/ 5797850 w 6386648"/>
                <a:gd name="connsiteY1774" fmla="*/ 443523 h 1849426"/>
                <a:gd name="connsiteX1775" fmla="*/ 5653655 w 6386648"/>
                <a:gd name="connsiteY1775" fmla="*/ 443523 h 1849426"/>
                <a:gd name="connsiteX1776" fmla="*/ 5671680 w 6386648"/>
                <a:gd name="connsiteY1776" fmla="*/ 461547 h 1849426"/>
                <a:gd name="connsiteX1777" fmla="*/ 5653655 w 6386648"/>
                <a:gd name="connsiteY1777" fmla="*/ 479572 h 1849426"/>
                <a:gd name="connsiteX1778" fmla="*/ 5635631 w 6386648"/>
                <a:gd name="connsiteY1778" fmla="*/ 461547 h 1849426"/>
                <a:gd name="connsiteX1779" fmla="*/ 5653655 w 6386648"/>
                <a:gd name="connsiteY1779" fmla="*/ 443523 h 1849426"/>
                <a:gd name="connsiteX1780" fmla="*/ 96129 w 6386648"/>
                <a:gd name="connsiteY1780" fmla="*/ 437514 h 1849426"/>
                <a:gd name="connsiteX1781" fmla="*/ 114154 w 6386648"/>
                <a:gd name="connsiteY1781" fmla="*/ 455539 h 1849426"/>
                <a:gd name="connsiteX1782" fmla="*/ 96129 w 6386648"/>
                <a:gd name="connsiteY1782" fmla="*/ 473563 h 1849426"/>
                <a:gd name="connsiteX1783" fmla="*/ 78105 w 6386648"/>
                <a:gd name="connsiteY1783" fmla="*/ 455539 h 1849426"/>
                <a:gd name="connsiteX1784" fmla="*/ 96129 w 6386648"/>
                <a:gd name="connsiteY1784" fmla="*/ 437514 h 1849426"/>
                <a:gd name="connsiteX1785" fmla="*/ 3058140 w 6386648"/>
                <a:gd name="connsiteY1785" fmla="*/ 431506 h 1849426"/>
                <a:gd name="connsiteX1786" fmla="*/ 3076165 w 6386648"/>
                <a:gd name="connsiteY1786" fmla="*/ 449530 h 1849426"/>
                <a:gd name="connsiteX1787" fmla="*/ 3058140 w 6386648"/>
                <a:gd name="connsiteY1787" fmla="*/ 467555 h 1849426"/>
                <a:gd name="connsiteX1788" fmla="*/ 3040116 w 6386648"/>
                <a:gd name="connsiteY1788" fmla="*/ 449530 h 1849426"/>
                <a:gd name="connsiteX1789" fmla="*/ 3058140 w 6386648"/>
                <a:gd name="connsiteY1789" fmla="*/ 431506 h 1849426"/>
                <a:gd name="connsiteX1790" fmla="*/ 2493375 w 6386648"/>
                <a:gd name="connsiteY1790" fmla="*/ 431506 h 1849426"/>
                <a:gd name="connsiteX1791" fmla="*/ 2511400 w 6386648"/>
                <a:gd name="connsiteY1791" fmla="*/ 449530 h 1849426"/>
                <a:gd name="connsiteX1792" fmla="*/ 2493375 w 6386648"/>
                <a:gd name="connsiteY1792" fmla="*/ 467555 h 1849426"/>
                <a:gd name="connsiteX1793" fmla="*/ 2475351 w 6386648"/>
                <a:gd name="connsiteY1793" fmla="*/ 449530 h 1849426"/>
                <a:gd name="connsiteX1794" fmla="*/ 2493375 w 6386648"/>
                <a:gd name="connsiteY1794" fmla="*/ 431506 h 1849426"/>
                <a:gd name="connsiteX1795" fmla="*/ 216292 w 6386648"/>
                <a:gd name="connsiteY1795" fmla="*/ 431506 h 1849426"/>
                <a:gd name="connsiteX1796" fmla="*/ 234317 w 6386648"/>
                <a:gd name="connsiteY1796" fmla="*/ 449530 h 1849426"/>
                <a:gd name="connsiteX1797" fmla="*/ 216292 w 6386648"/>
                <a:gd name="connsiteY1797" fmla="*/ 467555 h 1849426"/>
                <a:gd name="connsiteX1798" fmla="*/ 198268 w 6386648"/>
                <a:gd name="connsiteY1798" fmla="*/ 449530 h 1849426"/>
                <a:gd name="connsiteX1799" fmla="*/ 216292 w 6386648"/>
                <a:gd name="connsiteY1799" fmla="*/ 431506 h 1849426"/>
                <a:gd name="connsiteX1800" fmla="*/ 4758442 w 6386648"/>
                <a:gd name="connsiteY1800" fmla="*/ 425498 h 1849426"/>
                <a:gd name="connsiteX1801" fmla="*/ 4776467 w 6386648"/>
                <a:gd name="connsiteY1801" fmla="*/ 443522 h 1849426"/>
                <a:gd name="connsiteX1802" fmla="*/ 4758442 w 6386648"/>
                <a:gd name="connsiteY1802" fmla="*/ 461547 h 1849426"/>
                <a:gd name="connsiteX1803" fmla="*/ 4740417 w 6386648"/>
                <a:gd name="connsiteY1803" fmla="*/ 443522 h 1849426"/>
                <a:gd name="connsiteX1804" fmla="*/ 4758442 w 6386648"/>
                <a:gd name="connsiteY1804" fmla="*/ 425498 h 1849426"/>
                <a:gd name="connsiteX1805" fmla="*/ 1453968 w 6386648"/>
                <a:gd name="connsiteY1805" fmla="*/ 425498 h 1849426"/>
                <a:gd name="connsiteX1806" fmla="*/ 1471993 w 6386648"/>
                <a:gd name="connsiteY1806" fmla="*/ 443522 h 1849426"/>
                <a:gd name="connsiteX1807" fmla="*/ 1453968 w 6386648"/>
                <a:gd name="connsiteY1807" fmla="*/ 461547 h 1849426"/>
                <a:gd name="connsiteX1808" fmla="*/ 1435944 w 6386648"/>
                <a:gd name="connsiteY1808" fmla="*/ 443522 h 1849426"/>
                <a:gd name="connsiteX1809" fmla="*/ 1453968 w 6386648"/>
                <a:gd name="connsiteY1809" fmla="*/ 425498 h 1849426"/>
                <a:gd name="connsiteX1810" fmla="*/ 552748 w 6386648"/>
                <a:gd name="connsiteY1810" fmla="*/ 425498 h 1849426"/>
                <a:gd name="connsiteX1811" fmla="*/ 570773 w 6386648"/>
                <a:gd name="connsiteY1811" fmla="*/ 443522 h 1849426"/>
                <a:gd name="connsiteX1812" fmla="*/ 552748 w 6386648"/>
                <a:gd name="connsiteY1812" fmla="*/ 461547 h 1849426"/>
                <a:gd name="connsiteX1813" fmla="*/ 534724 w 6386648"/>
                <a:gd name="connsiteY1813" fmla="*/ 443522 h 1849426"/>
                <a:gd name="connsiteX1814" fmla="*/ 552748 w 6386648"/>
                <a:gd name="connsiteY1814" fmla="*/ 425498 h 1849426"/>
                <a:gd name="connsiteX1815" fmla="*/ 1742358 w 6386648"/>
                <a:gd name="connsiteY1815" fmla="*/ 419490 h 1849426"/>
                <a:gd name="connsiteX1816" fmla="*/ 1760383 w 6386648"/>
                <a:gd name="connsiteY1816" fmla="*/ 437514 h 1849426"/>
                <a:gd name="connsiteX1817" fmla="*/ 1742358 w 6386648"/>
                <a:gd name="connsiteY1817" fmla="*/ 455539 h 1849426"/>
                <a:gd name="connsiteX1818" fmla="*/ 1724334 w 6386648"/>
                <a:gd name="connsiteY1818" fmla="*/ 437514 h 1849426"/>
                <a:gd name="connsiteX1819" fmla="*/ 1742358 w 6386648"/>
                <a:gd name="connsiteY1819" fmla="*/ 419490 h 1849426"/>
                <a:gd name="connsiteX1820" fmla="*/ 1183602 w 6386648"/>
                <a:gd name="connsiteY1820" fmla="*/ 413482 h 1849426"/>
                <a:gd name="connsiteX1821" fmla="*/ 1201627 w 6386648"/>
                <a:gd name="connsiteY1821" fmla="*/ 431506 h 1849426"/>
                <a:gd name="connsiteX1822" fmla="*/ 1183602 w 6386648"/>
                <a:gd name="connsiteY1822" fmla="*/ 449531 h 1849426"/>
                <a:gd name="connsiteX1823" fmla="*/ 1165578 w 6386648"/>
                <a:gd name="connsiteY1823" fmla="*/ 431506 h 1849426"/>
                <a:gd name="connsiteX1824" fmla="*/ 1183602 w 6386648"/>
                <a:gd name="connsiteY1824" fmla="*/ 413482 h 1849426"/>
                <a:gd name="connsiteX1825" fmla="*/ 895212 w 6386648"/>
                <a:gd name="connsiteY1825" fmla="*/ 413482 h 1849426"/>
                <a:gd name="connsiteX1826" fmla="*/ 913236 w 6386648"/>
                <a:gd name="connsiteY1826" fmla="*/ 431506 h 1849426"/>
                <a:gd name="connsiteX1827" fmla="*/ 895212 w 6386648"/>
                <a:gd name="connsiteY1827" fmla="*/ 449531 h 1849426"/>
                <a:gd name="connsiteX1828" fmla="*/ 877187 w 6386648"/>
                <a:gd name="connsiteY1828" fmla="*/ 431506 h 1849426"/>
                <a:gd name="connsiteX1829" fmla="*/ 895212 w 6386648"/>
                <a:gd name="connsiteY1829" fmla="*/ 413482 h 1849426"/>
                <a:gd name="connsiteX1830" fmla="*/ 672910 w 6386648"/>
                <a:gd name="connsiteY1830" fmla="*/ 413482 h 1849426"/>
                <a:gd name="connsiteX1831" fmla="*/ 690935 w 6386648"/>
                <a:gd name="connsiteY1831" fmla="*/ 431506 h 1849426"/>
                <a:gd name="connsiteX1832" fmla="*/ 672910 w 6386648"/>
                <a:gd name="connsiteY1832" fmla="*/ 449531 h 1849426"/>
                <a:gd name="connsiteX1833" fmla="*/ 654886 w 6386648"/>
                <a:gd name="connsiteY1833" fmla="*/ 431506 h 1849426"/>
                <a:gd name="connsiteX1834" fmla="*/ 672910 w 6386648"/>
                <a:gd name="connsiteY1834" fmla="*/ 413482 h 1849426"/>
                <a:gd name="connsiteX1835" fmla="*/ 3719035 w 6386648"/>
                <a:gd name="connsiteY1835" fmla="*/ 407474 h 1849426"/>
                <a:gd name="connsiteX1836" fmla="*/ 3737060 w 6386648"/>
                <a:gd name="connsiteY1836" fmla="*/ 425499 h 1849426"/>
                <a:gd name="connsiteX1837" fmla="*/ 3719035 w 6386648"/>
                <a:gd name="connsiteY1837" fmla="*/ 443523 h 1849426"/>
                <a:gd name="connsiteX1838" fmla="*/ 3701011 w 6386648"/>
                <a:gd name="connsiteY1838" fmla="*/ 425499 h 1849426"/>
                <a:gd name="connsiteX1839" fmla="*/ 3719035 w 6386648"/>
                <a:gd name="connsiteY1839" fmla="*/ 407474 h 1849426"/>
                <a:gd name="connsiteX1840" fmla="*/ 6002126 w 6386648"/>
                <a:gd name="connsiteY1840" fmla="*/ 401466 h 1849426"/>
                <a:gd name="connsiteX1841" fmla="*/ 6020151 w 6386648"/>
                <a:gd name="connsiteY1841" fmla="*/ 419490 h 1849426"/>
                <a:gd name="connsiteX1842" fmla="*/ 6002126 w 6386648"/>
                <a:gd name="connsiteY1842" fmla="*/ 437515 h 1849426"/>
                <a:gd name="connsiteX1843" fmla="*/ 5984102 w 6386648"/>
                <a:gd name="connsiteY1843" fmla="*/ 419490 h 1849426"/>
                <a:gd name="connsiteX1844" fmla="*/ 6002126 w 6386648"/>
                <a:gd name="connsiteY1844" fmla="*/ 401466 h 1849426"/>
                <a:gd name="connsiteX1845" fmla="*/ 1970668 w 6386648"/>
                <a:gd name="connsiteY1845" fmla="*/ 401466 h 1849426"/>
                <a:gd name="connsiteX1846" fmla="*/ 1988693 w 6386648"/>
                <a:gd name="connsiteY1846" fmla="*/ 419490 h 1849426"/>
                <a:gd name="connsiteX1847" fmla="*/ 1970668 w 6386648"/>
                <a:gd name="connsiteY1847" fmla="*/ 437515 h 1849426"/>
                <a:gd name="connsiteX1848" fmla="*/ 1952644 w 6386648"/>
                <a:gd name="connsiteY1848" fmla="*/ 419490 h 1849426"/>
                <a:gd name="connsiteX1849" fmla="*/ 1970668 w 6386648"/>
                <a:gd name="connsiteY1849" fmla="*/ 401466 h 1849426"/>
                <a:gd name="connsiteX1850" fmla="*/ 5533492 w 6386648"/>
                <a:gd name="connsiteY1850" fmla="*/ 395457 h 1849426"/>
                <a:gd name="connsiteX1851" fmla="*/ 5551517 w 6386648"/>
                <a:gd name="connsiteY1851" fmla="*/ 413481 h 1849426"/>
                <a:gd name="connsiteX1852" fmla="*/ 5533492 w 6386648"/>
                <a:gd name="connsiteY1852" fmla="*/ 431506 h 1849426"/>
                <a:gd name="connsiteX1853" fmla="*/ 5515468 w 6386648"/>
                <a:gd name="connsiteY1853" fmla="*/ 413481 h 1849426"/>
                <a:gd name="connsiteX1854" fmla="*/ 5533492 w 6386648"/>
                <a:gd name="connsiteY1854" fmla="*/ 395457 h 1849426"/>
                <a:gd name="connsiteX1855" fmla="*/ 3166287 w 6386648"/>
                <a:gd name="connsiteY1855" fmla="*/ 395457 h 1849426"/>
                <a:gd name="connsiteX1856" fmla="*/ 3184312 w 6386648"/>
                <a:gd name="connsiteY1856" fmla="*/ 413481 h 1849426"/>
                <a:gd name="connsiteX1857" fmla="*/ 3166287 w 6386648"/>
                <a:gd name="connsiteY1857" fmla="*/ 431506 h 1849426"/>
                <a:gd name="connsiteX1858" fmla="*/ 3148262 w 6386648"/>
                <a:gd name="connsiteY1858" fmla="*/ 413481 h 1849426"/>
                <a:gd name="connsiteX1859" fmla="*/ 3166287 w 6386648"/>
                <a:gd name="connsiteY1859" fmla="*/ 395457 h 1849426"/>
                <a:gd name="connsiteX1860" fmla="*/ 2373213 w 6386648"/>
                <a:gd name="connsiteY1860" fmla="*/ 395457 h 1849426"/>
                <a:gd name="connsiteX1861" fmla="*/ 2391238 w 6386648"/>
                <a:gd name="connsiteY1861" fmla="*/ 413481 h 1849426"/>
                <a:gd name="connsiteX1862" fmla="*/ 2373213 w 6386648"/>
                <a:gd name="connsiteY1862" fmla="*/ 431506 h 1849426"/>
                <a:gd name="connsiteX1863" fmla="*/ 2355189 w 6386648"/>
                <a:gd name="connsiteY1863" fmla="*/ 413481 h 1849426"/>
                <a:gd name="connsiteX1864" fmla="*/ 2373213 w 6386648"/>
                <a:gd name="connsiteY1864" fmla="*/ 395457 h 1849426"/>
                <a:gd name="connsiteX1865" fmla="*/ 787065 w 6386648"/>
                <a:gd name="connsiteY1865" fmla="*/ 395457 h 1849426"/>
                <a:gd name="connsiteX1866" fmla="*/ 805090 w 6386648"/>
                <a:gd name="connsiteY1866" fmla="*/ 413481 h 1849426"/>
                <a:gd name="connsiteX1867" fmla="*/ 787065 w 6386648"/>
                <a:gd name="connsiteY1867" fmla="*/ 431506 h 1849426"/>
                <a:gd name="connsiteX1868" fmla="*/ 769041 w 6386648"/>
                <a:gd name="connsiteY1868" fmla="*/ 413481 h 1849426"/>
                <a:gd name="connsiteX1869" fmla="*/ 787065 w 6386648"/>
                <a:gd name="connsiteY1869" fmla="*/ 395457 h 1849426"/>
                <a:gd name="connsiteX1870" fmla="*/ 6344591 w 6386648"/>
                <a:gd name="connsiteY1870" fmla="*/ 389449 h 1849426"/>
                <a:gd name="connsiteX1871" fmla="*/ 6362615 w 6386648"/>
                <a:gd name="connsiteY1871" fmla="*/ 407473 h 1849426"/>
                <a:gd name="connsiteX1872" fmla="*/ 6344591 w 6386648"/>
                <a:gd name="connsiteY1872" fmla="*/ 425498 h 1849426"/>
                <a:gd name="connsiteX1873" fmla="*/ 6326566 w 6386648"/>
                <a:gd name="connsiteY1873" fmla="*/ 407473 h 1849426"/>
                <a:gd name="connsiteX1874" fmla="*/ 6344591 w 6386648"/>
                <a:gd name="connsiteY1874" fmla="*/ 389449 h 1849426"/>
                <a:gd name="connsiteX1875" fmla="*/ 5407321 w 6386648"/>
                <a:gd name="connsiteY1875" fmla="*/ 383441 h 1849426"/>
                <a:gd name="connsiteX1876" fmla="*/ 5425346 w 6386648"/>
                <a:gd name="connsiteY1876" fmla="*/ 401465 h 1849426"/>
                <a:gd name="connsiteX1877" fmla="*/ 5407321 w 6386648"/>
                <a:gd name="connsiteY1877" fmla="*/ 419490 h 1849426"/>
                <a:gd name="connsiteX1878" fmla="*/ 5389297 w 6386648"/>
                <a:gd name="connsiteY1878" fmla="*/ 401465 h 1849426"/>
                <a:gd name="connsiteX1879" fmla="*/ 5407321 w 6386648"/>
                <a:gd name="connsiteY1879" fmla="*/ 383441 h 1849426"/>
                <a:gd name="connsiteX1880" fmla="*/ 5233085 w 6386648"/>
                <a:gd name="connsiteY1880" fmla="*/ 383441 h 1849426"/>
                <a:gd name="connsiteX1881" fmla="*/ 5251110 w 6386648"/>
                <a:gd name="connsiteY1881" fmla="*/ 401465 h 1849426"/>
                <a:gd name="connsiteX1882" fmla="*/ 5233085 w 6386648"/>
                <a:gd name="connsiteY1882" fmla="*/ 419490 h 1849426"/>
                <a:gd name="connsiteX1883" fmla="*/ 5215061 w 6386648"/>
                <a:gd name="connsiteY1883" fmla="*/ 401465 h 1849426"/>
                <a:gd name="connsiteX1884" fmla="*/ 5233085 w 6386648"/>
                <a:gd name="connsiteY1884" fmla="*/ 383441 h 1849426"/>
                <a:gd name="connsiteX1885" fmla="*/ 4956711 w 6386648"/>
                <a:gd name="connsiteY1885" fmla="*/ 383441 h 1849426"/>
                <a:gd name="connsiteX1886" fmla="*/ 4974736 w 6386648"/>
                <a:gd name="connsiteY1886" fmla="*/ 401465 h 1849426"/>
                <a:gd name="connsiteX1887" fmla="*/ 4956711 w 6386648"/>
                <a:gd name="connsiteY1887" fmla="*/ 419490 h 1849426"/>
                <a:gd name="connsiteX1888" fmla="*/ 4938687 w 6386648"/>
                <a:gd name="connsiteY1888" fmla="*/ 401465 h 1849426"/>
                <a:gd name="connsiteX1889" fmla="*/ 4956711 w 6386648"/>
                <a:gd name="connsiteY1889" fmla="*/ 383441 h 1849426"/>
                <a:gd name="connsiteX1890" fmla="*/ 3604880 w 6386648"/>
                <a:gd name="connsiteY1890" fmla="*/ 377433 h 1849426"/>
                <a:gd name="connsiteX1891" fmla="*/ 3622905 w 6386648"/>
                <a:gd name="connsiteY1891" fmla="*/ 395458 h 1849426"/>
                <a:gd name="connsiteX1892" fmla="*/ 3604880 w 6386648"/>
                <a:gd name="connsiteY1892" fmla="*/ 413482 h 1849426"/>
                <a:gd name="connsiteX1893" fmla="*/ 3586856 w 6386648"/>
                <a:gd name="connsiteY1893" fmla="*/ 395458 h 1849426"/>
                <a:gd name="connsiteX1894" fmla="*/ 3604880 w 6386648"/>
                <a:gd name="connsiteY1894" fmla="*/ 377433 h 1849426"/>
                <a:gd name="connsiteX1895" fmla="*/ 5082882 w 6386648"/>
                <a:gd name="connsiteY1895" fmla="*/ 371425 h 1849426"/>
                <a:gd name="connsiteX1896" fmla="*/ 5100907 w 6386648"/>
                <a:gd name="connsiteY1896" fmla="*/ 389449 h 1849426"/>
                <a:gd name="connsiteX1897" fmla="*/ 5082882 w 6386648"/>
                <a:gd name="connsiteY1897" fmla="*/ 407474 h 1849426"/>
                <a:gd name="connsiteX1898" fmla="*/ 5064858 w 6386648"/>
                <a:gd name="connsiteY1898" fmla="*/ 389449 h 1849426"/>
                <a:gd name="connsiteX1899" fmla="*/ 5082882 w 6386648"/>
                <a:gd name="connsiteY1899" fmla="*/ 371425 h 1849426"/>
                <a:gd name="connsiteX1900" fmla="*/ 4638280 w 6386648"/>
                <a:gd name="connsiteY1900" fmla="*/ 371425 h 1849426"/>
                <a:gd name="connsiteX1901" fmla="*/ 4656305 w 6386648"/>
                <a:gd name="connsiteY1901" fmla="*/ 389449 h 1849426"/>
                <a:gd name="connsiteX1902" fmla="*/ 4638280 w 6386648"/>
                <a:gd name="connsiteY1902" fmla="*/ 407474 h 1849426"/>
                <a:gd name="connsiteX1903" fmla="*/ 4620255 w 6386648"/>
                <a:gd name="connsiteY1903" fmla="*/ 389449 h 1849426"/>
                <a:gd name="connsiteX1904" fmla="*/ 4638280 w 6386648"/>
                <a:gd name="connsiteY1904" fmla="*/ 371425 h 1849426"/>
                <a:gd name="connsiteX1905" fmla="*/ 4289808 w 6386648"/>
                <a:gd name="connsiteY1905" fmla="*/ 371425 h 1849426"/>
                <a:gd name="connsiteX1906" fmla="*/ 4307833 w 6386648"/>
                <a:gd name="connsiteY1906" fmla="*/ 389449 h 1849426"/>
                <a:gd name="connsiteX1907" fmla="*/ 4289808 w 6386648"/>
                <a:gd name="connsiteY1907" fmla="*/ 407474 h 1849426"/>
                <a:gd name="connsiteX1908" fmla="*/ 4271784 w 6386648"/>
                <a:gd name="connsiteY1908" fmla="*/ 389449 h 1849426"/>
                <a:gd name="connsiteX1909" fmla="*/ 4289808 w 6386648"/>
                <a:gd name="connsiteY1909" fmla="*/ 371425 h 1849426"/>
                <a:gd name="connsiteX1910" fmla="*/ 3412620 w 6386648"/>
                <a:gd name="connsiteY1910" fmla="*/ 371425 h 1849426"/>
                <a:gd name="connsiteX1911" fmla="*/ 3430645 w 6386648"/>
                <a:gd name="connsiteY1911" fmla="*/ 389449 h 1849426"/>
                <a:gd name="connsiteX1912" fmla="*/ 3412620 w 6386648"/>
                <a:gd name="connsiteY1912" fmla="*/ 407474 h 1849426"/>
                <a:gd name="connsiteX1913" fmla="*/ 3394596 w 6386648"/>
                <a:gd name="connsiteY1913" fmla="*/ 389449 h 1849426"/>
                <a:gd name="connsiteX1914" fmla="*/ 3412620 w 6386648"/>
                <a:gd name="connsiteY1914" fmla="*/ 371425 h 1849426"/>
                <a:gd name="connsiteX1915" fmla="*/ 3286449 w 6386648"/>
                <a:gd name="connsiteY1915" fmla="*/ 371425 h 1849426"/>
                <a:gd name="connsiteX1916" fmla="*/ 3304474 w 6386648"/>
                <a:gd name="connsiteY1916" fmla="*/ 389449 h 1849426"/>
                <a:gd name="connsiteX1917" fmla="*/ 3286449 w 6386648"/>
                <a:gd name="connsiteY1917" fmla="*/ 407474 h 1849426"/>
                <a:gd name="connsiteX1918" fmla="*/ 3268424 w 6386648"/>
                <a:gd name="connsiteY1918" fmla="*/ 389449 h 1849426"/>
                <a:gd name="connsiteX1919" fmla="*/ 3286449 w 6386648"/>
                <a:gd name="connsiteY1919" fmla="*/ 371425 h 1849426"/>
                <a:gd name="connsiteX1920" fmla="*/ 2204985 w 6386648"/>
                <a:gd name="connsiteY1920" fmla="*/ 371425 h 1849426"/>
                <a:gd name="connsiteX1921" fmla="*/ 2223010 w 6386648"/>
                <a:gd name="connsiteY1921" fmla="*/ 389449 h 1849426"/>
                <a:gd name="connsiteX1922" fmla="*/ 2204985 w 6386648"/>
                <a:gd name="connsiteY1922" fmla="*/ 407474 h 1849426"/>
                <a:gd name="connsiteX1923" fmla="*/ 2186961 w 6386648"/>
                <a:gd name="connsiteY1923" fmla="*/ 389449 h 1849426"/>
                <a:gd name="connsiteX1924" fmla="*/ 2204985 w 6386648"/>
                <a:gd name="connsiteY1924" fmla="*/ 371425 h 1849426"/>
                <a:gd name="connsiteX1925" fmla="*/ 1033398 w 6386648"/>
                <a:gd name="connsiteY1925" fmla="*/ 371425 h 1849426"/>
                <a:gd name="connsiteX1926" fmla="*/ 1051423 w 6386648"/>
                <a:gd name="connsiteY1926" fmla="*/ 389449 h 1849426"/>
                <a:gd name="connsiteX1927" fmla="*/ 1033398 w 6386648"/>
                <a:gd name="connsiteY1927" fmla="*/ 407474 h 1849426"/>
                <a:gd name="connsiteX1928" fmla="*/ 1015374 w 6386648"/>
                <a:gd name="connsiteY1928" fmla="*/ 389449 h 1849426"/>
                <a:gd name="connsiteX1929" fmla="*/ 1033398 w 6386648"/>
                <a:gd name="connsiteY1929" fmla="*/ 371425 h 1849426"/>
                <a:gd name="connsiteX1930" fmla="*/ 432585 w 6386648"/>
                <a:gd name="connsiteY1930" fmla="*/ 371425 h 1849426"/>
                <a:gd name="connsiteX1931" fmla="*/ 450610 w 6386648"/>
                <a:gd name="connsiteY1931" fmla="*/ 389449 h 1849426"/>
                <a:gd name="connsiteX1932" fmla="*/ 432585 w 6386648"/>
                <a:gd name="connsiteY1932" fmla="*/ 407474 h 1849426"/>
                <a:gd name="connsiteX1933" fmla="*/ 414561 w 6386648"/>
                <a:gd name="connsiteY1933" fmla="*/ 389449 h 1849426"/>
                <a:gd name="connsiteX1934" fmla="*/ 432585 w 6386648"/>
                <a:gd name="connsiteY1934" fmla="*/ 371425 h 1849426"/>
                <a:gd name="connsiteX1935" fmla="*/ 4037466 w 6386648"/>
                <a:gd name="connsiteY1935" fmla="*/ 365417 h 1849426"/>
                <a:gd name="connsiteX1936" fmla="*/ 4055491 w 6386648"/>
                <a:gd name="connsiteY1936" fmla="*/ 383441 h 1849426"/>
                <a:gd name="connsiteX1937" fmla="*/ 4037466 w 6386648"/>
                <a:gd name="connsiteY1937" fmla="*/ 401466 h 1849426"/>
                <a:gd name="connsiteX1938" fmla="*/ 4019441 w 6386648"/>
                <a:gd name="connsiteY1938" fmla="*/ 383441 h 1849426"/>
                <a:gd name="connsiteX1939" fmla="*/ 4037466 w 6386648"/>
                <a:gd name="connsiteY1939" fmla="*/ 365417 h 1849426"/>
                <a:gd name="connsiteX1940" fmla="*/ 2943986 w 6386648"/>
                <a:gd name="connsiteY1940" fmla="*/ 365417 h 1849426"/>
                <a:gd name="connsiteX1941" fmla="*/ 2962011 w 6386648"/>
                <a:gd name="connsiteY1941" fmla="*/ 383441 h 1849426"/>
                <a:gd name="connsiteX1942" fmla="*/ 2943986 w 6386648"/>
                <a:gd name="connsiteY1942" fmla="*/ 401466 h 1849426"/>
                <a:gd name="connsiteX1943" fmla="*/ 2925962 w 6386648"/>
                <a:gd name="connsiteY1943" fmla="*/ 383441 h 1849426"/>
                <a:gd name="connsiteX1944" fmla="*/ 2943986 w 6386648"/>
                <a:gd name="connsiteY1944" fmla="*/ 365417 h 1849426"/>
                <a:gd name="connsiteX1945" fmla="*/ 2811807 w 6386648"/>
                <a:gd name="connsiteY1945" fmla="*/ 365417 h 1849426"/>
                <a:gd name="connsiteX1946" fmla="*/ 2829832 w 6386648"/>
                <a:gd name="connsiteY1946" fmla="*/ 383441 h 1849426"/>
                <a:gd name="connsiteX1947" fmla="*/ 2811807 w 6386648"/>
                <a:gd name="connsiteY1947" fmla="*/ 401466 h 1849426"/>
                <a:gd name="connsiteX1948" fmla="*/ 2793783 w 6386648"/>
                <a:gd name="connsiteY1948" fmla="*/ 383441 h 1849426"/>
                <a:gd name="connsiteX1949" fmla="*/ 2811807 w 6386648"/>
                <a:gd name="connsiteY1949" fmla="*/ 365417 h 1849426"/>
                <a:gd name="connsiteX1950" fmla="*/ 5899988 w 6386648"/>
                <a:gd name="connsiteY1950" fmla="*/ 353401 h 1849426"/>
                <a:gd name="connsiteX1951" fmla="*/ 5918013 w 6386648"/>
                <a:gd name="connsiteY1951" fmla="*/ 371425 h 1849426"/>
                <a:gd name="connsiteX1952" fmla="*/ 5899988 w 6386648"/>
                <a:gd name="connsiteY1952" fmla="*/ 389450 h 1849426"/>
                <a:gd name="connsiteX1953" fmla="*/ 5881963 w 6386648"/>
                <a:gd name="connsiteY1953" fmla="*/ 371425 h 1849426"/>
                <a:gd name="connsiteX1954" fmla="*/ 5899988 w 6386648"/>
                <a:gd name="connsiteY1954" fmla="*/ 353401 h 1849426"/>
                <a:gd name="connsiteX1955" fmla="*/ 4842556 w 6386648"/>
                <a:gd name="connsiteY1955" fmla="*/ 353401 h 1849426"/>
                <a:gd name="connsiteX1956" fmla="*/ 4860581 w 6386648"/>
                <a:gd name="connsiteY1956" fmla="*/ 371425 h 1849426"/>
                <a:gd name="connsiteX1957" fmla="*/ 4842556 w 6386648"/>
                <a:gd name="connsiteY1957" fmla="*/ 389450 h 1849426"/>
                <a:gd name="connsiteX1958" fmla="*/ 4824532 w 6386648"/>
                <a:gd name="connsiteY1958" fmla="*/ 371425 h 1849426"/>
                <a:gd name="connsiteX1959" fmla="*/ 4842556 w 6386648"/>
                <a:gd name="connsiteY1959" fmla="*/ 353401 h 1849426"/>
                <a:gd name="connsiteX1960" fmla="*/ 4518117 w 6386648"/>
                <a:gd name="connsiteY1960" fmla="*/ 353401 h 1849426"/>
                <a:gd name="connsiteX1961" fmla="*/ 4536142 w 6386648"/>
                <a:gd name="connsiteY1961" fmla="*/ 371425 h 1849426"/>
                <a:gd name="connsiteX1962" fmla="*/ 4518117 w 6386648"/>
                <a:gd name="connsiteY1962" fmla="*/ 389450 h 1849426"/>
                <a:gd name="connsiteX1963" fmla="*/ 4500092 w 6386648"/>
                <a:gd name="connsiteY1963" fmla="*/ 371425 h 1849426"/>
                <a:gd name="connsiteX1964" fmla="*/ 4518117 w 6386648"/>
                <a:gd name="connsiteY1964" fmla="*/ 353401 h 1849426"/>
                <a:gd name="connsiteX1965" fmla="*/ 4403962 w 6386648"/>
                <a:gd name="connsiteY1965" fmla="*/ 353401 h 1849426"/>
                <a:gd name="connsiteX1966" fmla="*/ 4421987 w 6386648"/>
                <a:gd name="connsiteY1966" fmla="*/ 371425 h 1849426"/>
                <a:gd name="connsiteX1967" fmla="*/ 4403962 w 6386648"/>
                <a:gd name="connsiteY1967" fmla="*/ 389450 h 1849426"/>
                <a:gd name="connsiteX1968" fmla="*/ 4385938 w 6386648"/>
                <a:gd name="connsiteY1968" fmla="*/ 371425 h 1849426"/>
                <a:gd name="connsiteX1969" fmla="*/ 4403962 w 6386648"/>
                <a:gd name="connsiteY1969" fmla="*/ 353401 h 1849426"/>
                <a:gd name="connsiteX1970" fmla="*/ 4151621 w 6386648"/>
                <a:gd name="connsiteY1970" fmla="*/ 353401 h 1849426"/>
                <a:gd name="connsiteX1971" fmla="*/ 4169646 w 6386648"/>
                <a:gd name="connsiteY1971" fmla="*/ 371425 h 1849426"/>
                <a:gd name="connsiteX1972" fmla="*/ 4151621 w 6386648"/>
                <a:gd name="connsiteY1972" fmla="*/ 389450 h 1849426"/>
                <a:gd name="connsiteX1973" fmla="*/ 4133597 w 6386648"/>
                <a:gd name="connsiteY1973" fmla="*/ 371425 h 1849426"/>
                <a:gd name="connsiteX1974" fmla="*/ 4151621 w 6386648"/>
                <a:gd name="connsiteY1974" fmla="*/ 353401 h 1849426"/>
                <a:gd name="connsiteX1975" fmla="*/ 3911295 w 6386648"/>
                <a:gd name="connsiteY1975" fmla="*/ 347392 h 1849426"/>
                <a:gd name="connsiteX1976" fmla="*/ 3929320 w 6386648"/>
                <a:gd name="connsiteY1976" fmla="*/ 365417 h 1849426"/>
                <a:gd name="connsiteX1977" fmla="*/ 3911295 w 6386648"/>
                <a:gd name="connsiteY1977" fmla="*/ 383441 h 1849426"/>
                <a:gd name="connsiteX1978" fmla="*/ 3893271 w 6386648"/>
                <a:gd name="connsiteY1978" fmla="*/ 365417 h 1849426"/>
                <a:gd name="connsiteX1979" fmla="*/ 3911295 w 6386648"/>
                <a:gd name="connsiteY1979" fmla="*/ 347392 h 1849426"/>
                <a:gd name="connsiteX1980" fmla="*/ 2078814 w 6386648"/>
                <a:gd name="connsiteY1980" fmla="*/ 347392 h 1849426"/>
                <a:gd name="connsiteX1981" fmla="*/ 2096839 w 6386648"/>
                <a:gd name="connsiteY1981" fmla="*/ 365417 h 1849426"/>
                <a:gd name="connsiteX1982" fmla="*/ 2078814 w 6386648"/>
                <a:gd name="connsiteY1982" fmla="*/ 383441 h 1849426"/>
                <a:gd name="connsiteX1983" fmla="*/ 2060790 w 6386648"/>
                <a:gd name="connsiteY1983" fmla="*/ 365417 h 1849426"/>
                <a:gd name="connsiteX1984" fmla="*/ 2078814 w 6386648"/>
                <a:gd name="connsiteY1984" fmla="*/ 347392 h 1849426"/>
                <a:gd name="connsiteX1985" fmla="*/ 1345823 w 6386648"/>
                <a:gd name="connsiteY1985" fmla="*/ 347392 h 1849426"/>
                <a:gd name="connsiteX1986" fmla="*/ 1363847 w 6386648"/>
                <a:gd name="connsiteY1986" fmla="*/ 365417 h 1849426"/>
                <a:gd name="connsiteX1987" fmla="*/ 1345823 w 6386648"/>
                <a:gd name="connsiteY1987" fmla="*/ 383441 h 1849426"/>
                <a:gd name="connsiteX1988" fmla="*/ 1327798 w 6386648"/>
                <a:gd name="connsiteY1988" fmla="*/ 365417 h 1849426"/>
                <a:gd name="connsiteX1989" fmla="*/ 1345823 w 6386648"/>
                <a:gd name="connsiteY1989" fmla="*/ 347392 h 1849426"/>
                <a:gd name="connsiteX1990" fmla="*/ 1556107 w 6386648"/>
                <a:gd name="connsiteY1990" fmla="*/ 341384 h 1849426"/>
                <a:gd name="connsiteX1991" fmla="*/ 1574131 w 6386648"/>
                <a:gd name="connsiteY1991" fmla="*/ 359408 h 1849426"/>
                <a:gd name="connsiteX1992" fmla="*/ 1556107 w 6386648"/>
                <a:gd name="connsiteY1992" fmla="*/ 377433 h 1849426"/>
                <a:gd name="connsiteX1993" fmla="*/ 1538082 w 6386648"/>
                <a:gd name="connsiteY1993" fmla="*/ 359408 h 1849426"/>
                <a:gd name="connsiteX1994" fmla="*/ 1556107 w 6386648"/>
                <a:gd name="connsiteY1994" fmla="*/ 341384 h 1849426"/>
                <a:gd name="connsiteX1995" fmla="*/ 306414 w 6386648"/>
                <a:gd name="connsiteY1995" fmla="*/ 341384 h 1849426"/>
                <a:gd name="connsiteX1996" fmla="*/ 324439 w 6386648"/>
                <a:gd name="connsiteY1996" fmla="*/ 359408 h 1849426"/>
                <a:gd name="connsiteX1997" fmla="*/ 306414 w 6386648"/>
                <a:gd name="connsiteY1997" fmla="*/ 377433 h 1849426"/>
                <a:gd name="connsiteX1998" fmla="*/ 288390 w 6386648"/>
                <a:gd name="connsiteY1998" fmla="*/ 359408 h 1849426"/>
                <a:gd name="connsiteX1999" fmla="*/ 306414 w 6386648"/>
                <a:gd name="connsiteY1999" fmla="*/ 341384 h 1849426"/>
                <a:gd name="connsiteX2000" fmla="*/ 6206403 w 6386648"/>
                <a:gd name="connsiteY2000" fmla="*/ 335376 h 1849426"/>
                <a:gd name="connsiteX2001" fmla="*/ 6224428 w 6386648"/>
                <a:gd name="connsiteY2001" fmla="*/ 353400 h 1849426"/>
                <a:gd name="connsiteX2002" fmla="*/ 6206403 w 6386648"/>
                <a:gd name="connsiteY2002" fmla="*/ 371425 h 1849426"/>
                <a:gd name="connsiteX2003" fmla="*/ 6188379 w 6386648"/>
                <a:gd name="connsiteY2003" fmla="*/ 353400 h 1849426"/>
                <a:gd name="connsiteX2004" fmla="*/ 6206403 w 6386648"/>
                <a:gd name="connsiteY2004" fmla="*/ 335376 h 1849426"/>
                <a:gd name="connsiteX2005" fmla="*/ 1670261 w 6386648"/>
                <a:gd name="connsiteY2005" fmla="*/ 335376 h 1849426"/>
                <a:gd name="connsiteX2006" fmla="*/ 1688286 w 6386648"/>
                <a:gd name="connsiteY2006" fmla="*/ 353400 h 1849426"/>
                <a:gd name="connsiteX2007" fmla="*/ 1670261 w 6386648"/>
                <a:gd name="connsiteY2007" fmla="*/ 371425 h 1849426"/>
                <a:gd name="connsiteX2008" fmla="*/ 1652237 w 6386648"/>
                <a:gd name="connsiteY2008" fmla="*/ 353400 h 1849426"/>
                <a:gd name="connsiteX2009" fmla="*/ 1670261 w 6386648"/>
                <a:gd name="connsiteY2009" fmla="*/ 335376 h 1849426"/>
                <a:gd name="connsiteX2010" fmla="*/ 5767809 w 6386648"/>
                <a:gd name="connsiteY2010" fmla="*/ 329368 h 1849426"/>
                <a:gd name="connsiteX2011" fmla="*/ 5785834 w 6386648"/>
                <a:gd name="connsiteY2011" fmla="*/ 347392 h 1849426"/>
                <a:gd name="connsiteX2012" fmla="*/ 5767809 w 6386648"/>
                <a:gd name="connsiteY2012" fmla="*/ 365417 h 1849426"/>
                <a:gd name="connsiteX2013" fmla="*/ 5749785 w 6386648"/>
                <a:gd name="connsiteY2013" fmla="*/ 347392 h 1849426"/>
                <a:gd name="connsiteX2014" fmla="*/ 5767809 w 6386648"/>
                <a:gd name="connsiteY2014" fmla="*/ 329368 h 1849426"/>
                <a:gd name="connsiteX2015" fmla="*/ 3797141 w 6386648"/>
                <a:gd name="connsiteY2015" fmla="*/ 329368 h 1849426"/>
                <a:gd name="connsiteX2016" fmla="*/ 3815166 w 6386648"/>
                <a:gd name="connsiteY2016" fmla="*/ 347392 h 1849426"/>
                <a:gd name="connsiteX2017" fmla="*/ 3797141 w 6386648"/>
                <a:gd name="connsiteY2017" fmla="*/ 365417 h 1849426"/>
                <a:gd name="connsiteX2018" fmla="*/ 3779116 w 6386648"/>
                <a:gd name="connsiteY2018" fmla="*/ 347392 h 1849426"/>
                <a:gd name="connsiteX2019" fmla="*/ 3797141 w 6386648"/>
                <a:gd name="connsiteY2019" fmla="*/ 329368 h 1849426"/>
                <a:gd name="connsiteX2020" fmla="*/ 2673619 w 6386648"/>
                <a:gd name="connsiteY2020" fmla="*/ 329368 h 1849426"/>
                <a:gd name="connsiteX2021" fmla="*/ 2691644 w 6386648"/>
                <a:gd name="connsiteY2021" fmla="*/ 347392 h 1849426"/>
                <a:gd name="connsiteX2022" fmla="*/ 2673619 w 6386648"/>
                <a:gd name="connsiteY2022" fmla="*/ 365417 h 1849426"/>
                <a:gd name="connsiteX2023" fmla="*/ 2655595 w 6386648"/>
                <a:gd name="connsiteY2023" fmla="*/ 347392 h 1849426"/>
                <a:gd name="connsiteX2024" fmla="*/ 2673619 w 6386648"/>
                <a:gd name="connsiteY2024" fmla="*/ 329368 h 1849426"/>
                <a:gd name="connsiteX2025" fmla="*/ 1898570 w 6386648"/>
                <a:gd name="connsiteY2025" fmla="*/ 329368 h 1849426"/>
                <a:gd name="connsiteX2026" fmla="*/ 1916595 w 6386648"/>
                <a:gd name="connsiteY2026" fmla="*/ 347392 h 1849426"/>
                <a:gd name="connsiteX2027" fmla="*/ 1898570 w 6386648"/>
                <a:gd name="connsiteY2027" fmla="*/ 365417 h 1849426"/>
                <a:gd name="connsiteX2028" fmla="*/ 1880546 w 6386648"/>
                <a:gd name="connsiteY2028" fmla="*/ 347392 h 1849426"/>
                <a:gd name="connsiteX2029" fmla="*/ 1898570 w 6386648"/>
                <a:gd name="connsiteY2029" fmla="*/ 329368 h 1849426"/>
                <a:gd name="connsiteX2030" fmla="*/ 66089 w 6386648"/>
                <a:gd name="connsiteY2030" fmla="*/ 323360 h 1849426"/>
                <a:gd name="connsiteX2031" fmla="*/ 84114 w 6386648"/>
                <a:gd name="connsiteY2031" fmla="*/ 341384 h 1849426"/>
                <a:gd name="connsiteX2032" fmla="*/ 66089 w 6386648"/>
                <a:gd name="connsiteY2032" fmla="*/ 359409 h 1849426"/>
                <a:gd name="connsiteX2033" fmla="*/ 48065 w 6386648"/>
                <a:gd name="connsiteY2033" fmla="*/ 341384 h 1849426"/>
                <a:gd name="connsiteX2034" fmla="*/ 66089 w 6386648"/>
                <a:gd name="connsiteY2034" fmla="*/ 323360 h 1849426"/>
                <a:gd name="connsiteX2035" fmla="*/ 5647646 w 6386648"/>
                <a:gd name="connsiteY2035" fmla="*/ 317352 h 1849426"/>
                <a:gd name="connsiteX2036" fmla="*/ 5665671 w 6386648"/>
                <a:gd name="connsiteY2036" fmla="*/ 335377 h 1849426"/>
                <a:gd name="connsiteX2037" fmla="*/ 5647646 w 6386648"/>
                <a:gd name="connsiteY2037" fmla="*/ 353401 h 1849426"/>
                <a:gd name="connsiteX2038" fmla="*/ 5629622 w 6386648"/>
                <a:gd name="connsiteY2038" fmla="*/ 335377 h 1849426"/>
                <a:gd name="connsiteX2039" fmla="*/ 5647646 w 6386648"/>
                <a:gd name="connsiteY2039" fmla="*/ 317352 h 1849426"/>
                <a:gd name="connsiteX2040" fmla="*/ 3064148 w 6386648"/>
                <a:gd name="connsiteY2040" fmla="*/ 311344 h 1849426"/>
                <a:gd name="connsiteX2041" fmla="*/ 3082173 w 6386648"/>
                <a:gd name="connsiteY2041" fmla="*/ 329368 h 1849426"/>
                <a:gd name="connsiteX2042" fmla="*/ 3064148 w 6386648"/>
                <a:gd name="connsiteY2042" fmla="*/ 347393 h 1849426"/>
                <a:gd name="connsiteX2043" fmla="*/ 3046124 w 6386648"/>
                <a:gd name="connsiteY2043" fmla="*/ 329368 h 1849426"/>
                <a:gd name="connsiteX2044" fmla="*/ 3064148 w 6386648"/>
                <a:gd name="connsiteY2044" fmla="*/ 311344 h 1849426"/>
                <a:gd name="connsiteX2045" fmla="*/ 2553457 w 6386648"/>
                <a:gd name="connsiteY2045" fmla="*/ 311344 h 1849426"/>
                <a:gd name="connsiteX2046" fmla="*/ 2571482 w 6386648"/>
                <a:gd name="connsiteY2046" fmla="*/ 329368 h 1849426"/>
                <a:gd name="connsiteX2047" fmla="*/ 2553457 w 6386648"/>
                <a:gd name="connsiteY2047" fmla="*/ 347393 h 1849426"/>
                <a:gd name="connsiteX2048" fmla="*/ 2535433 w 6386648"/>
                <a:gd name="connsiteY2048" fmla="*/ 329368 h 1849426"/>
                <a:gd name="connsiteX2049" fmla="*/ 2553457 w 6386648"/>
                <a:gd name="connsiteY2049" fmla="*/ 311344 h 1849426"/>
                <a:gd name="connsiteX2050" fmla="*/ 6098257 w 6386648"/>
                <a:gd name="connsiteY2050" fmla="*/ 305335 h 1849426"/>
                <a:gd name="connsiteX2051" fmla="*/ 6116282 w 6386648"/>
                <a:gd name="connsiteY2051" fmla="*/ 323359 h 1849426"/>
                <a:gd name="connsiteX2052" fmla="*/ 6098257 w 6386648"/>
                <a:gd name="connsiteY2052" fmla="*/ 341384 h 1849426"/>
                <a:gd name="connsiteX2053" fmla="*/ 6080233 w 6386648"/>
                <a:gd name="connsiteY2053" fmla="*/ 323359 h 1849426"/>
                <a:gd name="connsiteX2054" fmla="*/ 6098257 w 6386648"/>
                <a:gd name="connsiteY2054" fmla="*/ 305335 h 1849426"/>
                <a:gd name="connsiteX2055" fmla="*/ 1231667 w 6386648"/>
                <a:gd name="connsiteY2055" fmla="*/ 305335 h 1849426"/>
                <a:gd name="connsiteX2056" fmla="*/ 1249692 w 6386648"/>
                <a:gd name="connsiteY2056" fmla="*/ 323359 h 1849426"/>
                <a:gd name="connsiteX2057" fmla="*/ 1231667 w 6386648"/>
                <a:gd name="connsiteY2057" fmla="*/ 341384 h 1849426"/>
                <a:gd name="connsiteX2058" fmla="*/ 1213643 w 6386648"/>
                <a:gd name="connsiteY2058" fmla="*/ 323359 h 1849426"/>
                <a:gd name="connsiteX2059" fmla="*/ 1231667 w 6386648"/>
                <a:gd name="connsiteY2059" fmla="*/ 305335 h 1849426"/>
                <a:gd name="connsiteX2060" fmla="*/ 174235 w 6386648"/>
                <a:gd name="connsiteY2060" fmla="*/ 305335 h 1849426"/>
                <a:gd name="connsiteX2061" fmla="*/ 192260 w 6386648"/>
                <a:gd name="connsiteY2061" fmla="*/ 323359 h 1849426"/>
                <a:gd name="connsiteX2062" fmla="*/ 174235 w 6386648"/>
                <a:gd name="connsiteY2062" fmla="*/ 341384 h 1849426"/>
                <a:gd name="connsiteX2063" fmla="*/ 156211 w 6386648"/>
                <a:gd name="connsiteY2063" fmla="*/ 323359 h 1849426"/>
                <a:gd name="connsiteX2064" fmla="*/ 174235 w 6386648"/>
                <a:gd name="connsiteY2064" fmla="*/ 305335 h 1849426"/>
                <a:gd name="connsiteX2065" fmla="*/ 3520767 w 6386648"/>
                <a:gd name="connsiteY2065" fmla="*/ 299327 h 1849426"/>
                <a:gd name="connsiteX2066" fmla="*/ 3538792 w 6386648"/>
                <a:gd name="connsiteY2066" fmla="*/ 317351 h 1849426"/>
                <a:gd name="connsiteX2067" fmla="*/ 3520767 w 6386648"/>
                <a:gd name="connsiteY2067" fmla="*/ 335376 h 1849426"/>
                <a:gd name="connsiteX2068" fmla="*/ 3502743 w 6386648"/>
                <a:gd name="connsiteY2068" fmla="*/ 317351 h 1849426"/>
                <a:gd name="connsiteX2069" fmla="*/ 3520767 w 6386648"/>
                <a:gd name="connsiteY2069" fmla="*/ 299327 h 1849426"/>
                <a:gd name="connsiteX2070" fmla="*/ 5347240 w 6386648"/>
                <a:gd name="connsiteY2070" fmla="*/ 293319 h 1849426"/>
                <a:gd name="connsiteX2071" fmla="*/ 5365265 w 6386648"/>
                <a:gd name="connsiteY2071" fmla="*/ 311343 h 1849426"/>
                <a:gd name="connsiteX2072" fmla="*/ 5347240 w 6386648"/>
                <a:gd name="connsiteY2072" fmla="*/ 329368 h 1849426"/>
                <a:gd name="connsiteX2073" fmla="*/ 5329216 w 6386648"/>
                <a:gd name="connsiteY2073" fmla="*/ 311343 h 1849426"/>
                <a:gd name="connsiteX2074" fmla="*/ 5347240 w 6386648"/>
                <a:gd name="connsiteY2074" fmla="*/ 293319 h 1849426"/>
                <a:gd name="connsiteX2075" fmla="*/ 2439302 w 6386648"/>
                <a:gd name="connsiteY2075" fmla="*/ 293319 h 1849426"/>
                <a:gd name="connsiteX2076" fmla="*/ 2457327 w 6386648"/>
                <a:gd name="connsiteY2076" fmla="*/ 311343 h 1849426"/>
                <a:gd name="connsiteX2077" fmla="*/ 2439302 w 6386648"/>
                <a:gd name="connsiteY2077" fmla="*/ 329368 h 1849426"/>
                <a:gd name="connsiteX2078" fmla="*/ 2421278 w 6386648"/>
                <a:gd name="connsiteY2078" fmla="*/ 311343 h 1849426"/>
                <a:gd name="connsiteX2079" fmla="*/ 2439302 w 6386648"/>
                <a:gd name="connsiteY2079" fmla="*/ 293319 h 1849426"/>
                <a:gd name="connsiteX2080" fmla="*/ 2301115 w 6386648"/>
                <a:gd name="connsiteY2080" fmla="*/ 293319 h 1849426"/>
                <a:gd name="connsiteX2081" fmla="*/ 2319140 w 6386648"/>
                <a:gd name="connsiteY2081" fmla="*/ 311343 h 1849426"/>
                <a:gd name="connsiteX2082" fmla="*/ 2301115 w 6386648"/>
                <a:gd name="connsiteY2082" fmla="*/ 329368 h 1849426"/>
                <a:gd name="connsiteX2083" fmla="*/ 2283091 w 6386648"/>
                <a:gd name="connsiteY2083" fmla="*/ 311343 h 1849426"/>
                <a:gd name="connsiteX2084" fmla="*/ 2301115 w 6386648"/>
                <a:gd name="connsiteY2084" fmla="*/ 293319 h 1849426"/>
                <a:gd name="connsiteX2085" fmla="*/ 1447960 w 6386648"/>
                <a:gd name="connsiteY2085" fmla="*/ 293319 h 1849426"/>
                <a:gd name="connsiteX2086" fmla="*/ 1465985 w 6386648"/>
                <a:gd name="connsiteY2086" fmla="*/ 311343 h 1849426"/>
                <a:gd name="connsiteX2087" fmla="*/ 1447960 w 6386648"/>
                <a:gd name="connsiteY2087" fmla="*/ 329368 h 1849426"/>
                <a:gd name="connsiteX2088" fmla="*/ 1429936 w 6386648"/>
                <a:gd name="connsiteY2088" fmla="*/ 311343 h 1849426"/>
                <a:gd name="connsiteX2089" fmla="*/ 1447960 w 6386648"/>
                <a:gd name="connsiteY2089" fmla="*/ 293319 h 1849426"/>
                <a:gd name="connsiteX2090" fmla="*/ 901219 w 6386648"/>
                <a:gd name="connsiteY2090" fmla="*/ 293319 h 1849426"/>
                <a:gd name="connsiteX2091" fmla="*/ 919244 w 6386648"/>
                <a:gd name="connsiteY2091" fmla="*/ 311343 h 1849426"/>
                <a:gd name="connsiteX2092" fmla="*/ 901219 w 6386648"/>
                <a:gd name="connsiteY2092" fmla="*/ 329368 h 1849426"/>
                <a:gd name="connsiteX2093" fmla="*/ 883195 w 6386648"/>
                <a:gd name="connsiteY2093" fmla="*/ 311343 h 1849426"/>
                <a:gd name="connsiteX2094" fmla="*/ 901219 w 6386648"/>
                <a:gd name="connsiteY2094" fmla="*/ 293319 h 1849426"/>
                <a:gd name="connsiteX2095" fmla="*/ 552748 w 6386648"/>
                <a:gd name="connsiteY2095" fmla="*/ 293319 h 1849426"/>
                <a:gd name="connsiteX2096" fmla="*/ 570773 w 6386648"/>
                <a:gd name="connsiteY2096" fmla="*/ 311343 h 1849426"/>
                <a:gd name="connsiteX2097" fmla="*/ 552748 w 6386648"/>
                <a:gd name="connsiteY2097" fmla="*/ 329368 h 1849426"/>
                <a:gd name="connsiteX2098" fmla="*/ 534724 w 6386648"/>
                <a:gd name="connsiteY2098" fmla="*/ 311343 h 1849426"/>
                <a:gd name="connsiteX2099" fmla="*/ 552748 w 6386648"/>
                <a:gd name="connsiteY2099" fmla="*/ 293319 h 1849426"/>
                <a:gd name="connsiteX2100" fmla="*/ 6326566 w 6386648"/>
                <a:gd name="connsiteY2100" fmla="*/ 287311 h 1849426"/>
                <a:gd name="connsiteX2101" fmla="*/ 6344591 w 6386648"/>
                <a:gd name="connsiteY2101" fmla="*/ 305336 h 1849426"/>
                <a:gd name="connsiteX2102" fmla="*/ 6326566 w 6386648"/>
                <a:gd name="connsiteY2102" fmla="*/ 323360 h 1849426"/>
                <a:gd name="connsiteX2103" fmla="*/ 6308542 w 6386648"/>
                <a:gd name="connsiteY2103" fmla="*/ 305336 h 1849426"/>
                <a:gd name="connsiteX2104" fmla="*/ 6326566 w 6386648"/>
                <a:gd name="connsiteY2104" fmla="*/ 287311 h 1849426"/>
                <a:gd name="connsiteX2105" fmla="*/ 5503451 w 6386648"/>
                <a:gd name="connsiteY2105" fmla="*/ 287311 h 1849426"/>
                <a:gd name="connsiteX2106" fmla="*/ 5521476 w 6386648"/>
                <a:gd name="connsiteY2106" fmla="*/ 305336 h 1849426"/>
                <a:gd name="connsiteX2107" fmla="*/ 5503451 w 6386648"/>
                <a:gd name="connsiteY2107" fmla="*/ 323360 h 1849426"/>
                <a:gd name="connsiteX2108" fmla="*/ 5485427 w 6386648"/>
                <a:gd name="connsiteY2108" fmla="*/ 305336 h 1849426"/>
                <a:gd name="connsiteX2109" fmla="*/ 5503451 w 6386648"/>
                <a:gd name="connsiteY2109" fmla="*/ 287311 h 1849426"/>
                <a:gd name="connsiteX2110" fmla="*/ 1808448 w 6386648"/>
                <a:gd name="connsiteY2110" fmla="*/ 287311 h 1849426"/>
                <a:gd name="connsiteX2111" fmla="*/ 1826473 w 6386648"/>
                <a:gd name="connsiteY2111" fmla="*/ 305336 h 1849426"/>
                <a:gd name="connsiteX2112" fmla="*/ 1808448 w 6386648"/>
                <a:gd name="connsiteY2112" fmla="*/ 323360 h 1849426"/>
                <a:gd name="connsiteX2113" fmla="*/ 1790424 w 6386648"/>
                <a:gd name="connsiteY2113" fmla="*/ 305336 h 1849426"/>
                <a:gd name="connsiteX2114" fmla="*/ 1808448 w 6386648"/>
                <a:gd name="connsiteY2114" fmla="*/ 287311 h 1849426"/>
                <a:gd name="connsiteX2115" fmla="*/ 672910 w 6386648"/>
                <a:gd name="connsiteY2115" fmla="*/ 287311 h 1849426"/>
                <a:gd name="connsiteX2116" fmla="*/ 690935 w 6386648"/>
                <a:gd name="connsiteY2116" fmla="*/ 305336 h 1849426"/>
                <a:gd name="connsiteX2117" fmla="*/ 672910 w 6386648"/>
                <a:gd name="connsiteY2117" fmla="*/ 323360 h 1849426"/>
                <a:gd name="connsiteX2118" fmla="*/ 654886 w 6386648"/>
                <a:gd name="connsiteY2118" fmla="*/ 305336 h 1849426"/>
                <a:gd name="connsiteX2119" fmla="*/ 672910 w 6386648"/>
                <a:gd name="connsiteY2119" fmla="*/ 287311 h 1849426"/>
                <a:gd name="connsiteX2120" fmla="*/ 4710377 w 6386648"/>
                <a:gd name="connsiteY2120" fmla="*/ 275295 h 1849426"/>
                <a:gd name="connsiteX2121" fmla="*/ 4728402 w 6386648"/>
                <a:gd name="connsiteY2121" fmla="*/ 293319 h 1849426"/>
                <a:gd name="connsiteX2122" fmla="*/ 4710377 w 6386648"/>
                <a:gd name="connsiteY2122" fmla="*/ 311344 h 1849426"/>
                <a:gd name="connsiteX2123" fmla="*/ 4692353 w 6386648"/>
                <a:gd name="connsiteY2123" fmla="*/ 293319 h 1849426"/>
                <a:gd name="connsiteX2124" fmla="*/ 4710377 w 6386648"/>
                <a:gd name="connsiteY2124" fmla="*/ 275295 h 1849426"/>
                <a:gd name="connsiteX2125" fmla="*/ 4962719 w 6386648"/>
                <a:gd name="connsiteY2125" fmla="*/ 269287 h 1849426"/>
                <a:gd name="connsiteX2126" fmla="*/ 4980744 w 6386648"/>
                <a:gd name="connsiteY2126" fmla="*/ 287311 h 1849426"/>
                <a:gd name="connsiteX2127" fmla="*/ 4962719 w 6386648"/>
                <a:gd name="connsiteY2127" fmla="*/ 305336 h 1849426"/>
                <a:gd name="connsiteX2128" fmla="*/ 4944695 w 6386648"/>
                <a:gd name="connsiteY2128" fmla="*/ 287311 h 1849426"/>
                <a:gd name="connsiteX2129" fmla="*/ 4962719 w 6386648"/>
                <a:gd name="connsiteY2129" fmla="*/ 269287 h 1849426"/>
                <a:gd name="connsiteX2130" fmla="*/ 3652945 w 6386648"/>
                <a:gd name="connsiteY2130" fmla="*/ 269287 h 1849426"/>
                <a:gd name="connsiteX2131" fmla="*/ 3670970 w 6386648"/>
                <a:gd name="connsiteY2131" fmla="*/ 287311 h 1849426"/>
                <a:gd name="connsiteX2132" fmla="*/ 3652945 w 6386648"/>
                <a:gd name="connsiteY2132" fmla="*/ 305336 h 1849426"/>
                <a:gd name="connsiteX2133" fmla="*/ 3634921 w 6386648"/>
                <a:gd name="connsiteY2133" fmla="*/ 287311 h 1849426"/>
                <a:gd name="connsiteX2134" fmla="*/ 3652945 w 6386648"/>
                <a:gd name="connsiteY2134" fmla="*/ 269287 h 1849426"/>
                <a:gd name="connsiteX2135" fmla="*/ 1123520 w 6386648"/>
                <a:gd name="connsiteY2135" fmla="*/ 269287 h 1849426"/>
                <a:gd name="connsiteX2136" fmla="*/ 1141545 w 6386648"/>
                <a:gd name="connsiteY2136" fmla="*/ 287311 h 1849426"/>
                <a:gd name="connsiteX2137" fmla="*/ 1123520 w 6386648"/>
                <a:gd name="connsiteY2137" fmla="*/ 305336 h 1849426"/>
                <a:gd name="connsiteX2138" fmla="*/ 1105496 w 6386648"/>
                <a:gd name="connsiteY2138" fmla="*/ 287311 h 1849426"/>
                <a:gd name="connsiteX2139" fmla="*/ 1123520 w 6386648"/>
                <a:gd name="connsiteY2139" fmla="*/ 269287 h 1849426"/>
                <a:gd name="connsiteX2140" fmla="*/ 5112922 w 6386648"/>
                <a:gd name="connsiteY2140" fmla="*/ 263279 h 1849426"/>
                <a:gd name="connsiteX2141" fmla="*/ 5130947 w 6386648"/>
                <a:gd name="connsiteY2141" fmla="*/ 281303 h 1849426"/>
                <a:gd name="connsiteX2142" fmla="*/ 5112922 w 6386648"/>
                <a:gd name="connsiteY2142" fmla="*/ 299328 h 1849426"/>
                <a:gd name="connsiteX2143" fmla="*/ 5094898 w 6386648"/>
                <a:gd name="connsiteY2143" fmla="*/ 281303 h 1849426"/>
                <a:gd name="connsiteX2144" fmla="*/ 5112922 w 6386648"/>
                <a:gd name="connsiteY2144" fmla="*/ 263279 h 1849426"/>
                <a:gd name="connsiteX2145" fmla="*/ 4217710 w 6386648"/>
                <a:gd name="connsiteY2145" fmla="*/ 263279 h 1849426"/>
                <a:gd name="connsiteX2146" fmla="*/ 4235735 w 6386648"/>
                <a:gd name="connsiteY2146" fmla="*/ 281303 h 1849426"/>
                <a:gd name="connsiteX2147" fmla="*/ 4217710 w 6386648"/>
                <a:gd name="connsiteY2147" fmla="*/ 299328 h 1849426"/>
                <a:gd name="connsiteX2148" fmla="*/ 4199685 w 6386648"/>
                <a:gd name="connsiteY2148" fmla="*/ 281303 h 1849426"/>
                <a:gd name="connsiteX2149" fmla="*/ 4217710 w 6386648"/>
                <a:gd name="connsiteY2149" fmla="*/ 263279 h 1849426"/>
                <a:gd name="connsiteX2150" fmla="*/ 3190319 w 6386648"/>
                <a:gd name="connsiteY2150" fmla="*/ 263279 h 1849426"/>
                <a:gd name="connsiteX2151" fmla="*/ 3208344 w 6386648"/>
                <a:gd name="connsiteY2151" fmla="*/ 281303 h 1849426"/>
                <a:gd name="connsiteX2152" fmla="*/ 3190319 w 6386648"/>
                <a:gd name="connsiteY2152" fmla="*/ 299328 h 1849426"/>
                <a:gd name="connsiteX2153" fmla="*/ 3172295 w 6386648"/>
                <a:gd name="connsiteY2153" fmla="*/ 281303 h 1849426"/>
                <a:gd name="connsiteX2154" fmla="*/ 3190319 w 6386648"/>
                <a:gd name="connsiteY2154" fmla="*/ 263279 h 1849426"/>
                <a:gd name="connsiteX2155" fmla="*/ 5996118 w 6386648"/>
                <a:gd name="connsiteY2155" fmla="*/ 257270 h 1849426"/>
                <a:gd name="connsiteX2156" fmla="*/ 6014143 w 6386648"/>
                <a:gd name="connsiteY2156" fmla="*/ 275295 h 1849426"/>
                <a:gd name="connsiteX2157" fmla="*/ 5996118 w 6386648"/>
                <a:gd name="connsiteY2157" fmla="*/ 293319 h 1849426"/>
                <a:gd name="connsiteX2158" fmla="*/ 5978094 w 6386648"/>
                <a:gd name="connsiteY2158" fmla="*/ 275295 h 1849426"/>
                <a:gd name="connsiteX2159" fmla="*/ 5996118 w 6386648"/>
                <a:gd name="connsiteY2159" fmla="*/ 257270 h 1849426"/>
                <a:gd name="connsiteX2160" fmla="*/ 5233085 w 6386648"/>
                <a:gd name="connsiteY2160" fmla="*/ 257270 h 1849426"/>
                <a:gd name="connsiteX2161" fmla="*/ 5251110 w 6386648"/>
                <a:gd name="connsiteY2161" fmla="*/ 275295 h 1849426"/>
                <a:gd name="connsiteX2162" fmla="*/ 5233085 w 6386648"/>
                <a:gd name="connsiteY2162" fmla="*/ 293319 h 1849426"/>
                <a:gd name="connsiteX2163" fmla="*/ 5215061 w 6386648"/>
                <a:gd name="connsiteY2163" fmla="*/ 275295 h 1849426"/>
                <a:gd name="connsiteX2164" fmla="*/ 5233085 w 6386648"/>
                <a:gd name="connsiteY2164" fmla="*/ 257270 h 1849426"/>
                <a:gd name="connsiteX2165" fmla="*/ 4584206 w 6386648"/>
                <a:gd name="connsiteY2165" fmla="*/ 257270 h 1849426"/>
                <a:gd name="connsiteX2166" fmla="*/ 4602231 w 6386648"/>
                <a:gd name="connsiteY2166" fmla="*/ 275295 h 1849426"/>
                <a:gd name="connsiteX2167" fmla="*/ 4584206 w 6386648"/>
                <a:gd name="connsiteY2167" fmla="*/ 293319 h 1849426"/>
                <a:gd name="connsiteX2168" fmla="*/ 4566182 w 6386648"/>
                <a:gd name="connsiteY2168" fmla="*/ 275295 h 1849426"/>
                <a:gd name="connsiteX2169" fmla="*/ 4584206 w 6386648"/>
                <a:gd name="connsiteY2169" fmla="*/ 257270 h 1849426"/>
                <a:gd name="connsiteX2170" fmla="*/ 2156921 w 6386648"/>
                <a:gd name="connsiteY2170" fmla="*/ 257270 h 1849426"/>
                <a:gd name="connsiteX2171" fmla="*/ 2174945 w 6386648"/>
                <a:gd name="connsiteY2171" fmla="*/ 275295 h 1849426"/>
                <a:gd name="connsiteX2172" fmla="*/ 2156921 w 6386648"/>
                <a:gd name="connsiteY2172" fmla="*/ 293319 h 1849426"/>
                <a:gd name="connsiteX2173" fmla="*/ 2138896 w 6386648"/>
                <a:gd name="connsiteY2173" fmla="*/ 275295 h 1849426"/>
                <a:gd name="connsiteX2174" fmla="*/ 2156921 w 6386648"/>
                <a:gd name="connsiteY2174" fmla="*/ 257270 h 1849426"/>
                <a:gd name="connsiteX2175" fmla="*/ 781057 w 6386648"/>
                <a:gd name="connsiteY2175" fmla="*/ 257270 h 1849426"/>
                <a:gd name="connsiteX2176" fmla="*/ 799082 w 6386648"/>
                <a:gd name="connsiteY2176" fmla="*/ 275295 h 1849426"/>
                <a:gd name="connsiteX2177" fmla="*/ 781057 w 6386648"/>
                <a:gd name="connsiteY2177" fmla="*/ 293319 h 1849426"/>
                <a:gd name="connsiteX2178" fmla="*/ 763033 w 6386648"/>
                <a:gd name="connsiteY2178" fmla="*/ 275295 h 1849426"/>
                <a:gd name="connsiteX2179" fmla="*/ 781057 w 6386648"/>
                <a:gd name="connsiteY2179" fmla="*/ 257270 h 1849426"/>
                <a:gd name="connsiteX2180" fmla="*/ 420569 w 6386648"/>
                <a:gd name="connsiteY2180" fmla="*/ 257270 h 1849426"/>
                <a:gd name="connsiteX2181" fmla="*/ 438594 w 6386648"/>
                <a:gd name="connsiteY2181" fmla="*/ 275295 h 1849426"/>
                <a:gd name="connsiteX2182" fmla="*/ 420569 w 6386648"/>
                <a:gd name="connsiteY2182" fmla="*/ 293319 h 1849426"/>
                <a:gd name="connsiteX2183" fmla="*/ 402545 w 6386648"/>
                <a:gd name="connsiteY2183" fmla="*/ 275295 h 1849426"/>
                <a:gd name="connsiteX2184" fmla="*/ 420569 w 6386648"/>
                <a:gd name="connsiteY2184" fmla="*/ 257270 h 1849426"/>
                <a:gd name="connsiteX2185" fmla="*/ 5845915 w 6386648"/>
                <a:gd name="connsiteY2185" fmla="*/ 245254 h 1849426"/>
                <a:gd name="connsiteX2186" fmla="*/ 5863940 w 6386648"/>
                <a:gd name="connsiteY2186" fmla="*/ 263278 h 1849426"/>
                <a:gd name="connsiteX2187" fmla="*/ 5845915 w 6386648"/>
                <a:gd name="connsiteY2187" fmla="*/ 281303 h 1849426"/>
                <a:gd name="connsiteX2188" fmla="*/ 5827891 w 6386648"/>
                <a:gd name="connsiteY2188" fmla="*/ 263278 h 1849426"/>
                <a:gd name="connsiteX2189" fmla="*/ 5845915 w 6386648"/>
                <a:gd name="connsiteY2189" fmla="*/ 245254 h 1849426"/>
                <a:gd name="connsiteX2190" fmla="*/ 4013434 w 6386648"/>
                <a:gd name="connsiteY2190" fmla="*/ 245254 h 1849426"/>
                <a:gd name="connsiteX2191" fmla="*/ 4031459 w 6386648"/>
                <a:gd name="connsiteY2191" fmla="*/ 263278 h 1849426"/>
                <a:gd name="connsiteX2192" fmla="*/ 4013434 w 6386648"/>
                <a:gd name="connsiteY2192" fmla="*/ 281303 h 1849426"/>
                <a:gd name="connsiteX2193" fmla="*/ 3995410 w 6386648"/>
                <a:gd name="connsiteY2193" fmla="*/ 263278 h 1849426"/>
                <a:gd name="connsiteX2194" fmla="*/ 4013434 w 6386648"/>
                <a:gd name="connsiteY2194" fmla="*/ 245254 h 1849426"/>
                <a:gd name="connsiteX2195" fmla="*/ 2841847 w 6386648"/>
                <a:gd name="connsiteY2195" fmla="*/ 245254 h 1849426"/>
                <a:gd name="connsiteX2196" fmla="*/ 2859872 w 6386648"/>
                <a:gd name="connsiteY2196" fmla="*/ 263278 h 1849426"/>
                <a:gd name="connsiteX2197" fmla="*/ 2841847 w 6386648"/>
                <a:gd name="connsiteY2197" fmla="*/ 281303 h 1849426"/>
                <a:gd name="connsiteX2198" fmla="*/ 2823823 w 6386648"/>
                <a:gd name="connsiteY2198" fmla="*/ 263278 h 1849426"/>
                <a:gd name="connsiteX2199" fmla="*/ 2841847 w 6386648"/>
                <a:gd name="connsiteY2199" fmla="*/ 245254 h 1849426"/>
                <a:gd name="connsiteX2200" fmla="*/ 2006717 w 6386648"/>
                <a:gd name="connsiteY2200" fmla="*/ 245254 h 1849426"/>
                <a:gd name="connsiteX2201" fmla="*/ 2024741 w 6386648"/>
                <a:gd name="connsiteY2201" fmla="*/ 263278 h 1849426"/>
                <a:gd name="connsiteX2202" fmla="*/ 2006717 w 6386648"/>
                <a:gd name="connsiteY2202" fmla="*/ 281303 h 1849426"/>
                <a:gd name="connsiteX2203" fmla="*/ 1988692 w 6386648"/>
                <a:gd name="connsiteY2203" fmla="*/ 263278 h 1849426"/>
                <a:gd name="connsiteX2204" fmla="*/ 2006717 w 6386648"/>
                <a:gd name="connsiteY2204" fmla="*/ 245254 h 1849426"/>
                <a:gd name="connsiteX2205" fmla="*/ 1009366 w 6386648"/>
                <a:gd name="connsiteY2205" fmla="*/ 245254 h 1849426"/>
                <a:gd name="connsiteX2206" fmla="*/ 1027391 w 6386648"/>
                <a:gd name="connsiteY2206" fmla="*/ 263278 h 1849426"/>
                <a:gd name="connsiteX2207" fmla="*/ 1009366 w 6386648"/>
                <a:gd name="connsiteY2207" fmla="*/ 281303 h 1849426"/>
                <a:gd name="connsiteX2208" fmla="*/ 991342 w 6386648"/>
                <a:gd name="connsiteY2208" fmla="*/ 263278 h 1849426"/>
                <a:gd name="connsiteX2209" fmla="*/ 1009366 w 6386648"/>
                <a:gd name="connsiteY2209" fmla="*/ 245254 h 1849426"/>
                <a:gd name="connsiteX2210" fmla="*/ 4337873 w 6386648"/>
                <a:gd name="connsiteY2210" fmla="*/ 239246 h 1849426"/>
                <a:gd name="connsiteX2211" fmla="*/ 4355898 w 6386648"/>
                <a:gd name="connsiteY2211" fmla="*/ 257270 h 1849426"/>
                <a:gd name="connsiteX2212" fmla="*/ 4337873 w 6386648"/>
                <a:gd name="connsiteY2212" fmla="*/ 275295 h 1849426"/>
                <a:gd name="connsiteX2213" fmla="*/ 4319848 w 6386648"/>
                <a:gd name="connsiteY2213" fmla="*/ 257270 h 1849426"/>
                <a:gd name="connsiteX2214" fmla="*/ 4337873 w 6386648"/>
                <a:gd name="connsiteY2214" fmla="*/ 239246 h 1849426"/>
                <a:gd name="connsiteX2215" fmla="*/ 3310482 w 6386648"/>
                <a:gd name="connsiteY2215" fmla="*/ 239246 h 1849426"/>
                <a:gd name="connsiteX2216" fmla="*/ 3328507 w 6386648"/>
                <a:gd name="connsiteY2216" fmla="*/ 257270 h 1849426"/>
                <a:gd name="connsiteX2217" fmla="*/ 3310482 w 6386648"/>
                <a:gd name="connsiteY2217" fmla="*/ 275295 h 1849426"/>
                <a:gd name="connsiteX2218" fmla="*/ 3292458 w 6386648"/>
                <a:gd name="connsiteY2218" fmla="*/ 257270 h 1849426"/>
                <a:gd name="connsiteX2219" fmla="*/ 3310482 w 6386648"/>
                <a:gd name="connsiteY2219" fmla="*/ 239246 h 1849426"/>
                <a:gd name="connsiteX2220" fmla="*/ 3418628 w 6386648"/>
                <a:gd name="connsiteY2220" fmla="*/ 233238 h 1849426"/>
                <a:gd name="connsiteX2221" fmla="*/ 3436653 w 6386648"/>
                <a:gd name="connsiteY2221" fmla="*/ 251262 h 1849426"/>
                <a:gd name="connsiteX2222" fmla="*/ 3418628 w 6386648"/>
                <a:gd name="connsiteY2222" fmla="*/ 269287 h 1849426"/>
                <a:gd name="connsiteX2223" fmla="*/ 3400604 w 6386648"/>
                <a:gd name="connsiteY2223" fmla="*/ 251262 h 1849426"/>
                <a:gd name="connsiteX2224" fmla="*/ 3418628 w 6386648"/>
                <a:gd name="connsiteY2224" fmla="*/ 233238 h 1849426"/>
                <a:gd name="connsiteX2225" fmla="*/ 4836548 w 6386648"/>
                <a:gd name="connsiteY2225" fmla="*/ 227230 h 1849426"/>
                <a:gd name="connsiteX2226" fmla="*/ 4854573 w 6386648"/>
                <a:gd name="connsiteY2226" fmla="*/ 245255 h 1849426"/>
                <a:gd name="connsiteX2227" fmla="*/ 4836548 w 6386648"/>
                <a:gd name="connsiteY2227" fmla="*/ 263279 h 1849426"/>
                <a:gd name="connsiteX2228" fmla="*/ 4818524 w 6386648"/>
                <a:gd name="connsiteY2228" fmla="*/ 245255 h 1849426"/>
                <a:gd name="connsiteX2229" fmla="*/ 4836548 w 6386648"/>
                <a:gd name="connsiteY2229" fmla="*/ 227230 h 1849426"/>
                <a:gd name="connsiteX2230" fmla="*/ 2949994 w 6386648"/>
                <a:gd name="connsiteY2230" fmla="*/ 227230 h 1849426"/>
                <a:gd name="connsiteX2231" fmla="*/ 2968019 w 6386648"/>
                <a:gd name="connsiteY2231" fmla="*/ 245255 h 1849426"/>
                <a:gd name="connsiteX2232" fmla="*/ 2949994 w 6386648"/>
                <a:gd name="connsiteY2232" fmla="*/ 263279 h 1849426"/>
                <a:gd name="connsiteX2233" fmla="*/ 2931970 w 6386648"/>
                <a:gd name="connsiteY2233" fmla="*/ 245255 h 1849426"/>
                <a:gd name="connsiteX2234" fmla="*/ 2949994 w 6386648"/>
                <a:gd name="connsiteY2234" fmla="*/ 227230 h 1849426"/>
                <a:gd name="connsiteX2235" fmla="*/ 2727693 w 6386648"/>
                <a:gd name="connsiteY2235" fmla="*/ 227230 h 1849426"/>
                <a:gd name="connsiteX2236" fmla="*/ 2745718 w 6386648"/>
                <a:gd name="connsiteY2236" fmla="*/ 245255 h 1849426"/>
                <a:gd name="connsiteX2237" fmla="*/ 2727693 w 6386648"/>
                <a:gd name="connsiteY2237" fmla="*/ 263279 h 1849426"/>
                <a:gd name="connsiteX2238" fmla="*/ 2709669 w 6386648"/>
                <a:gd name="connsiteY2238" fmla="*/ 245255 h 1849426"/>
                <a:gd name="connsiteX2239" fmla="*/ 2727693 w 6386648"/>
                <a:gd name="connsiteY2239" fmla="*/ 227230 h 1849426"/>
                <a:gd name="connsiteX2240" fmla="*/ 270365 w 6386648"/>
                <a:gd name="connsiteY2240" fmla="*/ 227230 h 1849426"/>
                <a:gd name="connsiteX2241" fmla="*/ 288390 w 6386648"/>
                <a:gd name="connsiteY2241" fmla="*/ 245255 h 1849426"/>
                <a:gd name="connsiteX2242" fmla="*/ 270365 w 6386648"/>
                <a:gd name="connsiteY2242" fmla="*/ 263279 h 1849426"/>
                <a:gd name="connsiteX2243" fmla="*/ 252341 w 6386648"/>
                <a:gd name="connsiteY2243" fmla="*/ 245255 h 1849426"/>
                <a:gd name="connsiteX2244" fmla="*/ 270365 w 6386648"/>
                <a:gd name="connsiteY2244" fmla="*/ 227230 h 1849426"/>
                <a:gd name="connsiteX2245" fmla="*/ 3893271 w 6386648"/>
                <a:gd name="connsiteY2245" fmla="*/ 221222 h 1849426"/>
                <a:gd name="connsiteX2246" fmla="*/ 3911296 w 6386648"/>
                <a:gd name="connsiteY2246" fmla="*/ 239246 h 1849426"/>
                <a:gd name="connsiteX2247" fmla="*/ 3893271 w 6386648"/>
                <a:gd name="connsiteY2247" fmla="*/ 257271 h 1849426"/>
                <a:gd name="connsiteX2248" fmla="*/ 3875247 w 6386648"/>
                <a:gd name="connsiteY2248" fmla="*/ 239246 h 1849426"/>
                <a:gd name="connsiteX2249" fmla="*/ 3893271 w 6386648"/>
                <a:gd name="connsiteY2249" fmla="*/ 221222 h 1849426"/>
                <a:gd name="connsiteX2250" fmla="*/ 1682277 w 6386648"/>
                <a:gd name="connsiteY2250" fmla="*/ 221222 h 1849426"/>
                <a:gd name="connsiteX2251" fmla="*/ 1700302 w 6386648"/>
                <a:gd name="connsiteY2251" fmla="*/ 239246 h 1849426"/>
                <a:gd name="connsiteX2252" fmla="*/ 1682277 w 6386648"/>
                <a:gd name="connsiteY2252" fmla="*/ 257271 h 1849426"/>
                <a:gd name="connsiteX2253" fmla="*/ 1664253 w 6386648"/>
                <a:gd name="connsiteY2253" fmla="*/ 239246 h 1849426"/>
                <a:gd name="connsiteX2254" fmla="*/ 1682277 w 6386648"/>
                <a:gd name="connsiteY2254" fmla="*/ 221222 h 1849426"/>
                <a:gd name="connsiteX2255" fmla="*/ 4458036 w 6386648"/>
                <a:gd name="connsiteY2255" fmla="*/ 215213 h 1849426"/>
                <a:gd name="connsiteX2256" fmla="*/ 4476061 w 6386648"/>
                <a:gd name="connsiteY2256" fmla="*/ 233237 h 1849426"/>
                <a:gd name="connsiteX2257" fmla="*/ 4458036 w 6386648"/>
                <a:gd name="connsiteY2257" fmla="*/ 251262 h 1849426"/>
                <a:gd name="connsiteX2258" fmla="*/ 4440011 w 6386648"/>
                <a:gd name="connsiteY2258" fmla="*/ 233237 h 1849426"/>
                <a:gd name="connsiteX2259" fmla="*/ 4458036 w 6386648"/>
                <a:gd name="connsiteY2259" fmla="*/ 215213 h 1849426"/>
                <a:gd name="connsiteX2260" fmla="*/ 3767100 w 6386648"/>
                <a:gd name="connsiteY2260" fmla="*/ 215213 h 1849426"/>
                <a:gd name="connsiteX2261" fmla="*/ 3785125 w 6386648"/>
                <a:gd name="connsiteY2261" fmla="*/ 233237 h 1849426"/>
                <a:gd name="connsiteX2262" fmla="*/ 3767100 w 6386648"/>
                <a:gd name="connsiteY2262" fmla="*/ 251262 h 1849426"/>
                <a:gd name="connsiteX2263" fmla="*/ 3749075 w 6386648"/>
                <a:gd name="connsiteY2263" fmla="*/ 233237 h 1849426"/>
                <a:gd name="connsiteX2264" fmla="*/ 3767100 w 6386648"/>
                <a:gd name="connsiteY2264" fmla="*/ 215213 h 1849426"/>
                <a:gd name="connsiteX2265" fmla="*/ 6224427 w 6386648"/>
                <a:gd name="connsiteY2265" fmla="*/ 209205 h 1849426"/>
                <a:gd name="connsiteX2266" fmla="*/ 6242452 w 6386648"/>
                <a:gd name="connsiteY2266" fmla="*/ 227229 h 1849426"/>
                <a:gd name="connsiteX2267" fmla="*/ 6224427 w 6386648"/>
                <a:gd name="connsiteY2267" fmla="*/ 245254 h 1849426"/>
                <a:gd name="connsiteX2268" fmla="*/ 6206403 w 6386648"/>
                <a:gd name="connsiteY2268" fmla="*/ 227229 h 1849426"/>
                <a:gd name="connsiteX2269" fmla="*/ 6224427 w 6386648"/>
                <a:gd name="connsiteY2269" fmla="*/ 209205 h 1849426"/>
                <a:gd name="connsiteX2270" fmla="*/ 1315782 w 6386648"/>
                <a:gd name="connsiteY2270" fmla="*/ 209205 h 1849426"/>
                <a:gd name="connsiteX2271" fmla="*/ 1333806 w 6386648"/>
                <a:gd name="connsiteY2271" fmla="*/ 227229 h 1849426"/>
                <a:gd name="connsiteX2272" fmla="*/ 1315782 w 6386648"/>
                <a:gd name="connsiteY2272" fmla="*/ 245254 h 1849426"/>
                <a:gd name="connsiteX2273" fmla="*/ 1297757 w 6386648"/>
                <a:gd name="connsiteY2273" fmla="*/ 227229 h 1849426"/>
                <a:gd name="connsiteX2274" fmla="*/ 1315782 w 6386648"/>
                <a:gd name="connsiteY2274" fmla="*/ 209205 h 1849426"/>
                <a:gd name="connsiteX2275" fmla="*/ 5713736 w 6386648"/>
                <a:gd name="connsiteY2275" fmla="*/ 203197 h 1849426"/>
                <a:gd name="connsiteX2276" fmla="*/ 5731761 w 6386648"/>
                <a:gd name="connsiteY2276" fmla="*/ 221221 h 1849426"/>
                <a:gd name="connsiteX2277" fmla="*/ 5713736 w 6386648"/>
                <a:gd name="connsiteY2277" fmla="*/ 239246 h 1849426"/>
                <a:gd name="connsiteX2278" fmla="*/ 5695712 w 6386648"/>
                <a:gd name="connsiteY2278" fmla="*/ 221221 h 1849426"/>
                <a:gd name="connsiteX2279" fmla="*/ 5713736 w 6386648"/>
                <a:gd name="connsiteY2279" fmla="*/ 203197 h 1849426"/>
                <a:gd name="connsiteX2280" fmla="*/ 1550098 w 6386648"/>
                <a:gd name="connsiteY2280" fmla="*/ 203197 h 1849426"/>
                <a:gd name="connsiteX2281" fmla="*/ 1568123 w 6386648"/>
                <a:gd name="connsiteY2281" fmla="*/ 221221 h 1849426"/>
                <a:gd name="connsiteX2282" fmla="*/ 1550098 w 6386648"/>
                <a:gd name="connsiteY2282" fmla="*/ 239246 h 1849426"/>
                <a:gd name="connsiteX2283" fmla="*/ 1532074 w 6386648"/>
                <a:gd name="connsiteY2283" fmla="*/ 221221 h 1849426"/>
                <a:gd name="connsiteX2284" fmla="*/ 1550098 w 6386648"/>
                <a:gd name="connsiteY2284" fmla="*/ 203197 h 1849426"/>
                <a:gd name="connsiteX2285" fmla="*/ 5587565 w 6386648"/>
                <a:gd name="connsiteY2285" fmla="*/ 197189 h 1849426"/>
                <a:gd name="connsiteX2286" fmla="*/ 5605590 w 6386648"/>
                <a:gd name="connsiteY2286" fmla="*/ 215214 h 1849426"/>
                <a:gd name="connsiteX2287" fmla="*/ 5587565 w 6386648"/>
                <a:gd name="connsiteY2287" fmla="*/ 233238 h 1849426"/>
                <a:gd name="connsiteX2288" fmla="*/ 5569541 w 6386648"/>
                <a:gd name="connsiteY2288" fmla="*/ 215214 h 1849426"/>
                <a:gd name="connsiteX2289" fmla="*/ 5587565 w 6386648"/>
                <a:gd name="connsiteY2289" fmla="*/ 197189 h 1849426"/>
                <a:gd name="connsiteX2290" fmla="*/ 4121580 w 6386648"/>
                <a:gd name="connsiteY2290" fmla="*/ 197189 h 1849426"/>
                <a:gd name="connsiteX2291" fmla="*/ 4139605 w 6386648"/>
                <a:gd name="connsiteY2291" fmla="*/ 215214 h 1849426"/>
                <a:gd name="connsiteX2292" fmla="*/ 4121580 w 6386648"/>
                <a:gd name="connsiteY2292" fmla="*/ 233238 h 1849426"/>
                <a:gd name="connsiteX2293" fmla="*/ 4103556 w 6386648"/>
                <a:gd name="connsiteY2293" fmla="*/ 215214 h 1849426"/>
                <a:gd name="connsiteX2294" fmla="*/ 4121580 w 6386648"/>
                <a:gd name="connsiteY2294" fmla="*/ 197189 h 1849426"/>
                <a:gd name="connsiteX2295" fmla="*/ 3076164 w 6386648"/>
                <a:gd name="connsiteY2295" fmla="*/ 197189 h 1849426"/>
                <a:gd name="connsiteX2296" fmla="*/ 3094189 w 6386648"/>
                <a:gd name="connsiteY2296" fmla="*/ 215214 h 1849426"/>
                <a:gd name="connsiteX2297" fmla="*/ 3076164 w 6386648"/>
                <a:gd name="connsiteY2297" fmla="*/ 233238 h 1849426"/>
                <a:gd name="connsiteX2298" fmla="*/ 3058139 w 6386648"/>
                <a:gd name="connsiteY2298" fmla="*/ 215214 h 1849426"/>
                <a:gd name="connsiteX2299" fmla="*/ 3076164 w 6386648"/>
                <a:gd name="connsiteY2299" fmla="*/ 197189 h 1849426"/>
                <a:gd name="connsiteX2300" fmla="*/ 5449378 w 6386648"/>
                <a:gd name="connsiteY2300" fmla="*/ 191181 h 1849426"/>
                <a:gd name="connsiteX2301" fmla="*/ 5467403 w 6386648"/>
                <a:gd name="connsiteY2301" fmla="*/ 209205 h 1849426"/>
                <a:gd name="connsiteX2302" fmla="*/ 5449378 w 6386648"/>
                <a:gd name="connsiteY2302" fmla="*/ 227230 h 1849426"/>
                <a:gd name="connsiteX2303" fmla="*/ 5431353 w 6386648"/>
                <a:gd name="connsiteY2303" fmla="*/ 209205 h 1849426"/>
                <a:gd name="connsiteX2304" fmla="*/ 5449378 w 6386648"/>
                <a:gd name="connsiteY2304" fmla="*/ 191181 h 1849426"/>
                <a:gd name="connsiteX2305" fmla="*/ 2607530 w 6386648"/>
                <a:gd name="connsiteY2305" fmla="*/ 191181 h 1849426"/>
                <a:gd name="connsiteX2306" fmla="*/ 2625555 w 6386648"/>
                <a:gd name="connsiteY2306" fmla="*/ 209205 h 1849426"/>
                <a:gd name="connsiteX2307" fmla="*/ 2607530 w 6386648"/>
                <a:gd name="connsiteY2307" fmla="*/ 227230 h 1849426"/>
                <a:gd name="connsiteX2308" fmla="*/ 2589506 w 6386648"/>
                <a:gd name="connsiteY2308" fmla="*/ 209205 h 1849426"/>
                <a:gd name="connsiteX2309" fmla="*/ 2607530 w 6386648"/>
                <a:gd name="connsiteY2309" fmla="*/ 191181 h 1849426"/>
                <a:gd name="connsiteX2310" fmla="*/ 30040 w 6386648"/>
                <a:gd name="connsiteY2310" fmla="*/ 191181 h 1849426"/>
                <a:gd name="connsiteX2311" fmla="*/ 48065 w 6386648"/>
                <a:gd name="connsiteY2311" fmla="*/ 209205 h 1849426"/>
                <a:gd name="connsiteX2312" fmla="*/ 30040 w 6386648"/>
                <a:gd name="connsiteY2312" fmla="*/ 227230 h 1849426"/>
                <a:gd name="connsiteX2313" fmla="*/ 12016 w 6386648"/>
                <a:gd name="connsiteY2313" fmla="*/ 209205 h 1849426"/>
                <a:gd name="connsiteX2314" fmla="*/ 30040 w 6386648"/>
                <a:gd name="connsiteY2314" fmla="*/ 191181 h 1849426"/>
                <a:gd name="connsiteX2315" fmla="*/ 6368623 w 6386648"/>
                <a:gd name="connsiteY2315" fmla="*/ 185173 h 1849426"/>
                <a:gd name="connsiteX2316" fmla="*/ 6386648 w 6386648"/>
                <a:gd name="connsiteY2316" fmla="*/ 203197 h 1849426"/>
                <a:gd name="connsiteX2317" fmla="*/ 6368623 w 6386648"/>
                <a:gd name="connsiteY2317" fmla="*/ 221222 h 1849426"/>
                <a:gd name="connsiteX2318" fmla="*/ 6350599 w 6386648"/>
                <a:gd name="connsiteY2318" fmla="*/ 203197 h 1849426"/>
                <a:gd name="connsiteX2319" fmla="*/ 6368623 w 6386648"/>
                <a:gd name="connsiteY2319" fmla="*/ 185173 h 1849426"/>
                <a:gd name="connsiteX2320" fmla="*/ 2379221 w 6386648"/>
                <a:gd name="connsiteY2320" fmla="*/ 179165 h 1849426"/>
                <a:gd name="connsiteX2321" fmla="*/ 2397246 w 6386648"/>
                <a:gd name="connsiteY2321" fmla="*/ 197189 h 1849426"/>
                <a:gd name="connsiteX2322" fmla="*/ 2379221 w 6386648"/>
                <a:gd name="connsiteY2322" fmla="*/ 215214 h 1849426"/>
                <a:gd name="connsiteX2323" fmla="*/ 2361197 w 6386648"/>
                <a:gd name="connsiteY2323" fmla="*/ 197189 h 1849426"/>
                <a:gd name="connsiteX2324" fmla="*/ 2379221 w 6386648"/>
                <a:gd name="connsiteY2324" fmla="*/ 179165 h 1849426"/>
                <a:gd name="connsiteX2325" fmla="*/ 2253050 w 6386648"/>
                <a:gd name="connsiteY2325" fmla="*/ 179165 h 1849426"/>
                <a:gd name="connsiteX2326" fmla="*/ 2271075 w 6386648"/>
                <a:gd name="connsiteY2326" fmla="*/ 197189 h 1849426"/>
                <a:gd name="connsiteX2327" fmla="*/ 2253050 w 6386648"/>
                <a:gd name="connsiteY2327" fmla="*/ 215214 h 1849426"/>
                <a:gd name="connsiteX2328" fmla="*/ 2235026 w 6386648"/>
                <a:gd name="connsiteY2328" fmla="*/ 197189 h 1849426"/>
                <a:gd name="connsiteX2329" fmla="*/ 2253050 w 6386648"/>
                <a:gd name="connsiteY2329" fmla="*/ 179165 h 1849426"/>
                <a:gd name="connsiteX2330" fmla="*/ 624846 w 6386648"/>
                <a:gd name="connsiteY2330" fmla="*/ 179165 h 1849426"/>
                <a:gd name="connsiteX2331" fmla="*/ 642870 w 6386648"/>
                <a:gd name="connsiteY2331" fmla="*/ 197189 h 1849426"/>
                <a:gd name="connsiteX2332" fmla="*/ 624846 w 6386648"/>
                <a:gd name="connsiteY2332" fmla="*/ 215214 h 1849426"/>
                <a:gd name="connsiteX2333" fmla="*/ 606821 w 6386648"/>
                <a:gd name="connsiteY2333" fmla="*/ 197189 h 1849426"/>
                <a:gd name="connsiteX2334" fmla="*/ 624846 w 6386648"/>
                <a:gd name="connsiteY2334" fmla="*/ 179165 h 1849426"/>
                <a:gd name="connsiteX2335" fmla="*/ 6116281 w 6386648"/>
                <a:gd name="connsiteY2335" fmla="*/ 167148 h 1849426"/>
                <a:gd name="connsiteX2336" fmla="*/ 6134306 w 6386648"/>
                <a:gd name="connsiteY2336" fmla="*/ 185173 h 1849426"/>
                <a:gd name="connsiteX2337" fmla="*/ 6116281 w 6386648"/>
                <a:gd name="connsiteY2337" fmla="*/ 203197 h 1849426"/>
                <a:gd name="connsiteX2338" fmla="*/ 6098257 w 6386648"/>
                <a:gd name="connsiteY2338" fmla="*/ 185173 h 1849426"/>
                <a:gd name="connsiteX2339" fmla="*/ 6116281 w 6386648"/>
                <a:gd name="connsiteY2339" fmla="*/ 167148 h 1849426"/>
                <a:gd name="connsiteX2340" fmla="*/ 5311191 w 6386648"/>
                <a:gd name="connsiteY2340" fmla="*/ 167148 h 1849426"/>
                <a:gd name="connsiteX2341" fmla="*/ 5329216 w 6386648"/>
                <a:gd name="connsiteY2341" fmla="*/ 185173 h 1849426"/>
                <a:gd name="connsiteX2342" fmla="*/ 5311191 w 6386648"/>
                <a:gd name="connsiteY2342" fmla="*/ 203197 h 1849426"/>
                <a:gd name="connsiteX2343" fmla="*/ 5293167 w 6386648"/>
                <a:gd name="connsiteY2343" fmla="*/ 185173 h 1849426"/>
                <a:gd name="connsiteX2344" fmla="*/ 5311191 w 6386648"/>
                <a:gd name="connsiteY2344" fmla="*/ 167148 h 1849426"/>
                <a:gd name="connsiteX2345" fmla="*/ 3508750 w 6386648"/>
                <a:gd name="connsiteY2345" fmla="*/ 167148 h 1849426"/>
                <a:gd name="connsiteX2346" fmla="*/ 3526775 w 6386648"/>
                <a:gd name="connsiteY2346" fmla="*/ 185173 h 1849426"/>
                <a:gd name="connsiteX2347" fmla="*/ 3508750 w 6386648"/>
                <a:gd name="connsiteY2347" fmla="*/ 203197 h 1849426"/>
                <a:gd name="connsiteX2348" fmla="*/ 3490726 w 6386648"/>
                <a:gd name="connsiteY2348" fmla="*/ 185173 h 1849426"/>
                <a:gd name="connsiteX2349" fmla="*/ 3508750 w 6386648"/>
                <a:gd name="connsiteY2349" fmla="*/ 167148 h 1849426"/>
                <a:gd name="connsiteX2350" fmla="*/ 1820464 w 6386648"/>
                <a:gd name="connsiteY2350" fmla="*/ 167148 h 1849426"/>
                <a:gd name="connsiteX2351" fmla="*/ 1838489 w 6386648"/>
                <a:gd name="connsiteY2351" fmla="*/ 185173 h 1849426"/>
                <a:gd name="connsiteX2352" fmla="*/ 1820464 w 6386648"/>
                <a:gd name="connsiteY2352" fmla="*/ 203197 h 1849426"/>
                <a:gd name="connsiteX2353" fmla="*/ 1802440 w 6386648"/>
                <a:gd name="connsiteY2353" fmla="*/ 185173 h 1849426"/>
                <a:gd name="connsiteX2354" fmla="*/ 1820464 w 6386648"/>
                <a:gd name="connsiteY2354" fmla="*/ 167148 h 1849426"/>
                <a:gd name="connsiteX2355" fmla="*/ 1423927 w 6386648"/>
                <a:gd name="connsiteY2355" fmla="*/ 167148 h 1849426"/>
                <a:gd name="connsiteX2356" fmla="*/ 1441952 w 6386648"/>
                <a:gd name="connsiteY2356" fmla="*/ 185173 h 1849426"/>
                <a:gd name="connsiteX2357" fmla="*/ 1423927 w 6386648"/>
                <a:gd name="connsiteY2357" fmla="*/ 203197 h 1849426"/>
                <a:gd name="connsiteX2358" fmla="*/ 1405903 w 6386648"/>
                <a:gd name="connsiteY2358" fmla="*/ 185173 h 1849426"/>
                <a:gd name="connsiteX2359" fmla="*/ 1423927 w 6386648"/>
                <a:gd name="connsiteY2359" fmla="*/ 167148 h 1849426"/>
                <a:gd name="connsiteX2360" fmla="*/ 5100906 w 6386648"/>
                <a:gd name="connsiteY2360" fmla="*/ 161140 h 1849426"/>
                <a:gd name="connsiteX2361" fmla="*/ 5118931 w 6386648"/>
                <a:gd name="connsiteY2361" fmla="*/ 179164 h 1849426"/>
                <a:gd name="connsiteX2362" fmla="*/ 5100906 w 6386648"/>
                <a:gd name="connsiteY2362" fmla="*/ 197189 h 1849426"/>
                <a:gd name="connsiteX2363" fmla="*/ 5082882 w 6386648"/>
                <a:gd name="connsiteY2363" fmla="*/ 179164 h 1849426"/>
                <a:gd name="connsiteX2364" fmla="*/ 5100906 w 6386648"/>
                <a:gd name="connsiteY2364" fmla="*/ 161140 h 1849426"/>
                <a:gd name="connsiteX2365" fmla="*/ 1189610 w 6386648"/>
                <a:gd name="connsiteY2365" fmla="*/ 161140 h 1849426"/>
                <a:gd name="connsiteX2366" fmla="*/ 1207635 w 6386648"/>
                <a:gd name="connsiteY2366" fmla="*/ 179164 h 1849426"/>
                <a:gd name="connsiteX2367" fmla="*/ 1189610 w 6386648"/>
                <a:gd name="connsiteY2367" fmla="*/ 197189 h 1849426"/>
                <a:gd name="connsiteX2368" fmla="*/ 1171586 w 6386648"/>
                <a:gd name="connsiteY2368" fmla="*/ 179164 h 1849426"/>
                <a:gd name="connsiteX2369" fmla="*/ 1189610 w 6386648"/>
                <a:gd name="connsiteY2369" fmla="*/ 161140 h 1849426"/>
                <a:gd name="connsiteX2370" fmla="*/ 492666 w 6386648"/>
                <a:gd name="connsiteY2370" fmla="*/ 161140 h 1849426"/>
                <a:gd name="connsiteX2371" fmla="*/ 510691 w 6386648"/>
                <a:gd name="connsiteY2371" fmla="*/ 179164 h 1849426"/>
                <a:gd name="connsiteX2372" fmla="*/ 492666 w 6386648"/>
                <a:gd name="connsiteY2372" fmla="*/ 197189 h 1849426"/>
                <a:gd name="connsiteX2373" fmla="*/ 474642 w 6386648"/>
                <a:gd name="connsiteY2373" fmla="*/ 179164 h 1849426"/>
                <a:gd name="connsiteX2374" fmla="*/ 492666 w 6386648"/>
                <a:gd name="connsiteY2374" fmla="*/ 161140 h 1849426"/>
                <a:gd name="connsiteX2375" fmla="*/ 132178 w 6386648"/>
                <a:gd name="connsiteY2375" fmla="*/ 161140 h 1849426"/>
                <a:gd name="connsiteX2376" fmla="*/ 150203 w 6386648"/>
                <a:gd name="connsiteY2376" fmla="*/ 179164 h 1849426"/>
                <a:gd name="connsiteX2377" fmla="*/ 132178 w 6386648"/>
                <a:gd name="connsiteY2377" fmla="*/ 197189 h 1849426"/>
                <a:gd name="connsiteX2378" fmla="*/ 114154 w 6386648"/>
                <a:gd name="connsiteY2378" fmla="*/ 179164 h 1849426"/>
                <a:gd name="connsiteX2379" fmla="*/ 132178 w 6386648"/>
                <a:gd name="connsiteY2379" fmla="*/ 161140 h 1849426"/>
                <a:gd name="connsiteX2380" fmla="*/ 4968727 w 6386648"/>
                <a:gd name="connsiteY2380" fmla="*/ 155132 h 1849426"/>
                <a:gd name="connsiteX2381" fmla="*/ 4986752 w 6386648"/>
                <a:gd name="connsiteY2381" fmla="*/ 173156 h 1849426"/>
                <a:gd name="connsiteX2382" fmla="*/ 4968727 w 6386648"/>
                <a:gd name="connsiteY2382" fmla="*/ 191181 h 1849426"/>
                <a:gd name="connsiteX2383" fmla="*/ 4950702 w 6386648"/>
                <a:gd name="connsiteY2383" fmla="*/ 173156 h 1849426"/>
                <a:gd name="connsiteX2384" fmla="*/ 4968727 w 6386648"/>
                <a:gd name="connsiteY2384" fmla="*/ 155132 h 1849426"/>
                <a:gd name="connsiteX2385" fmla="*/ 3634921 w 6386648"/>
                <a:gd name="connsiteY2385" fmla="*/ 155132 h 1849426"/>
                <a:gd name="connsiteX2386" fmla="*/ 3652946 w 6386648"/>
                <a:gd name="connsiteY2386" fmla="*/ 173156 h 1849426"/>
                <a:gd name="connsiteX2387" fmla="*/ 3634921 w 6386648"/>
                <a:gd name="connsiteY2387" fmla="*/ 191181 h 1849426"/>
                <a:gd name="connsiteX2388" fmla="*/ 3616897 w 6386648"/>
                <a:gd name="connsiteY2388" fmla="*/ 173156 h 1849426"/>
                <a:gd name="connsiteX2389" fmla="*/ 3634921 w 6386648"/>
                <a:gd name="connsiteY2389" fmla="*/ 155132 h 1849426"/>
                <a:gd name="connsiteX2390" fmla="*/ 2493375 w 6386648"/>
                <a:gd name="connsiteY2390" fmla="*/ 155132 h 1849426"/>
                <a:gd name="connsiteX2391" fmla="*/ 2511400 w 6386648"/>
                <a:gd name="connsiteY2391" fmla="*/ 173156 h 1849426"/>
                <a:gd name="connsiteX2392" fmla="*/ 2493375 w 6386648"/>
                <a:gd name="connsiteY2392" fmla="*/ 191181 h 1849426"/>
                <a:gd name="connsiteX2393" fmla="*/ 2475351 w 6386648"/>
                <a:gd name="connsiteY2393" fmla="*/ 173156 h 1849426"/>
                <a:gd name="connsiteX2394" fmla="*/ 2493375 w 6386648"/>
                <a:gd name="connsiteY2394" fmla="*/ 155132 h 1849426"/>
                <a:gd name="connsiteX2395" fmla="*/ 1922603 w 6386648"/>
                <a:gd name="connsiteY2395" fmla="*/ 155132 h 1849426"/>
                <a:gd name="connsiteX2396" fmla="*/ 1940628 w 6386648"/>
                <a:gd name="connsiteY2396" fmla="*/ 173156 h 1849426"/>
                <a:gd name="connsiteX2397" fmla="*/ 1922603 w 6386648"/>
                <a:gd name="connsiteY2397" fmla="*/ 191181 h 1849426"/>
                <a:gd name="connsiteX2398" fmla="*/ 1904579 w 6386648"/>
                <a:gd name="connsiteY2398" fmla="*/ 173156 h 1849426"/>
                <a:gd name="connsiteX2399" fmla="*/ 1922603 w 6386648"/>
                <a:gd name="connsiteY2399" fmla="*/ 155132 h 1849426"/>
                <a:gd name="connsiteX2400" fmla="*/ 919244 w 6386648"/>
                <a:gd name="connsiteY2400" fmla="*/ 155132 h 1849426"/>
                <a:gd name="connsiteX2401" fmla="*/ 937269 w 6386648"/>
                <a:gd name="connsiteY2401" fmla="*/ 173156 h 1849426"/>
                <a:gd name="connsiteX2402" fmla="*/ 919244 w 6386648"/>
                <a:gd name="connsiteY2402" fmla="*/ 191181 h 1849426"/>
                <a:gd name="connsiteX2403" fmla="*/ 901220 w 6386648"/>
                <a:gd name="connsiteY2403" fmla="*/ 173156 h 1849426"/>
                <a:gd name="connsiteX2404" fmla="*/ 919244 w 6386648"/>
                <a:gd name="connsiteY2404" fmla="*/ 155132 h 1849426"/>
                <a:gd name="connsiteX2405" fmla="*/ 5905996 w 6386648"/>
                <a:gd name="connsiteY2405" fmla="*/ 149124 h 1849426"/>
                <a:gd name="connsiteX2406" fmla="*/ 5924021 w 6386648"/>
                <a:gd name="connsiteY2406" fmla="*/ 167148 h 1849426"/>
                <a:gd name="connsiteX2407" fmla="*/ 5905996 w 6386648"/>
                <a:gd name="connsiteY2407" fmla="*/ 185173 h 1849426"/>
                <a:gd name="connsiteX2408" fmla="*/ 5887972 w 6386648"/>
                <a:gd name="connsiteY2408" fmla="*/ 167148 h 1849426"/>
                <a:gd name="connsiteX2409" fmla="*/ 5905996 w 6386648"/>
                <a:gd name="connsiteY2409" fmla="*/ 149124 h 1849426"/>
                <a:gd name="connsiteX2410" fmla="*/ 4644288 w 6386648"/>
                <a:gd name="connsiteY2410" fmla="*/ 149124 h 1849426"/>
                <a:gd name="connsiteX2411" fmla="*/ 4662313 w 6386648"/>
                <a:gd name="connsiteY2411" fmla="*/ 167148 h 1849426"/>
                <a:gd name="connsiteX2412" fmla="*/ 4644288 w 6386648"/>
                <a:gd name="connsiteY2412" fmla="*/ 185173 h 1849426"/>
                <a:gd name="connsiteX2413" fmla="*/ 4626264 w 6386648"/>
                <a:gd name="connsiteY2413" fmla="*/ 167148 h 1849426"/>
                <a:gd name="connsiteX2414" fmla="*/ 4644288 w 6386648"/>
                <a:gd name="connsiteY2414" fmla="*/ 149124 h 1849426"/>
                <a:gd name="connsiteX2415" fmla="*/ 2126880 w 6386648"/>
                <a:gd name="connsiteY2415" fmla="*/ 149124 h 1849426"/>
                <a:gd name="connsiteX2416" fmla="*/ 2144904 w 6386648"/>
                <a:gd name="connsiteY2416" fmla="*/ 167148 h 1849426"/>
                <a:gd name="connsiteX2417" fmla="*/ 2126880 w 6386648"/>
                <a:gd name="connsiteY2417" fmla="*/ 185173 h 1849426"/>
                <a:gd name="connsiteX2418" fmla="*/ 2108855 w 6386648"/>
                <a:gd name="connsiteY2418" fmla="*/ 167148 h 1849426"/>
                <a:gd name="connsiteX2419" fmla="*/ 2126880 w 6386648"/>
                <a:gd name="connsiteY2419" fmla="*/ 149124 h 1849426"/>
                <a:gd name="connsiteX2420" fmla="*/ 799081 w 6386648"/>
                <a:gd name="connsiteY2420" fmla="*/ 149124 h 1849426"/>
                <a:gd name="connsiteX2421" fmla="*/ 817106 w 6386648"/>
                <a:gd name="connsiteY2421" fmla="*/ 167148 h 1849426"/>
                <a:gd name="connsiteX2422" fmla="*/ 799081 w 6386648"/>
                <a:gd name="connsiteY2422" fmla="*/ 185173 h 1849426"/>
                <a:gd name="connsiteX2423" fmla="*/ 781057 w 6386648"/>
                <a:gd name="connsiteY2423" fmla="*/ 167148 h 1849426"/>
                <a:gd name="connsiteX2424" fmla="*/ 799081 w 6386648"/>
                <a:gd name="connsiteY2424" fmla="*/ 149124 h 1849426"/>
                <a:gd name="connsiteX2425" fmla="*/ 366495 w 6386648"/>
                <a:gd name="connsiteY2425" fmla="*/ 149124 h 1849426"/>
                <a:gd name="connsiteX2426" fmla="*/ 384520 w 6386648"/>
                <a:gd name="connsiteY2426" fmla="*/ 167148 h 1849426"/>
                <a:gd name="connsiteX2427" fmla="*/ 366495 w 6386648"/>
                <a:gd name="connsiteY2427" fmla="*/ 185173 h 1849426"/>
                <a:gd name="connsiteX2428" fmla="*/ 348471 w 6386648"/>
                <a:gd name="connsiteY2428" fmla="*/ 167148 h 1849426"/>
                <a:gd name="connsiteX2429" fmla="*/ 366495 w 6386648"/>
                <a:gd name="connsiteY2429" fmla="*/ 149124 h 1849426"/>
                <a:gd name="connsiteX2430" fmla="*/ 4758442 w 6386648"/>
                <a:gd name="connsiteY2430" fmla="*/ 143116 h 1849426"/>
                <a:gd name="connsiteX2431" fmla="*/ 4776467 w 6386648"/>
                <a:gd name="connsiteY2431" fmla="*/ 161140 h 1849426"/>
                <a:gd name="connsiteX2432" fmla="*/ 4758442 w 6386648"/>
                <a:gd name="connsiteY2432" fmla="*/ 179165 h 1849426"/>
                <a:gd name="connsiteX2433" fmla="*/ 4740417 w 6386648"/>
                <a:gd name="connsiteY2433" fmla="*/ 161140 h 1849426"/>
                <a:gd name="connsiteX2434" fmla="*/ 4758442 w 6386648"/>
                <a:gd name="connsiteY2434" fmla="*/ 143116 h 1849426"/>
                <a:gd name="connsiteX2435" fmla="*/ 3226368 w 6386648"/>
                <a:gd name="connsiteY2435" fmla="*/ 143116 h 1849426"/>
                <a:gd name="connsiteX2436" fmla="*/ 3244393 w 6386648"/>
                <a:gd name="connsiteY2436" fmla="*/ 161140 h 1849426"/>
                <a:gd name="connsiteX2437" fmla="*/ 3226368 w 6386648"/>
                <a:gd name="connsiteY2437" fmla="*/ 179165 h 1849426"/>
                <a:gd name="connsiteX2438" fmla="*/ 3208343 w 6386648"/>
                <a:gd name="connsiteY2438" fmla="*/ 161140 h 1849426"/>
                <a:gd name="connsiteX2439" fmla="*/ 3226368 w 6386648"/>
                <a:gd name="connsiteY2439" fmla="*/ 143116 h 1849426"/>
                <a:gd name="connsiteX2440" fmla="*/ 4235735 w 6386648"/>
                <a:gd name="connsiteY2440" fmla="*/ 131100 h 1849426"/>
                <a:gd name="connsiteX2441" fmla="*/ 4253760 w 6386648"/>
                <a:gd name="connsiteY2441" fmla="*/ 149124 h 1849426"/>
                <a:gd name="connsiteX2442" fmla="*/ 4235735 w 6386648"/>
                <a:gd name="connsiteY2442" fmla="*/ 167149 h 1849426"/>
                <a:gd name="connsiteX2443" fmla="*/ 4217711 w 6386648"/>
                <a:gd name="connsiteY2443" fmla="*/ 149124 h 1849426"/>
                <a:gd name="connsiteX2444" fmla="*/ 4235735 w 6386648"/>
                <a:gd name="connsiteY2444" fmla="*/ 131100 h 1849426"/>
                <a:gd name="connsiteX2445" fmla="*/ 1057431 w 6386648"/>
                <a:gd name="connsiteY2445" fmla="*/ 131100 h 1849426"/>
                <a:gd name="connsiteX2446" fmla="*/ 1075456 w 6386648"/>
                <a:gd name="connsiteY2446" fmla="*/ 149124 h 1849426"/>
                <a:gd name="connsiteX2447" fmla="*/ 1057431 w 6386648"/>
                <a:gd name="connsiteY2447" fmla="*/ 167149 h 1849426"/>
                <a:gd name="connsiteX2448" fmla="*/ 1039407 w 6386648"/>
                <a:gd name="connsiteY2448" fmla="*/ 149124 h 1849426"/>
                <a:gd name="connsiteX2449" fmla="*/ 1057431 w 6386648"/>
                <a:gd name="connsiteY2449" fmla="*/ 131100 h 1849426"/>
                <a:gd name="connsiteX2450" fmla="*/ 4536141 w 6386648"/>
                <a:gd name="connsiteY2450" fmla="*/ 119083 h 1849426"/>
                <a:gd name="connsiteX2451" fmla="*/ 4554166 w 6386648"/>
                <a:gd name="connsiteY2451" fmla="*/ 137107 h 1849426"/>
                <a:gd name="connsiteX2452" fmla="*/ 4536141 w 6386648"/>
                <a:gd name="connsiteY2452" fmla="*/ 155132 h 1849426"/>
                <a:gd name="connsiteX2453" fmla="*/ 4518117 w 6386648"/>
                <a:gd name="connsiteY2453" fmla="*/ 137107 h 1849426"/>
                <a:gd name="connsiteX2454" fmla="*/ 4536141 w 6386648"/>
                <a:gd name="connsiteY2454" fmla="*/ 119083 h 1849426"/>
                <a:gd name="connsiteX2455" fmla="*/ 4361905 w 6386648"/>
                <a:gd name="connsiteY2455" fmla="*/ 119083 h 1849426"/>
                <a:gd name="connsiteX2456" fmla="*/ 4379930 w 6386648"/>
                <a:gd name="connsiteY2456" fmla="*/ 137107 h 1849426"/>
                <a:gd name="connsiteX2457" fmla="*/ 4361905 w 6386648"/>
                <a:gd name="connsiteY2457" fmla="*/ 155132 h 1849426"/>
                <a:gd name="connsiteX2458" fmla="*/ 4343881 w 6386648"/>
                <a:gd name="connsiteY2458" fmla="*/ 137107 h 1849426"/>
                <a:gd name="connsiteX2459" fmla="*/ 4361905 w 6386648"/>
                <a:gd name="connsiteY2459" fmla="*/ 119083 h 1849426"/>
                <a:gd name="connsiteX2460" fmla="*/ 6020151 w 6386648"/>
                <a:gd name="connsiteY2460" fmla="*/ 113075 h 1849426"/>
                <a:gd name="connsiteX2461" fmla="*/ 6038176 w 6386648"/>
                <a:gd name="connsiteY2461" fmla="*/ 131099 h 1849426"/>
                <a:gd name="connsiteX2462" fmla="*/ 6020151 w 6386648"/>
                <a:gd name="connsiteY2462" fmla="*/ 149124 h 1849426"/>
                <a:gd name="connsiteX2463" fmla="*/ 6002126 w 6386648"/>
                <a:gd name="connsiteY2463" fmla="*/ 131099 h 1849426"/>
                <a:gd name="connsiteX2464" fmla="*/ 6020151 w 6386648"/>
                <a:gd name="connsiteY2464" fmla="*/ 113075 h 1849426"/>
                <a:gd name="connsiteX2465" fmla="*/ 5209053 w 6386648"/>
                <a:gd name="connsiteY2465" fmla="*/ 113075 h 1849426"/>
                <a:gd name="connsiteX2466" fmla="*/ 5227078 w 6386648"/>
                <a:gd name="connsiteY2466" fmla="*/ 131099 h 1849426"/>
                <a:gd name="connsiteX2467" fmla="*/ 5209053 w 6386648"/>
                <a:gd name="connsiteY2467" fmla="*/ 149124 h 1849426"/>
                <a:gd name="connsiteX2468" fmla="*/ 5191028 w 6386648"/>
                <a:gd name="connsiteY2468" fmla="*/ 131099 h 1849426"/>
                <a:gd name="connsiteX2469" fmla="*/ 5209053 w 6386648"/>
                <a:gd name="connsiteY2469" fmla="*/ 113075 h 1849426"/>
                <a:gd name="connsiteX2470" fmla="*/ 2865880 w 6386648"/>
                <a:gd name="connsiteY2470" fmla="*/ 113075 h 1849426"/>
                <a:gd name="connsiteX2471" fmla="*/ 2883905 w 6386648"/>
                <a:gd name="connsiteY2471" fmla="*/ 131099 h 1849426"/>
                <a:gd name="connsiteX2472" fmla="*/ 2865880 w 6386648"/>
                <a:gd name="connsiteY2472" fmla="*/ 149124 h 1849426"/>
                <a:gd name="connsiteX2473" fmla="*/ 2847855 w 6386648"/>
                <a:gd name="connsiteY2473" fmla="*/ 131099 h 1849426"/>
                <a:gd name="connsiteX2474" fmla="*/ 2865880 w 6386648"/>
                <a:gd name="connsiteY2474" fmla="*/ 113075 h 1849426"/>
                <a:gd name="connsiteX2475" fmla="*/ 2751725 w 6386648"/>
                <a:gd name="connsiteY2475" fmla="*/ 113075 h 1849426"/>
                <a:gd name="connsiteX2476" fmla="*/ 2769750 w 6386648"/>
                <a:gd name="connsiteY2476" fmla="*/ 131099 h 1849426"/>
                <a:gd name="connsiteX2477" fmla="*/ 2751725 w 6386648"/>
                <a:gd name="connsiteY2477" fmla="*/ 149124 h 1849426"/>
                <a:gd name="connsiteX2478" fmla="*/ 2733701 w 6386648"/>
                <a:gd name="connsiteY2478" fmla="*/ 131099 h 1849426"/>
                <a:gd name="connsiteX2479" fmla="*/ 2751725 w 6386648"/>
                <a:gd name="connsiteY2479" fmla="*/ 113075 h 1849426"/>
                <a:gd name="connsiteX2480" fmla="*/ 5797850 w 6386648"/>
                <a:gd name="connsiteY2480" fmla="*/ 107067 h 1849426"/>
                <a:gd name="connsiteX2481" fmla="*/ 5815875 w 6386648"/>
                <a:gd name="connsiteY2481" fmla="*/ 125092 h 1849426"/>
                <a:gd name="connsiteX2482" fmla="*/ 5797850 w 6386648"/>
                <a:gd name="connsiteY2482" fmla="*/ 143116 h 1849426"/>
                <a:gd name="connsiteX2483" fmla="*/ 5779826 w 6386648"/>
                <a:gd name="connsiteY2483" fmla="*/ 125092 h 1849426"/>
                <a:gd name="connsiteX2484" fmla="*/ 5797850 w 6386648"/>
                <a:gd name="connsiteY2484" fmla="*/ 107067 h 1849426"/>
                <a:gd name="connsiteX2485" fmla="*/ 4055491 w 6386648"/>
                <a:gd name="connsiteY2485" fmla="*/ 107067 h 1849426"/>
                <a:gd name="connsiteX2486" fmla="*/ 4073516 w 6386648"/>
                <a:gd name="connsiteY2486" fmla="*/ 125092 h 1849426"/>
                <a:gd name="connsiteX2487" fmla="*/ 4055491 w 6386648"/>
                <a:gd name="connsiteY2487" fmla="*/ 143116 h 1849426"/>
                <a:gd name="connsiteX2488" fmla="*/ 4037467 w 6386648"/>
                <a:gd name="connsiteY2488" fmla="*/ 125092 h 1849426"/>
                <a:gd name="connsiteX2489" fmla="*/ 4055491 w 6386648"/>
                <a:gd name="connsiteY2489" fmla="*/ 107067 h 1849426"/>
                <a:gd name="connsiteX2490" fmla="*/ 3917303 w 6386648"/>
                <a:gd name="connsiteY2490" fmla="*/ 107067 h 1849426"/>
                <a:gd name="connsiteX2491" fmla="*/ 3935328 w 6386648"/>
                <a:gd name="connsiteY2491" fmla="*/ 125092 h 1849426"/>
                <a:gd name="connsiteX2492" fmla="*/ 3917303 w 6386648"/>
                <a:gd name="connsiteY2492" fmla="*/ 143116 h 1849426"/>
                <a:gd name="connsiteX2493" fmla="*/ 3899278 w 6386648"/>
                <a:gd name="connsiteY2493" fmla="*/ 125092 h 1849426"/>
                <a:gd name="connsiteX2494" fmla="*/ 3917303 w 6386648"/>
                <a:gd name="connsiteY2494" fmla="*/ 107067 h 1849426"/>
                <a:gd name="connsiteX2495" fmla="*/ 3346531 w 6386648"/>
                <a:gd name="connsiteY2495" fmla="*/ 107067 h 1849426"/>
                <a:gd name="connsiteX2496" fmla="*/ 3364556 w 6386648"/>
                <a:gd name="connsiteY2496" fmla="*/ 125092 h 1849426"/>
                <a:gd name="connsiteX2497" fmla="*/ 3346531 w 6386648"/>
                <a:gd name="connsiteY2497" fmla="*/ 143116 h 1849426"/>
                <a:gd name="connsiteX2498" fmla="*/ 3328506 w 6386648"/>
                <a:gd name="connsiteY2498" fmla="*/ 125092 h 1849426"/>
                <a:gd name="connsiteX2499" fmla="*/ 3346531 w 6386648"/>
                <a:gd name="connsiteY2499" fmla="*/ 107067 h 1849426"/>
                <a:gd name="connsiteX2500" fmla="*/ 2024741 w 6386648"/>
                <a:gd name="connsiteY2500" fmla="*/ 107067 h 1849426"/>
                <a:gd name="connsiteX2501" fmla="*/ 2042766 w 6386648"/>
                <a:gd name="connsiteY2501" fmla="*/ 125092 h 1849426"/>
                <a:gd name="connsiteX2502" fmla="*/ 2024741 w 6386648"/>
                <a:gd name="connsiteY2502" fmla="*/ 143116 h 1849426"/>
                <a:gd name="connsiteX2503" fmla="*/ 2006717 w 6386648"/>
                <a:gd name="connsiteY2503" fmla="*/ 125092 h 1849426"/>
                <a:gd name="connsiteX2504" fmla="*/ 2024741 w 6386648"/>
                <a:gd name="connsiteY2504" fmla="*/ 107067 h 1849426"/>
                <a:gd name="connsiteX2505" fmla="*/ 240325 w 6386648"/>
                <a:gd name="connsiteY2505" fmla="*/ 107067 h 1849426"/>
                <a:gd name="connsiteX2506" fmla="*/ 258350 w 6386648"/>
                <a:gd name="connsiteY2506" fmla="*/ 125092 h 1849426"/>
                <a:gd name="connsiteX2507" fmla="*/ 240325 w 6386648"/>
                <a:gd name="connsiteY2507" fmla="*/ 143116 h 1849426"/>
                <a:gd name="connsiteX2508" fmla="*/ 222301 w 6386648"/>
                <a:gd name="connsiteY2508" fmla="*/ 125092 h 1849426"/>
                <a:gd name="connsiteX2509" fmla="*/ 240325 w 6386648"/>
                <a:gd name="connsiteY2509" fmla="*/ 107067 h 1849426"/>
                <a:gd name="connsiteX2510" fmla="*/ 3761092 w 6386648"/>
                <a:gd name="connsiteY2510" fmla="*/ 101059 h 1849426"/>
                <a:gd name="connsiteX2511" fmla="*/ 3779117 w 6386648"/>
                <a:gd name="connsiteY2511" fmla="*/ 119083 h 1849426"/>
                <a:gd name="connsiteX2512" fmla="*/ 3761092 w 6386648"/>
                <a:gd name="connsiteY2512" fmla="*/ 137108 h 1849426"/>
                <a:gd name="connsiteX2513" fmla="*/ 3743068 w 6386648"/>
                <a:gd name="connsiteY2513" fmla="*/ 119083 h 1849426"/>
                <a:gd name="connsiteX2514" fmla="*/ 3761092 w 6386648"/>
                <a:gd name="connsiteY2514" fmla="*/ 101059 h 1849426"/>
                <a:gd name="connsiteX2515" fmla="*/ 1706311 w 6386648"/>
                <a:gd name="connsiteY2515" fmla="*/ 101059 h 1849426"/>
                <a:gd name="connsiteX2516" fmla="*/ 1724335 w 6386648"/>
                <a:gd name="connsiteY2516" fmla="*/ 119083 h 1849426"/>
                <a:gd name="connsiteX2517" fmla="*/ 1706311 w 6386648"/>
                <a:gd name="connsiteY2517" fmla="*/ 137108 h 1849426"/>
                <a:gd name="connsiteX2518" fmla="*/ 1688286 w 6386648"/>
                <a:gd name="connsiteY2518" fmla="*/ 119083 h 1849426"/>
                <a:gd name="connsiteX2519" fmla="*/ 1706311 w 6386648"/>
                <a:gd name="connsiteY2519" fmla="*/ 101059 h 1849426"/>
                <a:gd name="connsiteX2520" fmla="*/ 1574131 w 6386648"/>
                <a:gd name="connsiteY2520" fmla="*/ 101059 h 1849426"/>
                <a:gd name="connsiteX2521" fmla="*/ 1592156 w 6386648"/>
                <a:gd name="connsiteY2521" fmla="*/ 119083 h 1849426"/>
                <a:gd name="connsiteX2522" fmla="*/ 1574131 w 6386648"/>
                <a:gd name="connsiteY2522" fmla="*/ 137108 h 1849426"/>
                <a:gd name="connsiteX2523" fmla="*/ 1556107 w 6386648"/>
                <a:gd name="connsiteY2523" fmla="*/ 119083 h 1849426"/>
                <a:gd name="connsiteX2524" fmla="*/ 1574131 w 6386648"/>
                <a:gd name="connsiteY2524" fmla="*/ 101059 h 1849426"/>
                <a:gd name="connsiteX2525" fmla="*/ 5611598 w 6386648"/>
                <a:gd name="connsiteY2525" fmla="*/ 89043 h 1849426"/>
                <a:gd name="connsiteX2526" fmla="*/ 5629623 w 6386648"/>
                <a:gd name="connsiteY2526" fmla="*/ 107067 h 1849426"/>
                <a:gd name="connsiteX2527" fmla="*/ 5611598 w 6386648"/>
                <a:gd name="connsiteY2527" fmla="*/ 125092 h 1849426"/>
                <a:gd name="connsiteX2528" fmla="*/ 5593574 w 6386648"/>
                <a:gd name="connsiteY2528" fmla="*/ 107067 h 1849426"/>
                <a:gd name="connsiteX2529" fmla="*/ 5611598 w 6386648"/>
                <a:gd name="connsiteY2529" fmla="*/ 89043 h 1849426"/>
                <a:gd name="connsiteX2530" fmla="*/ 5419337 w 6386648"/>
                <a:gd name="connsiteY2530" fmla="*/ 89043 h 1849426"/>
                <a:gd name="connsiteX2531" fmla="*/ 5437362 w 6386648"/>
                <a:gd name="connsiteY2531" fmla="*/ 107067 h 1849426"/>
                <a:gd name="connsiteX2532" fmla="*/ 5419337 w 6386648"/>
                <a:gd name="connsiteY2532" fmla="*/ 125092 h 1849426"/>
                <a:gd name="connsiteX2533" fmla="*/ 5401312 w 6386648"/>
                <a:gd name="connsiteY2533" fmla="*/ 107067 h 1849426"/>
                <a:gd name="connsiteX2534" fmla="*/ 5419337 w 6386648"/>
                <a:gd name="connsiteY2534" fmla="*/ 89043 h 1849426"/>
                <a:gd name="connsiteX2535" fmla="*/ 2992051 w 6386648"/>
                <a:gd name="connsiteY2535" fmla="*/ 89043 h 1849426"/>
                <a:gd name="connsiteX2536" fmla="*/ 3010076 w 6386648"/>
                <a:gd name="connsiteY2536" fmla="*/ 107067 h 1849426"/>
                <a:gd name="connsiteX2537" fmla="*/ 2992051 w 6386648"/>
                <a:gd name="connsiteY2537" fmla="*/ 125092 h 1849426"/>
                <a:gd name="connsiteX2538" fmla="*/ 2974027 w 6386648"/>
                <a:gd name="connsiteY2538" fmla="*/ 107067 h 1849426"/>
                <a:gd name="connsiteX2539" fmla="*/ 2992051 w 6386648"/>
                <a:gd name="connsiteY2539" fmla="*/ 89043 h 1849426"/>
                <a:gd name="connsiteX2540" fmla="*/ 6368623 w 6386648"/>
                <a:gd name="connsiteY2540" fmla="*/ 83034 h 1849426"/>
                <a:gd name="connsiteX2541" fmla="*/ 6386648 w 6386648"/>
                <a:gd name="connsiteY2541" fmla="*/ 101058 h 1849426"/>
                <a:gd name="connsiteX2542" fmla="*/ 6368623 w 6386648"/>
                <a:gd name="connsiteY2542" fmla="*/ 119083 h 1849426"/>
                <a:gd name="connsiteX2543" fmla="*/ 6350599 w 6386648"/>
                <a:gd name="connsiteY2543" fmla="*/ 101058 h 1849426"/>
                <a:gd name="connsiteX2544" fmla="*/ 6368623 w 6386648"/>
                <a:gd name="connsiteY2544" fmla="*/ 83034 h 1849426"/>
                <a:gd name="connsiteX2545" fmla="*/ 6242452 w 6386648"/>
                <a:gd name="connsiteY2545" fmla="*/ 83034 h 1849426"/>
                <a:gd name="connsiteX2546" fmla="*/ 6260477 w 6386648"/>
                <a:gd name="connsiteY2546" fmla="*/ 101058 h 1849426"/>
                <a:gd name="connsiteX2547" fmla="*/ 6242452 w 6386648"/>
                <a:gd name="connsiteY2547" fmla="*/ 119083 h 1849426"/>
                <a:gd name="connsiteX2548" fmla="*/ 6224428 w 6386648"/>
                <a:gd name="connsiteY2548" fmla="*/ 101058 h 1849426"/>
                <a:gd name="connsiteX2549" fmla="*/ 6242452 w 6386648"/>
                <a:gd name="connsiteY2549" fmla="*/ 83034 h 1849426"/>
                <a:gd name="connsiteX2550" fmla="*/ 4884613 w 6386648"/>
                <a:gd name="connsiteY2550" fmla="*/ 83034 h 1849426"/>
                <a:gd name="connsiteX2551" fmla="*/ 4902638 w 6386648"/>
                <a:gd name="connsiteY2551" fmla="*/ 101058 h 1849426"/>
                <a:gd name="connsiteX2552" fmla="*/ 4884613 w 6386648"/>
                <a:gd name="connsiteY2552" fmla="*/ 119083 h 1849426"/>
                <a:gd name="connsiteX2553" fmla="*/ 4866589 w 6386648"/>
                <a:gd name="connsiteY2553" fmla="*/ 101058 h 1849426"/>
                <a:gd name="connsiteX2554" fmla="*/ 4884613 w 6386648"/>
                <a:gd name="connsiteY2554" fmla="*/ 83034 h 1849426"/>
                <a:gd name="connsiteX2555" fmla="*/ 3118221 w 6386648"/>
                <a:gd name="connsiteY2555" fmla="*/ 83034 h 1849426"/>
                <a:gd name="connsiteX2556" fmla="*/ 3136246 w 6386648"/>
                <a:gd name="connsiteY2556" fmla="*/ 101058 h 1849426"/>
                <a:gd name="connsiteX2557" fmla="*/ 3118221 w 6386648"/>
                <a:gd name="connsiteY2557" fmla="*/ 119083 h 1849426"/>
                <a:gd name="connsiteX2558" fmla="*/ 3100197 w 6386648"/>
                <a:gd name="connsiteY2558" fmla="*/ 101058 h 1849426"/>
                <a:gd name="connsiteX2559" fmla="*/ 3118221 w 6386648"/>
                <a:gd name="connsiteY2559" fmla="*/ 83034 h 1849426"/>
                <a:gd name="connsiteX2560" fmla="*/ 2619546 w 6386648"/>
                <a:gd name="connsiteY2560" fmla="*/ 83034 h 1849426"/>
                <a:gd name="connsiteX2561" fmla="*/ 2637571 w 6386648"/>
                <a:gd name="connsiteY2561" fmla="*/ 101058 h 1849426"/>
                <a:gd name="connsiteX2562" fmla="*/ 2619546 w 6386648"/>
                <a:gd name="connsiteY2562" fmla="*/ 119083 h 1849426"/>
                <a:gd name="connsiteX2563" fmla="*/ 2601522 w 6386648"/>
                <a:gd name="connsiteY2563" fmla="*/ 101058 h 1849426"/>
                <a:gd name="connsiteX2564" fmla="*/ 2619546 w 6386648"/>
                <a:gd name="connsiteY2564" fmla="*/ 83034 h 1849426"/>
                <a:gd name="connsiteX2565" fmla="*/ 1291748 w 6386648"/>
                <a:gd name="connsiteY2565" fmla="*/ 83034 h 1849426"/>
                <a:gd name="connsiteX2566" fmla="*/ 1309773 w 6386648"/>
                <a:gd name="connsiteY2566" fmla="*/ 101058 h 1849426"/>
                <a:gd name="connsiteX2567" fmla="*/ 1291748 w 6386648"/>
                <a:gd name="connsiteY2567" fmla="*/ 119083 h 1849426"/>
                <a:gd name="connsiteX2568" fmla="*/ 1273724 w 6386648"/>
                <a:gd name="connsiteY2568" fmla="*/ 101058 h 1849426"/>
                <a:gd name="connsiteX2569" fmla="*/ 1291748 w 6386648"/>
                <a:gd name="connsiteY2569" fmla="*/ 83034 h 1849426"/>
                <a:gd name="connsiteX2570" fmla="*/ 702951 w 6386648"/>
                <a:gd name="connsiteY2570" fmla="*/ 83034 h 1849426"/>
                <a:gd name="connsiteX2571" fmla="*/ 720976 w 6386648"/>
                <a:gd name="connsiteY2571" fmla="*/ 101058 h 1849426"/>
                <a:gd name="connsiteX2572" fmla="*/ 702951 w 6386648"/>
                <a:gd name="connsiteY2572" fmla="*/ 119083 h 1849426"/>
                <a:gd name="connsiteX2573" fmla="*/ 684927 w 6386648"/>
                <a:gd name="connsiteY2573" fmla="*/ 101058 h 1849426"/>
                <a:gd name="connsiteX2574" fmla="*/ 702951 w 6386648"/>
                <a:gd name="connsiteY2574" fmla="*/ 83034 h 1849426"/>
                <a:gd name="connsiteX2575" fmla="*/ 2319139 w 6386648"/>
                <a:gd name="connsiteY2575" fmla="*/ 65010 h 1849426"/>
                <a:gd name="connsiteX2576" fmla="*/ 2337164 w 6386648"/>
                <a:gd name="connsiteY2576" fmla="*/ 83034 h 1849426"/>
                <a:gd name="connsiteX2577" fmla="*/ 2319139 w 6386648"/>
                <a:gd name="connsiteY2577" fmla="*/ 101059 h 1849426"/>
                <a:gd name="connsiteX2578" fmla="*/ 2301115 w 6386648"/>
                <a:gd name="connsiteY2578" fmla="*/ 83034 h 1849426"/>
                <a:gd name="connsiteX2579" fmla="*/ 2319139 w 6386648"/>
                <a:gd name="connsiteY2579" fmla="*/ 65010 h 1849426"/>
                <a:gd name="connsiteX2580" fmla="*/ 564765 w 6386648"/>
                <a:gd name="connsiteY2580" fmla="*/ 65010 h 1849426"/>
                <a:gd name="connsiteX2581" fmla="*/ 582789 w 6386648"/>
                <a:gd name="connsiteY2581" fmla="*/ 83034 h 1849426"/>
                <a:gd name="connsiteX2582" fmla="*/ 564765 w 6386648"/>
                <a:gd name="connsiteY2582" fmla="*/ 101059 h 1849426"/>
                <a:gd name="connsiteX2583" fmla="*/ 546740 w 6386648"/>
                <a:gd name="connsiteY2583" fmla="*/ 83034 h 1849426"/>
                <a:gd name="connsiteX2584" fmla="*/ 564765 w 6386648"/>
                <a:gd name="connsiteY2584" fmla="*/ 65010 h 1849426"/>
                <a:gd name="connsiteX2585" fmla="*/ 18024 w 6386648"/>
                <a:gd name="connsiteY2585" fmla="*/ 65010 h 1849426"/>
                <a:gd name="connsiteX2586" fmla="*/ 36049 w 6386648"/>
                <a:gd name="connsiteY2586" fmla="*/ 83034 h 1849426"/>
                <a:gd name="connsiteX2587" fmla="*/ 18024 w 6386648"/>
                <a:gd name="connsiteY2587" fmla="*/ 101059 h 1849426"/>
                <a:gd name="connsiteX2588" fmla="*/ 0 w 6386648"/>
                <a:gd name="connsiteY2588" fmla="*/ 83034 h 1849426"/>
                <a:gd name="connsiteX2589" fmla="*/ 18024 w 6386648"/>
                <a:gd name="connsiteY2589" fmla="*/ 65010 h 1849426"/>
                <a:gd name="connsiteX2590" fmla="*/ 5052841 w 6386648"/>
                <a:gd name="connsiteY2590" fmla="*/ 59002 h 1849426"/>
                <a:gd name="connsiteX2591" fmla="*/ 5070866 w 6386648"/>
                <a:gd name="connsiteY2591" fmla="*/ 77026 h 1849426"/>
                <a:gd name="connsiteX2592" fmla="*/ 5052841 w 6386648"/>
                <a:gd name="connsiteY2592" fmla="*/ 95051 h 1849426"/>
                <a:gd name="connsiteX2593" fmla="*/ 5034817 w 6386648"/>
                <a:gd name="connsiteY2593" fmla="*/ 77026 h 1849426"/>
                <a:gd name="connsiteX2594" fmla="*/ 5052841 w 6386648"/>
                <a:gd name="connsiteY2594" fmla="*/ 59002 h 1849426"/>
                <a:gd name="connsiteX2595" fmla="*/ 3490726 w 6386648"/>
                <a:gd name="connsiteY2595" fmla="*/ 59002 h 1849426"/>
                <a:gd name="connsiteX2596" fmla="*/ 3508751 w 6386648"/>
                <a:gd name="connsiteY2596" fmla="*/ 77026 h 1849426"/>
                <a:gd name="connsiteX2597" fmla="*/ 3490726 w 6386648"/>
                <a:gd name="connsiteY2597" fmla="*/ 95051 h 1849426"/>
                <a:gd name="connsiteX2598" fmla="*/ 3472702 w 6386648"/>
                <a:gd name="connsiteY2598" fmla="*/ 77026 h 1849426"/>
                <a:gd name="connsiteX2599" fmla="*/ 3490726 w 6386648"/>
                <a:gd name="connsiteY2599" fmla="*/ 59002 h 1849426"/>
                <a:gd name="connsiteX2600" fmla="*/ 1447960 w 6386648"/>
                <a:gd name="connsiteY2600" fmla="*/ 59002 h 1849426"/>
                <a:gd name="connsiteX2601" fmla="*/ 1465985 w 6386648"/>
                <a:gd name="connsiteY2601" fmla="*/ 77026 h 1849426"/>
                <a:gd name="connsiteX2602" fmla="*/ 1447960 w 6386648"/>
                <a:gd name="connsiteY2602" fmla="*/ 95051 h 1849426"/>
                <a:gd name="connsiteX2603" fmla="*/ 1429936 w 6386648"/>
                <a:gd name="connsiteY2603" fmla="*/ 77026 h 1849426"/>
                <a:gd name="connsiteX2604" fmla="*/ 1447960 w 6386648"/>
                <a:gd name="connsiteY2604" fmla="*/ 59002 h 1849426"/>
                <a:gd name="connsiteX2605" fmla="*/ 2192969 w 6386648"/>
                <a:gd name="connsiteY2605" fmla="*/ 46987 h 1849426"/>
                <a:gd name="connsiteX2606" fmla="*/ 2210994 w 6386648"/>
                <a:gd name="connsiteY2606" fmla="*/ 65012 h 1849426"/>
                <a:gd name="connsiteX2607" fmla="*/ 2192969 w 6386648"/>
                <a:gd name="connsiteY2607" fmla="*/ 83036 h 1849426"/>
                <a:gd name="connsiteX2608" fmla="*/ 2174945 w 6386648"/>
                <a:gd name="connsiteY2608" fmla="*/ 65012 h 1849426"/>
                <a:gd name="connsiteX2609" fmla="*/ 2192969 w 6386648"/>
                <a:gd name="connsiteY2609" fmla="*/ 46987 h 1849426"/>
                <a:gd name="connsiteX2610" fmla="*/ 4434003 w 6386648"/>
                <a:gd name="connsiteY2610" fmla="*/ 40979 h 1849426"/>
                <a:gd name="connsiteX2611" fmla="*/ 4452028 w 6386648"/>
                <a:gd name="connsiteY2611" fmla="*/ 59003 h 1849426"/>
                <a:gd name="connsiteX2612" fmla="*/ 4434003 w 6386648"/>
                <a:gd name="connsiteY2612" fmla="*/ 77028 h 1849426"/>
                <a:gd name="connsiteX2613" fmla="*/ 4415979 w 6386648"/>
                <a:gd name="connsiteY2613" fmla="*/ 59003 h 1849426"/>
                <a:gd name="connsiteX2614" fmla="*/ 4434003 w 6386648"/>
                <a:gd name="connsiteY2614" fmla="*/ 40979 h 1849426"/>
                <a:gd name="connsiteX2615" fmla="*/ 3616897 w 6386648"/>
                <a:gd name="connsiteY2615" fmla="*/ 40979 h 1849426"/>
                <a:gd name="connsiteX2616" fmla="*/ 3634922 w 6386648"/>
                <a:gd name="connsiteY2616" fmla="*/ 59003 h 1849426"/>
                <a:gd name="connsiteX2617" fmla="*/ 3616897 w 6386648"/>
                <a:gd name="connsiteY2617" fmla="*/ 77028 h 1849426"/>
                <a:gd name="connsiteX2618" fmla="*/ 3598872 w 6386648"/>
                <a:gd name="connsiteY2618" fmla="*/ 59003 h 1849426"/>
                <a:gd name="connsiteX2619" fmla="*/ 3616897 w 6386648"/>
                <a:gd name="connsiteY2619" fmla="*/ 40979 h 1849426"/>
                <a:gd name="connsiteX2620" fmla="*/ 1826473 w 6386648"/>
                <a:gd name="connsiteY2620" fmla="*/ 40979 h 1849426"/>
                <a:gd name="connsiteX2621" fmla="*/ 1844497 w 6386648"/>
                <a:gd name="connsiteY2621" fmla="*/ 59003 h 1849426"/>
                <a:gd name="connsiteX2622" fmla="*/ 1826473 w 6386648"/>
                <a:gd name="connsiteY2622" fmla="*/ 77028 h 1849426"/>
                <a:gd name="connsiteX2623" fmla="*/ 1808448 w 6386648"/>
                <a:gd name="connsiteY2623" fmla="*/ 59003 h 1849426"/>
                <a:gd name="connsiteX2624" fmla="*/ 1826473 w 6386648"/>
                <a:gd name="connsiteY2624" fmla="*/ 40979 h 1849426"/>
                <a:gd name="connsiteX2625" fmla="*/ 5942045 w 6386648"/>
                <a:gd name="connsiteY2625" fmla="*/ 34970 h 1849426"/>
                <a:gd name="connsiteX2626" fmla="*/ 5960070 w 6386648"/>
                <a:gd name="connsiteY2626" fmla="*/ 52994 h 1849426"/>
                <a:gd name="connsiteX2627" fmla="*/ 5942045 w 6386648"/>
                <a:gd name="connsiteY2627" fmla="*/ 71019 h 1849426"/>
                <a:gd name="connsiteX2628" fmla="*/ 5924021 w 6386648"/>
                <a:gd name="connsiteY2628" fmla="*/ 52994 h 1849426"/>
                <a:gd name="connsiteX2629" fmla="*/ 5942045 w 6386648"/>
                <a:gd name="connsiteY2629" fmla="*/ 34970 h 1849426"/>
                <a:gd name="connsiteX2630" fmla="*/ 5719744 w 6386648"/>
                <a:gd name="connsiteY2630" fmla="*/ 34970 h 1849426"/>
                <a:gd name="connsiteX2631" fmla="*/ 5737769 w 6386648"/>
                <a:gd name="connsiteY2631" fmla="*/ 52994 h 1849426"/>
                <a:gd name="connsiteX2632" fmla="*/ 5719744 w 6386648"/>
                <a:gd name="connsiteY2632" fmla="*/ 71019 h 1849426"/>
                <a:gd name="connsiteX2633" fmla="*/ 5701719 w 6386648"/>
                <a:gd name="connsiteY2633" fmla="*/ 52994 h 1849426"/>
                <a:gd name="connsiteX2634" fmla="*/ 5719744 w 6386648"/>
                <a:gd name="connsiteY2634" fmla="*/ 34970 h 1849426"/>
                <a:gd name="connsiteX2635" fmla="*/ 1171586 w 6386648"/>
                <a:gd name="connsiteY2635" fmla="*/ 34970 h 1849426"/>
                <a:gd name="connsiteX2636" fmla="*/ 1189611 w 6386648"/>
                <a:gd name="connsiteY2636" fmla="*/ 52994 h 1849426"/>
                <a:gd name="connsiteX2637" fmla="*/ 1171586 w 6386648"/>
                <a:gd name="connsiteY2637" fmla="*/ 71019 h 1849426"/>
                <a:gd name="connsiteX2638" fmla="*/ 1153562 w 6386648"/>
                <a:gd name="connsiteY2638" fmla="*/ 52994 h 1849426"/>
                <a:gd name="connsiteX2639" fmla="*/ 1171586 w 6386648"/>
                <a:gd name="connsiteY2639" fmla="*/ 34970 h 1849426"/>
                <a:gd name="connsiteX2640" fmla="*/ 937268 w 6386648"/>
                <a:gd name="connsiteY2640" fmla="*/ 34970 h 1849426"/>
                <a:gd name="connsiteX2641" fmla="*/ 955293 w 6386648"/>
                <a:gd name="connsiteY2641" fmla="*/ 52994 h 1849426"/>
                <a:gd name="connsiteX2642" fmla="*/ 937268 w 6386648"/>
                <a:gd name="connsiteY2642" fmla="*/ 71019 h 1849426"/>
                <a:gd name="connsiteX2643" fmla="*/ 919244 w 6386648"/>
                <a:gd name="connsiteY2643" fmla="*/ 52994 h 1849426"/>
                <a:gd name="connsiteX2644" fmla="*/ 937268 w 6386648"/>
                <a:gd name="connsiteY2644" fmla="*/ 34970 h 1849426"/>
                <a:gd name="connsiteX2645" fmla="*/ 426577 w 6386648"/>
                <a:gd name="connsiteY2645" fmla="*/ 34970 h 1849426"/>
                <a:gd name="connsiteX2646" fmla="*/ 444602 w 6386648"/>
                <a:gd name="connsiteY2646" fmla="*/ 52994 h 1849426"/>
                <a:gd name="connsiteX2647" fmla="*/ 426577 w 6386648"/>
                <a:gd name="connsiteY2647" fmla="*/ 71019 h 1849426"/>
                <a:gd name="connsiteX2648" fmla="*/ 408553 w 6386648"/>
                <a:gd name="connsiteY2648" fmla="*/ 52994 h 1849426"/>
                <a:gd name="connsiteX2649" fmla="*/ 426577 w 6386648"/>
                <a:gd name="connsiteY2649" fmla="*/ 34970 h 1849426"/>
                <a:gd name="connsiteX2650" fmla="*/ 6146322 w 6386648"/>
                <a:gd name="connsiteY2650" fmla="*/ 28962 h 1849426"/>
                <a:gd name="connsiteX2651" fmla="*/ 6164347 w 6386648"/>
                <a:gd name="connsiteY2651" fmla="*/ 46986 h 1849426"/>
                <a:gd name="connsiteX2652" fmla="*/ 6146322 w 6386648"/>
                <a:gd name="connsiteY2652" fmla="*/ 65011 h 1849426"/>
                <a:gd name="connsiteX2653" fmla="*/ 6128298 w 6386648"/>
                <a:gd name="connsiteY2653" fmla="*/ 46986 h 1849426"/>
                <a:gd name="connsiteX2654" fmla="*/ 6146322 w 6386648"/>
                <a:gd name="connsiteY2654" fmla="*/ 28962 h 1849426"/>
                <a:gd name="connsiteX2655" fmla="*/ 4776467 w 6386648"/>
                <a:gd name="connsiteY2655" fmla="*/ 28962 h 1849426"/>
                <a:gd name="connsiteX2656" fmla="*/ 4794492 w 6386648"/>
                <a:gd name="connsiteY2656" fmla="*/ 46986 h 1849426"/>
                <a:gd name="connsiteX2657" fmla="*/ 4776467 w 6386648"/>
                <a:gd name="connsiteY2657" fmla="*/ 65011 h 1849426"/>
                <a:gd name="connsiteX2658" fmla="*/ 4758443 w 6386648"/>
                <a:gd name="connsiteY2658" fmla="*/ 46986 h 1849426"/>
                <a:gd name="connsiteX2659" fmla="*/ 4776467 w 6386648"/>
                <a:gd name="connsiteY2659" fmla="*/ 28962 h 1849426"/>
                <a:gd name="connsiteX2660" fmla="*/ 2451318 w 6386648"/>
                <a:gd name="connsiteY2660" fmla="*/ 28962 h 1849426"/>
                <a:gd name="connsiteX2661" fmla="*/ 2469343 w 6386648"/>
                <a:gd name="connsiteY2661" fmla="*/ 46986 h 1849426"/>
                <a:gd name="connsiteX2662" fmla="*/ 2451318 w 6386648"/>
                <a:gd name="connsiteY2662" fmla="*/ 65011 h 1849426"/>
                <a:gd name="connsiteX2663" fmla="*/ 2433294 w 6386648"/>
                <a:gd name="connsiteY2663" fmla="*/ 46986 h 1849426"/>
                <a:gd name="connsiteX2664" fmla="*/ 2451318 w 6386648"/>
                <a:gd name="connsiteY2664" fmla="*/ 28962 h 1849426"/>
                <a:gd name="connsiteX2665" fmla="*/ 150203 w 6386648"/>
                <a:gd name="connsiteY2665" fmla="*/ 28962 h 1849426"/>
                <a:gd name="connsiteX2666" fmla="*/ 168228 w 6386648"/>
                <a:gd name="connsiteY2666" fmla="*/ 46986 h 1849426"/>
                <a:gd name="connsiteX2667" fmla="*/ 150203 w 6386648"/>
                <a:gd name="connsiteY2667" fmla="*/ 65011 h 1849426"/>
                <a:gd name="connsiteX2668" fmla="*/ 132179 w 6386648"/>
                <a:gd name="connsiteY2668" fmla="*/ 46986 h 1849426"/>
                <a:gd name="connsiteX2669" fmla="*/ 150203 w 6386648"/>
                <a:gd name="connsiteY2669" fmla="*/ 28962 h 1849426"/>
                <a:gd name="connsiteX2670" fmla="*/ 4277792 w 6386648"/>
                <a:gd name="connsiteY2670" fmla="*/ 22954 h 1849426"/>
                <a:gd name="connsiteX2671" fmla="*/ 4295817 w 6386648"/>
                <a:gd name="connsiteY2671" fmla="*/ 40978 h 1849426"/>
                <a:gd name="connsiteX2672" fmla="*/ 4277792 w 6386648"/>
                <a:gd name="connsiteY2672" fmla="*/ 59003 h 1849426"/>
                <a:gd name="connsiteX2673" fmla="*/ 4259767 w 6386648"/>
                <a:gd name="connsiteY2673" fmla="*/ 40978 h 1849426"/>
                <a:gd name="connsiteX2674" fmla="*/ 4277792 w 6386648"/>
                <a:gd name="connsiteY2674" fmla="*/ 22954 h 1849426"/>
                <a:gd name="connsiteX2675" fmla="*/ 4145613 w 6386648"/>
                <a:gd name="connsiteY2675" fmla="*/ 22954 h 1849426"/>
                <a:gd name="connsiteX2676" fmla="*/ 4163638 w 6386648"/>
                <a:gd name="connsiteY2676" fmla="*/ 40978 h 1849426"/>
                <a:gd name="connsiteX2677" fmla="*/ 4145613 w 6386648"/>
                <a:gd name="connsiteY2677" fmla="*/ 59003 h 1849426"/>
                <a:gd name="connsiteX2678" fmla="*/ 4127589 w 6386648"/>
                <a:gd name="connsiteY2678" fmla="*/ 40978 h 1849426"/>
                <a:gd name="connsiteX2679" fmla="*/ 4145613 w 6386648"/>
                <a:gd name="connsiteY2679" fmla="*/ 22954 h 1849426"/>
                <a:gd name="connsiteX2680" fmla="*/ 817106 w 6386648"/>
                <a:gd name="connsiteY2680" fmla="*/ 22954 h 1849426"/>
                <a:gd name="connsiteX2681" fmla="*/ 829123 w 6386648"/>
                <a:gd name="connsiteY2681" fmla="*/ 34970 h 1849426"/>
                <a:gd name="connsiteX2682" fmla="*/ 817106 w 6386648"/>
                <a:gd name="connsiteY2682" fmla="*/ 46987 h 1849426"/>
                <a:gd name="connsiteX2683" fmla="*/ 805090 w 6386648"/>
                <a:gd name="connsiteY2683" fmla="*/ 34970 h 1849426"/>
                <a:gd name="connsiteX2684" fmla="*/ 817106 w 6386648"/>
                <a:gd name="connsiteY2684" fmla="*/ 22954 h 1849426"/>
                <a:gd name="connsiteX2685" fmla="*/ 5491435 w 6386648"/>
                <a:gd name="connsiteY2685" fmla="*/ 16946 h 1849426"/>
                <a:gd name="connsiteX2686" fmla="*/ 5509460 w 6386648"/>
                <a:gd name="connsiteY2686" fmla="*/ 34971 h 1849426"/>
                <a:gd name="connsiteX2687" fmla="*/ 5491435 w 6386648"/>
                <a:gd name="connsiteY2687" fmla="*/ 52995 h 1849426"/>
                <a:gd name="connsiteX2688" fmla="*/ 5473411 w 6386648"/>
                <a:gd name="connsiteY2688" fmla="*/ 34971 h 1849426"/>
                <a:gd name="connsiteX2689" fmla="*/ 5491435 w 6386648"/>
                <a:gd name="connsiteY2689" fmla="*/ 16946 h 1849426"/>
                <a:gd name="connsiteX2690" fmla="*/ 5323207 w 6386648"/>
                <a:gd name="connsiteY2690" fmla="*/ 16946 h 1849426"/>
                <a:gd name="connsiteX2691" fmla="*/ 5341232 w 6386648"/>
                <a:gd name="connsiteY2691" fmla="*/ 34971 h 1849426"/>
                <a:gd name="connsiteX2692" fmla="*/ 5323207 w 6386648"/>
                <a:gd name="connsiteY2692" fmla="*/ 52995 h 1849426"/>
                <a:gd name="connsiteX2693" fmla="*/ 5305183 w 6386648"/>
                <a:gd name="connsiteY2693" fmla="*/ 34971 h 1849426"/>
                <a:gd name="connsiteX2694" fmla="*/ 5323207 w 6386648"/>
                <a:gd name="connsiteY2694" fmla="*/ 16946 h 1849426"/>
                <a:gd name="connsiteX2695" fmla="*/ 4632272 w 6386648"/>
                <a:gd name="connsiteY2695" fmla="*/ 16946 h 1849426"/>
                <a:gd name="connsiteX2696" fmla="*/ 4650297 w 6386648"/>
                <a:gd name="connsiteY2696" fmla="*/ 34971 h 1849426"/>
                <a:gd name="connsiteX2697" fmla="*/ 4632272 w 6386648"/>
                <a:gd name="connsiteY2697" fmla="*/ 52995 h 1849426"/>
                <a:gd name="connsiteX2698" fmla="*/ 4614248 w 6386648"/>
                <a:gd name="connsiteY2698" fmla="*/ 34971 h 1849426"/>
                <a:gd name="connsiteX2699" fmla="*/ 4632272 w 6386648"/>
                <a:gd name="connsiteY2699" fmla="*/ 16946 h 1849426"/>
                <a:gd name="connsiteX2700" fmla="*/ 3226368 w 6386648"/>
                <a:gd name="connsiteY2700" fmla="*/ 16946 h 1849426"/>
                <a:gd name="connsiteX2701" fmla="*/ 3244393 w 6386648"/>
                <a:gd name="connsiteY2701" fmla="*/ 34971 h 1849426"/>
                <a:gd name="connsiteX2702" fmla="*/ 3226368 w 6386648"/>
                <a:gd name="connsiteY2702" fmla="*/ 52995 h 1849426"/>
                <a:gd name="connsiteX2703" fmla="*/ 3208343 w 6386648"/>
                <a:gd name="connsiteY2703" fmla="*/ 34971 h 1849426"/>
                <a:gd name="connsiteX2704" fmla="*/ 3226368 w 6386648"/>
                <a:gd name="connsiteY2704" fmla="*/ 16946 h 1849426"/>
                <a:gd name="connsiteX2705" fmla="*/ 3983393 w 6386648"/>
                <a:gd name="connsiteY2705" fmla="*/ 10938 h 1849426"/>
                <a:gd name="connsiteX2706" fmla="*/ 4001418 w 6386648"/>
                <a:gd name="connsiteY2706" fmla="*/ 28962 h 1849426"/>
                <a:gd name="connsiteX2707" fmla="*/ 3983393 w 6386648"/>
                <a:gd name="connsiteY2707" fmla="*/ 46987 h 1849426"/>
                <a:gd name="connsiteX2708" fmla="*/ 3965369 w 6386648"/>
                <a:gd name="connsiteY2708" fmla="*/ 28962 h 1849426"/>
                <a:gd name="connsiteX2709" fmla="*/ 3983393 w 6386648"/>
                <a:gd name="connsiteY2709" fmla="*/ 10938 h 1849426"/>
                <a:gd name="connsiteX2710" fmla="*/ 1039407 w 6386648"/>
                <a:gd name="connsiteY2710" fmla="*/ 10938 h 1849426"/>
                <a:gd name="connsiteX2711" fmla="*/ 1057432 w 6386648"/>
                <a:gd name="connsiteY2711" fmla="*/ 28962 h 1849426"/>
                <a:gd name="connsiteX2712" fmla="*/ 1039407 w 6386648"/>
                <a:gd name="connsiteY2712" fmla="*/ 46987 h 1849426"/>
                <a:gd name="connsiteX2713" fmla="*/ 1021383 w 6386648"/>
                <a:gd name="connsiteY2713" fmla="*/ 28962 h 1849426"/>
                <a:gd name="connsiteX2714" fmla="*/ 1039407 w 6386648"/>
                <a:gd name="connsiteY2714" fmla="*/ 10938 h 1849426"/>
                <a:gd name="connsiteX2715" fmla="*/ 312422 w 6386648"/>
                <a:gd name="connsiteY2715" fmla="*/ 10938 h 1849426"/>
                <a:gd name="connsiteX2716" fmla="*/ 330447 w 6386648"/>
                <a:gd name="connsiteY2716" fmla="*/ 28962 h 1849426"/>
                <a:gd name="connsiteX2717" fmla="*/ 312422 w 6386648"/>
                <a:gd name="connsiteY2717" fmla="*/ 46987 h 1849426"/>
                <a:gd name="connsiteX2718" fmla="*/ 294398 w 6386648"/>
                <a:gd name="connsiteY2718" fmla="*/ 28962 h 1849426"/>
                <a:gd name="connsiteX2719" fmla="*/ 312422 w 6386648"/>
                <a:gd name="connsiteY2719" fmla="*/ 10938 h 1849426"/>
                <a:gd name="connsiteX2720" fmla="*/ 3839198 w 6386648"/>
                <a:gd name="connsiteY2720" fmla="*/ 4930 h 1849426"/>
                <a:gd name="connsiteX2721" fmla="*/ 3857223 w 6386648"/>
                <a:gd name="connsiteY2721" fmla="*/ 22954 h 1849426"/>
                <a:gd name="connsiteX2722" fmla="*/ 3839198 w 6386648"/>
                <a:gd name="connsiteY2722" fmla="*/ 40979 h 1849426"/>
                <a:gd name="connsiteX2723" fmla="*/ 3821174 w 6386648"/>
                <a:gd name="connsiteY2723" fmla="*/ 22954 h 1849426"/>
                <a:gd name="connsiteX2724" fmla="*/ 3839198 w 6386648"/>
                <a:gd name="connsiteY2724" fmla="*/ 4930 h 1849426"/>
                <a:gd name="connsiteX2725" fmla="*/ 3388588 w 6386648"/>
                <a:gd name="connsiteY2725" fmla="*/ 4930 h 1849426"/>
                <a:gd name="connsiteX2726" fmla="*/ 3406613 w 6386648"/>
                <a:gd name="connsiteY2726" fmla="*/ 22954 h 1849426"/>
                <a:gd name="connsiteX2727" fmla="*/ 3388588 w 6386648"/>
                <a:gd name="connsiteY2727" fmla="*/ 40979 h 1849426"/>
                <a:gd name="connsiteX2728" fmla="*/ 3370564 w 6386648"/>
                <a:gd name="connsiteY2728" fmla="*/ 22954 h 1849426"/>
                <a:gd name="connsiteX2729" fmla="*/ 3388588 w 6386648"/>
                <a:gd name="connsiteY2729" fmla="*/ 4930 h 1849426"/>
                <a:gd name="connsiteX2730" fmla="*/ 5171526 w 6386648"/>
                <a:gd name="connsiteY2730" fmla="*/ 0 h 1849426"/>
                <a:gd name="connsiteX2731" fmla="*/ 5198514 w 6386648"/>
                <a:gd name="connsiteY2731" fmla="*/ 0 h 1849426"/>
                <a:gd name="connsiteX2732" fmla="*/ 5203045 w 6386648"/>
                <a:gd name="connsiteY2732" fmla="*/ 10937 h 1849426"/>
                <a:gd name="connsiteX2733" fmla="*/ 5185020 w 6386648"/>
                <a:gd name="connsiteY2733" fmla="*/ 28962 h 1849426"/>
                <a:gd name="connsiteX2734" fmla="*/ 5166996 w 6386648"/>
                <a:gd name="connsiteY2734" fmla="*/ 10937 h 1849426"/>
                <a:gd name="connsiteX2735" fmla="*/ 4908761 w 6386648"/>
                <a:gd name="connsiteY2735" fmla="*/ 0 h 1849426"/>
                <a:gd name="connsiteX2736" fmla="*/ 4932564 w 6386648"/>
                <a:gd name="connsiteY2736" fmla="*/ 0 h 1849426"/>
                <a:gd name="connsiteX2737" fmla="*/ 4920662 w 6386648"/>
                <a:gd name="connsiteY2737" fmla="*/ 4930 h 1849426"/>
                <a:gd name="connsiteX2738" fmla="*/ 3701458 w 6386648"/>
                <a:gd name="connsiteY2738" fmla="*/ 0 h 1849426"/>
                <a:gd name="connsiteX2739" fmla="*/ 3736613 w 6386648"/>
                <a:gd name="connsiteY2739" fmla="*/ 0 h 1849426"/>
                <a:gd name="connsiteX2740" fmla="*/ 3731781 w 6386648"/>
                <a:gd name="connsiteY2740" fmla="*/ 11667 h 1849426"/>
                <a:gd name="connsiteX2741" fmla="*/ 3719035 w 6386648"/>
                <a:gd name="connsiteY2741" fmla="*/ 16946 h 1849426"/>
                <a:gd name="connsiteX2742" fmla="*/ 3706290 w 6386648"/>
                <a:gd name="connsiteY2742" fmla="*/ 11667 h 1849426"/>
                <a:gd name="connsiteX2743" fmla="*/ 3058255 w 6386648"/>
                <a:gd name="connsiteY2743" fmla="*/ 0 h 1849426"/>
                <a:gd name="connsiteX2744" fmla="*/ 3082058 w 6386648"/>
                <a:gd name="connsiteY2744" fmla="*/ 0 h 1849426"/>
                <a:gd name="connsiteX2745" fmla="*/ 3070156 w 6386648"/>
                <a:gd name="connsiteY2745" fmla="*/ 4930 h 1849426"/>
                <a:gd name="connsiteX2746" fmla="*/ 2908383 w 6386648"/>
                <a:gd name="connsiteY2746" fmla="*/ 0 h 1849426"/>
                <a:gd name="connsiteX2747" fmla="*/ 2943539 w 6386648"/>
                <a:gd name="connsiteY2747" fmla="*/ 0 h 1849426"/>
                <a:gd name="connsiteX2748" fmla="*/ 2938707 w 6386648"/>
                <a:gd name="connsiteY2748" fmla="*/ 11667 h 1849426"/>
                <a:gd name="connsiteX2749" fmla="*/ 2925961 w 6386648"/>
                <a:gd name="connsiteY2749" fmla="*/ 16946 h 1849426"/>
                <a:gd name="connsiteX2750" fmla="*/ 2913216 w 6386648"/>
                <a:gd name="connsiteY2750" fmla="*/ 11667 h 1849426"/>
                <a:gd name="connsiteX2751" fmla="*/ 2794230 w 6386648"/>
                <a:gd name="connsiteY2751" fmla="*/ 0 h 1849426"/>
                <a:gd name="connsiteX2752" fmla="*/ 2829385 w 6386648"/>
                <a:gd name="connsiteY2752" fmla="*/ 0 h 1849426"/>
                <a:gd name="connsiteX2753" fmla="*/ 2824553 w 6386648"/>
                <a:gd name="connsiteY2753" fmla="*/ 11667 h 1849426"/>
                <a:gd name="connsiteX2754" fmla="*/ 2811807 w 6386648"/>
                <a:gd name="connsiteY2754" fmla="*/ 16946 h 1849426"/>
                <a:gd name="connsiteX2755" fmla="*/ 2799062 w 6386648"/>
                <a:gd name="connsiteY2755" fmla="*/ 11667 h 1849426"/>
                <a:gd name="connsiteX2756" fmla="*/ 2675662 w 6386648"/>
                <a:gd name="connsiteY2756" fmla="*/ 0 h 1849426"/>
                <a:gd name="connsiteX2757" fmla="*/ 2707627 w 6386648"/>
                <a:gd name="connsiteY2757" fmla="*/ 0 h 1849426"/>
                <a:gd name="connsiteX2758" fmla="*/ 2709669 w 6386648"/>
                <a:gd name="connsiteY2758" fmla="*/ 4930 h 1849426"/>
                <a:gd name="connsiteX2759" fmla="*/ 2691644 w 6386648"/>
                <a:gd name="connsiteY2759" fmla="*/ 22954 h 1849426"/>
                <a:gd name="connsiteX2760" fmla="*/ 2673620 w 6386648"/>
                <a:gd name="connsiteY2760" fmla="*/ 4930 h 1849426"/>
                <a:gd name="connsiteX2761" fmla="*/ 2543483 w 6386648"/>
                <a:gd name="connsiteY2761" fmla="*/ 0 h 1849426"/>
                <a:gd name="connsiteX2762" fmla="*/ 2575448 w 6386648"/>
                <a:gd name="connsiteY2762" fmla="*/ 0 h 1849426"/>
                <a:gd name="connsiteX2763" fmla="*/ 2577490 w 6386648"/>
                <a:gd name="connsiteY2763" fmla="*/ 4930 h 1849426"/>
                <a:gd name="connsiteX2764" fmla="*/ 2559465 w 6386648"/>
                <a:gd name="connsiteY2764" fmla="*/ 22954 h 1849426"/>
                <a:gd name="connsiteX2765" fmla="*/ 2541441 w 6386648"/>
                <a:gd name="connsiteY2765" fmla="*/ 4930 h 1849426"/>
                <a:gd name="connsiteX2766" fmla="*/ 2047297 w 6386648"/>
                <a:gd name="connsiteY2766" fmla="*/ 0 h 1849426"/>
                <a:gd name="connsiteX2767" fmla="*/ 2074285 w 6386648"/>
                <a:gd name="connsiteY2767" fmla="*/ 0 h 1849426"/>
                <a:gd name="connsiteX2768" fmla="*/ 2078815 w 6386648"/>
                <a:gd name="connsiteY2768" fmla="*/ 10937 h 1849426"/>
                <a:gd name="connsiteX2769" fmla="*/ 2060790 w 6386648"/>
                <a:gd name="connsiteY2769" fmla="*/ 28962 h 1849426"/>
                <a:gd name="connsiteX2770" fmla="*/ 2042766 w 6386648"/>
                <a:gd name="connsiteY2770" fmla="*/ 10937 h 1849426"/>
                <a:gd name="connsiteX2771" fmla="*/ 1932017 w 6386648"/>
                <a:gd name="connsiteY2771" fmla="*/ 0 h 1849426"/>
                <a:gd name="connsiteX2772" fmla="*/ 1937222 w 6386648"/>
                <a:gd name="connsiteY2772" fmla="*/ 0 h 1849426"/>
                <a:gd name="connsiteX2773" fmla="*/ 1947365 w 6386648"/>
                <a:gd name="connsiteY2773" fmla="*/ 4201 h 1849426"/>
                <a:gd name="connsiteX2774" fmla="*/ 1952644 w 6386648"/>
                <a:gd name="connsiteY2774" fmla="*/ 16946 h 1849426"/>
                <a:gd name="connsiteX2775" fmla="*/ 1934619 w 6386648"/>
                <a:gd name="connsiteY2775" fmla="*/ 34971 h 1849426"/>
                <a:gd name="connsiteX2776" fmla="*/ 1916595 w 6386648"/>
                <a:gd name="connsiteY2776" fmla="*/ 16946 h 1849426"/>
                <a:gd name="connsiteX2777" fmla="*/ 1921875 w 6386648"/>
                <a:gd name="connsiteY2777" fmla="*/ 4201 h 1849426"/>
                <a:gd name="connsiteX2778" fmla="*/ 1694741 w 6386648"/>
                <a:gd name="connsiteY2778" fmla="*/ 0 h 1849426"/>
                <a:gd name="connsiteX2779" fmla="*/ 1729896 w 6386648"/>
                <a:gd name="connsiteY2779" fmla="*/ 0 h 1849426"/>
                <a:gd name="connsiteX2780" fmla="*/ 1725064 w 6386648"/>
                <a:gd name="connsiteY2780" fmla="*/ 11667 h 1849426"/>
                <a:gd name="connsiteX2781" fmla="*/ 1712318 w 6386648"/>
                <a:gd name="connsiteY2781" fmla="*/ 16946 h 1849426"/>
                <a:gd name="connsiteX2782" fmla="*/ 1699574 w 6386648"/>
                <a:gd name="connsiteY2782" fmla="*/ 11667 h 1849426"/>
                <a:gd name="connsiteX2783" fmla="*/ 1586594 w 6386648"/>
                <a:gd name="connsiteY2783" fmla="*/ 0 h 1849426"/>
                <a:gd name="connsiteX2784" fmla="*/ 1621749 w 6386648"/>
                <a:gd name="connsiteY2784" fmla="*/ 0 h 1849426"/>
                <a:gd name="connsiteX2785" fmla="*/ 1616917 w 6386648"/>
                <a:gd name="connsiteY2785" fmla="*/ 11667 h 1849426"/>
                <a:gd name="connsiteX2786" fmla="*/ 1604171 w 6386648"/>
                <a:gd name="connsiteY2786" fmla="*/ 16946 h 1849426"/>
                <a:gd name="connsiteX2787" fmla="*/ 1591427 w 6386648"/>
                <a:gd name="connsiteY2787" fmla="*/ 11667 h 1849426"/>
                <a:gd name="connsiteX2788" fmla="*/ 1328245 w 6386648"/>
                <a:gd name="connsiteY2788" fmla="*/ 0 h 1849426"/>
                <a:gd name="connsiteX2789" fmla="*/ 1363400 w 6386648"/>
                <a:gd name="connsiteY2789" fmla="*/ 0 h 1849426"/>
                <a:gd name="connsiteX2790" fmla="*/ 1358568 w 6386648"/>
                <a:gd name="connsiteY2790" fmla="*/ 11667 h 1849426"/>
                <a:gd name="connsiteX2791" fmla="*/ 1345823 w 6386648"/>
                <a:gd name="connsiteY2791" fmla="*/ 16946 h 1849426"/>
                <a:gd name="connsiteX2792" fmla="*/ 1333078 w 6386648"/>
                <a:gd name="connsiteY2792" fmla="*/ 11667 h 1849426"/>
                <a:gd name="connsiteX2793" fmla="*/ 636977 w 6386648"/>
                <a:gd name="connsiteY2793" fmla="*/ 0 h 1849426"/>
                <a:gd name="connsiteX2794" fmla="*/ 660780 w 6386648"/>
                <a:gd name="connsiteY2794" fmla="*/ 0 h 1849426"/>
                <a:gd name="connsiteX2795" fmla="*/ 648878 w 6386648"/>
                <a:gd name="connsiteY2795" fmla="*/ 4930 h 1849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  <a:cxn ang="0">
                  <a:pos x="connsiteX486" y="connsiteY486"/>
                </a:cxn>
                <a:cxn ang="0">
                  <a:pos x="connsiteX487" y="connsiteY487"/>
                </a:cxn>
                <a:cxn ang="0">
                  <a:pos x="connsiteX488" y="connsiteY488"/>
                </a:cxn>
                <a:cxn ang="0">
                  <a:pos x="connsiteX489" y="connsiteY489"/>
                </a:cxn>
                <a:cxn ang="0">
                  <a:pos x="connsiteX490" y="connsiteY490"/>
                </a:cxn>
                <a:cxn ang="0">
                  <a:pos x="connsiteX491" y="connsiteY491"/>
                </a:cxn>
                <a:cxn ang="0">
                  <a:pos x="connsiteX492" y="connsiteY492"/>
                </a:cxn>
                <a:cxn ang="0">
                  <a:pos x="connsiteX493" y="connsiteY493"/>
                </a:cxn>
                <a:cxn ang="0">
                  <a:pos x="connsiteX494" y="connsiteY494"/>
                </a:cxn>
                <a:cxn ang="0">
                  <a:pos x="connsiteX495" y="connsiteY495"/>
                </a:cxn>
                <a:cxn ang="0">
                  <a:pos x="connsiteX496" y="connsiteY496"/>
                </a:cxn>
                <a:cxn ang="0">
                  <a:pos x="connsiteX497" y="connsiteY497"/>
                </a:cxn>
                <a:cxn ang="0">
                  <a:pos x="connsiteX498" y="connsiteY498"/>
                </a:cxn>
                <a:cxn ang="0">
                  <a:pos x="connsiteX499" y="connsiteY499"/>
                </a:cxn>
                <a:cxn ang="0">
                  <a:pos x="connsiteX500" y="connsiteY500"/>
                </a:cxn>
                <a:cxn ang="0">
                  <a:pos x="connsiteX501" y="connsiteY501"/>
                </a:cxn>
                <a:cxn ang="0">
                  <a:pos x="connsiteX502" y="connsiteY502"/>
                </a:cxn>
                <a:cxn ang="0">
                  <a:pos x="connsiteX503" y="connsiteY503"/>
                </a:cxn>
                <a:cxn ang="0">
                  <a:pos x="connsiteX504" y="connsiteY504"/>
                </a:cxn>
                <a:cxn ang="0">
                  <a:pos x="connsiteX505" y="connsiteY505"/>
                </a:cxn>
                <a:cxn ang="0">
                  <a:pos x="connsiteX506" y="connsiteY506"/>
                </a:cxn>
                <a:cxn ang="0">
                  <a:pos x="connsiteX507" y="connsiteY507"/>
                </a:cxn>
                <a:cxn ang="0">
                  <a:pos x="connsiteX508" y="connsiteY508"/>
                </a:cxn>
                <a:cxn ang="0">
                  <a:pos x="connsiteX509" y="connsiteY509"/>
                </a:cxn>
                <a:cxn ang="0">
                  <a:pos x="connsiteX510" y="connsiteY510"/>
                </a:cxn>
                <a:cxn ang="0">
                  <a:pos x="connsiteX511" y="connsiteY511"/>
                </a:cxn>
                <a:cxn ang="0">
                  <a:pos x="connsiteX512" y="connsiteY512"/>
                </a:cxn>
                <a:cxn ang="0">
                  <a:pos x="connsiteX513" y="connsiteY513"/>
                </a:cxn>
                <a:cxn ang="0">
                  <a:pos x="connsiteX514" y="connsiteY514"/>
                </a:cxn>
                <a:cxn ang="0">
                  <a:pos x="connsiteX515" y="connsiteY515"/>
                </a:cxn>
                <a:cxn ang="0">
                  <a:pos x="connsiteX516" y="connsiteY516"/>
                </a:cxn>
                <a:cxn ang="0">
                  <a:pos x="connsiteX517" y="connsiteY517"/>
                </a:cxn>
                <a:cxn ang="0">
                  <a:pos x="connsiteX518" y="connsiteY518"/>
                </a:cxn>
                <a:cxn ang="0">
                  <a:pos x="connsiteX519" y="connsiteY519"/>
                </a:cxn>
                <a:cxn ang="0">
                  <a:pos x="connsiteX520" y="connsiteY520"/>
                </a:cxn>
                <a:cxn ang="0">
                  <a:pos x="connsiteX521" y="connsiteY521"/>
                </a:cxn>
                <a:cxn ang="0">
                  <a:pos x="connsiteX522" y="connsiteY522"/>
                </a:cxn>
                <a:cxn ang="0">
                  <a:pos x="connsiteX523" y="connsiteY523"/>
                </a:cxn>
                <a:cxn ang="0">
                  <a:pos x="connsiteX524" y="connsiteY524"/>
                </a:cxn>
                <a:cxn ang="0">
                  <a:pos x="connsiteX525" y="connsiteY525"/>
                </a:cxn>
                <a:cxn ang="0">
                  <a:pos x="connsiteX526" y="connsiteY526"/>
                </a:cxn>
                <a:cxn ang="0">
                  <a:pos x="connsiteX527" y="connsiteY527"/>
                </a:cxn>
                <a:cxn ang="0">
                  <a:pos x="connsiteX528" y="connsiteY528"/>
                </a:cxn>
                <a:cxn ang="0">
                  <a:pos x="connsiteX529" y="connsiteY529"/>
                </a:cxn>
                <a:cxn ang="0">
                  <a:pos x="connsiteX530" y="connsiteY530"/>
                </a:cxn>
                <a:cxn ang="0">
                  <a:pos x="connsiteX531" y="connsiteY531"/>
                </a:cxn>
                <a:cxn ang="0">
                  <a:pos x="connsiteX532" y="connsiteY532"/>
                </a:cxn>
                <a:cxn ang="0">
                  <a:pos x="connsiteX533" y="connsiteY533"/>
                </a:cxn>
                <a:cxn ang="0">
                  <a:pos x="connsiteX534" y="connsiteY534"/>
                </a:cxn>
                <a:cxn ang="0">
                  <a:pos x="connsiteX535" y="connsiteY535"/>
                </a:cxn>
                <a:cxn ang="0">
                  <a:pos x="connsiteX536" y="connsiteY536"/>
                </a:cxn>
                <a:cxn ang="0">
                  <a:pos x="connsiteX537" y="connsiteY537"/>
                </a:cxn>
                <a:cxn ang="0">
                  <a:pos x="connsiteX538" y="connsiteY538"/>
                </a:cxn>
                <a:cxn ang="0">
                  <a:pos x="connsiteX539" y="connsiteY539"/>
                </a:cxn>
                <a:cxn ang="0">
                  <a:pos x="connsiteX540" y="connsiteY540"/>
                </a:cxn>
                <a:cxn ang="0">
                  <a:pos x="connsiteX541" y="connsiteY541"/>
                </a:cxn>
                <a:cxn ang="0">
                  <a:pos x="connsiteX542" y="connsiteY542"/>
                </a:cxn>
                <a:cxn ang="0">
                  <a:pos x="connsiteX543" y="connsiteY543"/>
                </a:cxn>
                <a:cxn ang="0">
                  <a:pos x="connsiteX544" y="connsiteY544"/>
                </a:cxn>
                <a:cxn ang="0">
                  <a:pos x="connsiteX545" y="connsiteY545"/>
                </a:cxn>
                <a:cxn ang="0">
                  <a:pos x="connsiteX546" y="connsiteY546"/>
                </a:cxn>
                <a:cxn ang="0">
                  <a:pos x="connsiteX547" y="connsiteY547"/>
                </a:cxn>
                <a:cxn ang="0">
                  <a:pos x="connsiteX548" y="connsiteY548"/>
                </a:cxn>
                <a:cxn ang="0">
                  <a:pos x="connsiteX549" y="connsiteY549"/>
                </a:cxn>
                <a:cxn ang="0">
                  <a:pos x="connsiteX550" y="connsiteY550"/>
                </a:cxn>
                <a:cxn ang="0">
                  <a:pos x="connsiteX551" y="connsiteY551"/>
                </a:cxn>
                <a:cxn ang="0">
                  <a:pos x="connsiteX552" y="connsiteY552"/>
                </a:cxn>
                <a:cxn ang="0">
                  <a:pos x="connsiteX553" y="connsiteY553"/>
                </a:cxn>
                <a:cxn ang="0">
                  <a:pos x="connsiteX554" y="connsiteY554"/>
                </a:cxn>
                <a:cxn ang="0">
                  <a:pos x="connsiteX555" y="connsiteY555"/>
                </a:cxn>
                <a:cxn ang="0">
                  <a:pos x="connsiteX556" y="connsiteY556"/>
                </a:cxn>
                <a:cxn ang="0">
                  <a:pos x="connsiteX557" y="connsiteY557"/>
                </a:cxn>
                <a:cxn ang="0">
                  <a:pos x="connsiteX558" y="connsiteY558"/>
                </a:cxn>
                <a:cxn ang="0">
                  <a:pos x="connsiteX559" y="connsiteY559"/>
                </a:cxn>
                <a:cxn ang="0">
                  <a:pos x="connsiteX560" y="connsiteY560"/>
                </a:cxn>
                <a:cxn ang="0">
                  <a:pos x="connsiteX561" y="connsiteY561"/>
                </a:cxn>
                <a:cxn ang="0">
                  <a:pos x="connsiteX562" y="connsiteY562"/>
                </a:cxn>
                <a:cxn ang="0">
                  <a:pos x="connsiteX563" y="connsiteY563"/>
                </a:cxn>
                <a:cxn ang="0">
                  <a:pos x="connsiteX564" y="connsiteY564"/>
                </a:cxn>
                <a:cxn ang="0">
                  <a:pos x="connsiteX565" y="connsiteY565"/>
                </a:cxn>
                <a:cxn ang="0">
                  <a:pos x="connsiteX566" y="connsiteY566"/>
                </a:cxn>
                <a:cxn ang="0">
                  <a:pos x="connsiteX567" y="connsiteY567"/>
                </a:cxn>
                <a:cxn ang="0">
                  <a:pos x="connsiteX568" y="connsiteY568"/>
                </a:cxn>
                <a:cxn ang="0">
                  <a:pos x="connsiteX569" y="connsiteY569"/>
                </a:cxn>
                <a:cxn ang="0">
                  <a:pos x="connsiteX570" y="connsiteY570"/>
                </a:cxn>
                <a:cxn ang="0">
                  <a:pos x="connsiteX571" y="connsiteY571"/>
                </a:cxn>
                <a:cxn ang="0">
                  <a:pos x="connsiteX572" y="connsiteY572"/>
                </a:cxn>
                <a:cxn ang="0">
                  <a:pos x="connsiteX573" y="connsiteY573"/>
                </a:cxn>
                <a:cxn ang="0">
                  <a:pos x="connsiteX574" y="connsiteY574"/>
                </a:cxn>
                <a:cxn ang="0">
                  <a:pos x="connsiteX575" y="connsiteY575"/>
                </a:cxn>
                <a:cxn ang="0">
                  <a:pos x="connsiteX576" y="connsiteY576"/>
                </a:cxn>
                <a:cxn ang="0">
                  <a:pos x="connsiteX577" y="connsiteY577"/>
                </a:cxn>
                <a:cxn ang="0">
                  <a:pos x="connsiteX578" y="connsiteY578"/>
                </a:cxn>
                <a:cxn ang="0">
                  <a:pos x="connsiteX579" y="connsiteY579"/>
                </a:cxn>
                <a:cxn ang="0">
                  <a:pos x="connsiteX580" y="connsiteY580"/>
                </a:cxn>
                <a:cxn ang="0">
                  <a:pos x="connsiteX581" y="connsiteY581"/>
                </a:cxn>
                <a:cxn ang="0">
                  <a:pos x="connsiteX582" y="connsiteY582"/>
                </a:cxn>
                <a:cxn ang="0">
                  <a:pos x="connsiteX583" y="connsiteY583"/>
                </a:cxn>
                <a:cxn ang="0">
                  <a:pos x="connsiteX584" y="connsiteY584"/>
                </a:cxn>
                <a:cxn ang="0">
                  <a:pos x="connsiteX585" y="connsiteY585"/>
                </a:cxn>
                <a:cxn ang="0">
                  <a:pos x="connsiteX586" y="connsiteY586"/>
                </a:cxn>
                <a:cxn ang="0">
                  <a:pos x="connsiteX587" y="connsiteY587"/>
                </a:cxn>
                <a:cxn ang="0">
                  <a:pos x="connsiteX588" y="connsiteY588"/>
                </a:cxn>
                <a:cxn ang="0">
                  <a:pos x="connsiteX589" y="connsiteY589"/>
                </a:cxn>
                <a:cxn ang="0">
                  <a:pos x="connsiteX590" y="connsiteY590"/>
                </a:cxn>
                <a:cxn ang="0">
                  <a:pos x="connsiteX591" y="connsiteY591"/>
                </a:cxn>
                <a:cxn ang="0">
                  <a:pos x="connsiteX592" y="connsiteY592"/>
                </a:cxn>
                <a:cxn ang="0">
                  <a:pos x="connsiteX593" y="connsiteY593"/>
                </a:cxn>
                <a:cxn ang="0">
                  <a:pos x="connsiteX594" y="connsiteY594"/>
                </a:cxn>
                <a:cxn ang="0">
                  <a:pos x="connsiteX595" y="connsiteY595"/>
                </a:cxn>
                <a:cxn ang="0">
                  <a:pos x="connsiteX596" y="connsiteY596"/>
                </a:cxn>
                <a:cxn ang="0">
                  <a:pos x="connsiteX597" y="connsiteY597"/>
                </a:cxn>
                <a:cxn ang="0">
                  <a:pos x="connsiteX598" y="connsiteY598"/>
                </a:cxn>
                <a:cxn ang="0">
                  <a:pos x="connsiteX599" y="connsiteY599"/>
                </a:cxn>
                <a:cxn ang="0">
                  <a:pos x="connsiteX600" y="connsiteY600"/>
                </a:cxn>
                <a:cxn ang="0">
                  <a:pos x="connsiteX601" y="connsiteY601"/>
                </a:cxn>
                <a:cxn ang="0">
                  <a:pos x="connsiteX602" y="connsiteY602"/>
                </a:cxn>
                <a:cxn ang="0">
                  <a:pos x="connsiteX603" y="connsiteY603"/>
                </a:cxn>
                <a:cxn ang="0">
                  <a:pos x="connsiteX604" y="connsiteY604"/>
                </a:cxn>
                <a:cxn ang="0">
                  <a:pos x="connsiteX605" y="connsiteY605"/>
                </a:cxn>
                <a:cxn ang="0">
                  <a:pos x="connsiteX606" y="connsiteY606"/>
                </a:cxn>
                <a:cxn ang="0">
                  <a:pos x="connsiteX607" y="connsiteY607"/>
                </a:cxn>
                <a:cxn ang="0">
                  <a:pos x="connsiteX608" y="connsiteY608"/>
                </a:cxn>
                <a:cxn ang="0">
                  <a:pos x="connsiteX609" y="connsiteY609"/>
                </a:cxn>
                <a:cxn ang="0">
                  <a:pos x="connsiteX610" y="connsiteY610"/>
                </a:cxn>
                <a:cxn ang="0">
                  <a:pos x="connsiteX611" y="connsiteY611"/>
                </a:cxn>
                <a:cxn ang="0">
                  <a:pos x="connsiteX612" y="connsiteY612"/>
                </a:cxn>
                <a:cxn ang="0">
                  <a:pos x="connsiteX613" y="connsiteY613"/>
                </a:cxn>
                <a:cxn ang="0">
                  <a:pos x="connsiteX614" y="connsiteY614"/>
                </a:cxn>
                <a:cxn ang="0">
                  <a:pos x="connsiteX615" y="connsiteY615"/>
                </a:cxn>
                <a:cxn ang="0">
                  <a:pos x="connsiteX616" y="connsiteY616"/>
                </a:cxn>
                <a:cxn ang="0">
                  <a:pos x="connsiteX617" y="connsiteY617"/>
                </a:cxn>
                <a:cxn ang="0">
                  <a:pos x="connsiteX618" y="connsiteY618"/>
                </a:cxn>
                <a:cxn ang="0">
                  <a:pos x="connsiteX619" y="connsiteY619"/>
                </a:cxn>
                <a:cxn ang="0">
                  <a:pos x="connsiteX620" y="connsiteY620"/>
                </a:cxn>
                <a:cxn ang="0">
                  <a:pos x="connsiteX621" y="connsiteY621"/>
                </a:cxn>
                <a:cxn ang="0">
                  <a:pos x="connsiteX622" y="connsiteY622"/>
                </a:cxn>
                <a:cxn ang="0">
                  <a:pos x="connsiteX623" y="connsiteY623"/>
                </a:cxn>
                <a:cxn ang="0">
                  <a:pos x="connsiteX624" y="connsiteY624"/>
                </a:cxn>
                <a:cxn ang="0">
                  <a:pos x="connsiteX625" y="connsiteY625"/>
                </a:cxn>
                <a:cxn ang="0">
                  <a:pos x="connsiteX626" y="connsiteY626"/>
                </a:cxn>
                <a:cxn ang="0">
                  <a:pos x="connsiteX627" y="connsiteY627"/>
                </a:cxn>
                <a:cxn ang="0">
                  <a:pos x="connsiteX628" y="connsiteY628"/>
                </a:cxn>
                <a:cxn ang="0">
                  <a:pos x="connsiteX629" y="connsiteY629"/>
                </a:cxn>
                <a:cxn ang="0">
                  <a:pos x="connsiteX630" y="connsiteY630"/>
                </a:cxn>
                <a:cxn ang="0">
                  <a:pos x="connsiteX631" y="connsiteY631"/>
                </a:cxn>
                <a:cxn ang="0">
                  <a:pos x="connsiteX632" y="connsiteY632"/>
                </a:cxn>
                <a:cxn ang="0">
                  <a:pos x="connsiteX633" y="connsiteY633"/>
                </a:cxn>
                <a:cxn ang="0">
                  <a:pos x="connsiteX634" y="connsiteY634"/>
                </a:cxn>
                <a:cxn ang="0">
                  <a:pos x="connsiteX635" y="connsiteY635"/>
                </a:cxn>
                <a:cxn ang="0">
                  <a:pos x="connsiteX636" y="connsiteY636"/>
                </a:cxn>
                <a:cxn ang="0">
                  <a:pos x="connsiteX637" y="connsiteY637"/>
                </a:cxn>
                <a:cxn ang="0">
                  <a:pos x="connsiteX638" y="connsiteY638"/>
                </a:cxn>
                <a:cxn ang="0">
                  <a:pos x="connsiteX639" y="connsiteY639"/>
                </a:cxn>
                <a:cxn ang="0">
                  <a:pos x="connsiteX640" y="connsiteY640"/>
                </a:cxn>
                <a:cxn ang="0">
                  <a:pos x="connsiteX641" y="connsiteY641"/>
                </a:cxn>
                <a:cxn ang="0">
                  <a:pos x="connsiteX642" y="connsiteY642"/>
                </a:cxn>
                <a:cxn ang="0">
                  <a:pos x="connsiteX643" y="connsiteY643"/>
                </a:cxn>
                <a:cxn ang="0">
                  <a:pos x="connsiteX644" y="connsiteY644"/>
                </a:cxn>
                <a:cxn ang="0">
                  <a:pos x="connsiteX645" y="connsiteY645"/>
                </a:cxn>
                <a:cxn ang="0">
                  <a:pos x="connsiteX646" y="connsiteY646"/>
                </a:cxn>
                <a:cxn ang="0">
                  <a:pos x="connsiteX647" y="connsiteY647"/>
                </a:cxn>
                <a:cxn ang="0">
                  <a:pos x="connsiteX648" y="connsiteY648"/>
                </a:cxn>
                <a:cxn ang="0">
                  <a:pos x="connsiteX649" y="connsiteY649"/>
                </a:cxn>
                <a:cxn ang="0">
                  <a:pos x="connsiteX650" y="connsiteY650"/>
                </a:cxn>
                <a:cxn ang="0">
                  <a:pos x="connsiteX651" y="connsiteY651"/>
                </a:cxn>
                <a:cxn ang="0">
                  <a:pos x="connsiteX652" y="connsiteY652"/>
                </a:cxn>
                <a:cxn ang="0">
                  <a:pos x="connsiteX653" y="connsiteY653"/>
                </a:cxn>
                <a:cxn ang="0">
                  <a:pos x="connsiteX654" y="connsiteY654"/>
                </a:cxn>
                <a:cxn ang="0">
                  <a:pos x="connsiteX655" y="connsiteY655"/>
                </a:cxn>
                <a:cxn ang="0">
                  <a:pos x="connsiteX656" y="connsiteY656"/>
                </a:cxn>
                <a:cxn ang="0">
                  <a:pos x="connsiteX657" y="connsiteY657"/>
                </a:cxn>
                <a:cxn ang="0">
                  <a:pos x="connsiteX658" y="connsiteY658"/>
                </a:cxn>
                <a:cxn ang="0">
                  <a:pos x="connsiteX659" y="connsiteY659"/>
                </a:cxn>
                <a:cxn ang="0">
                  <a:pos x="connsiteX660" y="connsiteY660"/>
                </a:cxn>
                <a:cxn ang="0">
                  <a:pos x="connsiteX661" y="connsiteY661"/>
                </a:cxn>
                <a:cxn ang="0">
                  <a:pos x="connsiteX662" y="connsiteY662"/>
                </a:cxn>
                <a:cxn ang="0">
                  <a:pos x="connsiteX663" y="connsiteY663"/>
                </a:cxn>
                <a:cxn ang="0">
                  <a:pos x="connsiteX664" y="connsiteY664"/>
                </a:cxn>
                <a:cxn ang="0">
                  <a:pos x="connsiteX665" y="connsiteY665"/>
                </a:cxn>
                <a:cxn ang="0">
                  <a:pos x="connsiteX666" y="connsiteY666"/>
                </a:cxn>
                <a:cxn ang="0">
                  <a:pos x="connsiteX667" y="connsiteY667"/>
                </a:cxn>
                <a:cxn ang="0">
                  <a:pos x="connsiteX668" y="connsiteY668"/>
                </a:cxn>
                <a:cxn ang="0">
                  <a:pos x="connsiteX669" y="connsiteY669"/>
                </a:cxn>
                <a:cxn ang="0">
                  <a:pos x="connsiteX670" y="connsiteY670"/>
                </a:cxn>
                <a:cxn ang="0">
                  <a:pos x="connsiteX671" y="connsiteY671"/>
                </a:cxn>
                <a:cxn ang="0">
                  <a:pos x="connsiteX672" y="connsiteY672"/>
                </a:cxn>
                <a:cxn ang="0">
                  <a:pos x="connsiteX673" y="connsiteY673"/>
                </a:cxn>
                <a:cxn ang="0">
                  <a:pos x="connsiteX674" y="connsiteY674"/>
                </a:cxn>
                <a:cxn ang="0">
                  <a:pos x="connsiteX675" y="connsiteY675"/>
                </a:cxn>
                <a:cxn ang="0">
                  <a:pos x="connsiteX676" y="connsiteY676"/>
                </a:cxn>
                <a:cxn ang="0">
                  <a:pos x="connsiteX677" y="connsiteY677"/>
                </a:cxn>
                <a:cxn ang="0">
                  <a:pos x="connsiteX678" y="connsiteY678"/>
                </a:cxn>
                <a:cxn ang="0">
                  <a:pos x="connsiteX679" y="connsiteY679"/>
                </a:cxn>
                <a:cxn ang="0">
                  <a:pos x="connsiteX680" y="connsiteY680"/>
                </a:cxn>
                <a:cxn ang="0">
                  <a:pos x="connsiteX681" y="connsiteY681"/>
                </a:cxn>
                <a:cxn ang="0">
                  <a:pos x="connsiteX682" y="connsiteY682"/>
                </a:cxn>
                <a:cxn ang="0">
                  <a:pos x="connsiteX683" y="connsiteY683"/>
                </a:cxn>
                <a:cxn ang="0">
                  <a:pos x="connsiteX684" y="connsiteY684"/>
                </a:cxn>
                <a:cxn ang="0">
                  <a:pos x="connsiteX685" y="connsiteY685"/>
                </a:cxn>
                <a:cxn ang="0">
                  <a:pos x="connsiteX686" y="connsiteY686"/>
                </a:cxn>
                <a:cxn ang="0">
                  <a:pos x="connsiteX687" y="connsiteY687"/>
                </a:cxn>
                <a:cxn ang="0">
                  <a:pos x="connsiteX688" y="connsiteY688"/>
                </a:cxn>
                <a:cxn ang="0">
                  <a:pos x="connsiteX689" y="connsiteY689"/>
                </a:cxn>
                <a:cxn ang="0">
                  <a:pos x="connsiteX690" y="connsiteY690"/>
                </a:cxn>
                <a:cxn ang="0">
                  <a:pos x="connsiteX691" y="connsiteY691"/>
                </a:cxn>
                <a:cxn ang="0">
                  <a:pos x="connsiteX692" y="connsiteY692"/>
                </a:cxn>
                <a:cxn ang="0">
                  <a:pos x="connsiteX693" y="connsiteY693"/>
                </a:cxn>
                <a:cxn ang="0">
                  <a:pos x="connsiteX694" y="connsiteY694"/>
                </a:cxn>
                <a:cxn ang="0">
                  <a:pos x="connsiteX695" y="connsiteY695"/>
                </a:cxn>
                <a:cxn ang="0">
                  <a:pos x="connsiteX696" y="connsiteY696"/>
                </a:cxn>
                <a:cxn ang="0">
                  <a:pos x="connsiteX697" y="connsiteY697"/>
                </a:cxn>
                <a:cxn ang="0">
                  <a:pos x="connsiteX698" y="connsiteY698"/>
                </a:cxn>
                <a:cxn ang="0">
                  <a:pos x="connsiteX699" y="connsiteY699"/>
                </a:cxn>
                <a:cxn ang="0">
                  <a:pos x="connsiteX700" y="connsiteY700"/>
                </a:cxn>
                <a:cxn ang="0">
                  <a:pos x="connsiteX701" y="connsiteY701"/>
                </a:cxn>
                <a:cxn ang="0">
                  <a:pos x="connsiteX702" y="connsiteY702"/>
                </a:cxn>
                <a:cxn ang="0">
                  <a:pos x="connsiteX703" y="connsiteY703"/>
                </a:cxn>
                <a:cxn ang="0">
                  <a:pos x="connsiteX704" y="connsiteY704"/>
                </a:cxn>
                <a:cxn ang="0">
                  <a:pos x="connsiteX705" y="connsiteY705"/>
                </a:cxn>
                <a:cxn ang="0">
                  <a:pos x="connsiteX706" y="connsiteY706"/>
                </a:cxn>
                <a:cxn ang="0">
                  <a:pos x="connsiteX707" y="connsiteY707"/>
                </a:cxn>
                <a:cxn ang="0">
                  <a:pos x="connsiteX708" y="connsiteY708"/>
                </a:cxn>
                <a:cxn ang="0">
                  <a:pos x="connsiteX709" y="connsiteY709"/>
                </a:cxn>
                <a:cxn ang="0">
                  <a:pos x="connsiteX710" y="connsiteY710"/>
                </a:cxn>
                <a:cxn ang="0">
                  <a:pos x="connsiteX711" y="connsiteY711"/>
                </a:cxn>
                <a:cxn ang="0">
                  <a:pos x="connsiteX712" y="connsiteY712"/>
                </a:cxn>
                <a:cxn ang="0">
                  <a:pos x="connsiteX713" y="connsiteY713"/>
                </a:cxn>
                <a:cxn ang="0">
                  <a:pos x="connsiteX714" y="connsiteY714"/>
                </a:cxn>
                <a:cxn ang="0">
                  <a:pos x="connsiteX715" y="connsiteY715"/>
                </a:cxn>
                <a:cxn ang="0">
                  <a:pos x="connsiteX716" y="connsiteY716"/>
                </a:cxn>
                <a:cxn ang="0">
                  <a:pos x="connsiteX717" y="connsiteY717"/>
                </a:cxn>
                <a:cxn ang="0">
                  <a:pos x="connsiteX718" y="connsiteY718"/>
                </a:cxn>
                <a:cxn ang="0">
                  <a:pos x="connsiteX719" y="connsiteY719"/>
                </a:cxn>
                <a:cxn ang="0">
                  <a:pos x="connsiteX720" y="connsiteY720"/>
                </a:cxn>
                <a:cxn ang="0">
                  <a:pos x="connsiteX721" y="connsiteY721"/>
                </a:cxn>
                <a:cxn ang="0">
                  <a:pos x="connsiteX722" y="connsiteY722"/>
                </a:cxn>
                <a:cxn ang="0">
                  <a:pos x="connsiteX723" y="connsiteY723"/>
                </a:cxn>
                <a:cxn ang="0">
                  <a:pos x="connsiteX724" y="connsiteY724"/>
                </a:cxn>
                <a:cxn ang="0">
                  <a:pos x="connsiteX725" y="connsiteY725"/>
                </a:cxn>
                <a:cxn ang="0">
                  <a:pos x="connsiteX726" y="connsiteY726"/>
                </a:cxn>
                <a:cxn ang="0">
                  <a:pos x="connsiteX727" y="connsiteY727"/>
                </a:cxn>
                <a:cxn ang="0">
                  <a:pos x="connsiteX728" y="connsiteY728"/>
                </a:cxn>
                <a:cxn ang="0">
                  <a:pos x="connsiteX729" y="connsiteY729"/>
                </a:cxn>
                <a:cxn ang="0">
                  <a:pos x="connsiteX730" y="connsiteY730"/>
                </a:cxn>
                <a:cxn ang="0">
                  <a:pos x="connsiteX731" y="connsiteY731"/>
                </a:cxn>
                <a:cxn ang="0">
                  <a:pos x="connsiteX732" y="connsiteY732"/>
                </a:cxn>
                <a:cxn ang="0">
                  <a:pos x="connsiteX733" y="connsiteY733"/>
                </a:cxn>
                <a:cxn ang="0">
                  <a:pos x="connsiteX734" y="connsiteY734"/>
                </a:cxn>
                <a:cxn ang="0">
                  <a:pos x="connsiteX735" y="connsiteY735"/>
                </a:cxn>
                <a:cxn ang="0">
                  <a:pos x="connsiteX736" y="connsiteY736"/>
                </a:cxn>
                <a:cxn ang="0">
                  <a:pos x="connsiteX737" y="connsiteY737"/>
                </a:cxn>
                <a:cxn ang="0">
                  <a:pos x="connsiteX738" y="connsiteY738"/>
                </a:cxn>
                <a:cxn ang="0">
                  <a:pos x="connsiteX739" y="connsiteY739"/>
                </a:cxn>
                <a:cxn ang="0">
                  <a:pos x="connsiteX740" y="connsiteY740"/>
                </a:cxn>
                <a:cxn ang="0">
                  <a:pos x="connsiteX741" y="connsiteY741"/>
                </a:cxn>
                <a:cxn ang="0">
                  <a:pos x="connsiteX742" y="connsiteY742"/>
                </a:cxn>
                <a:cxn ang="0">
                  <a:pos x="connsiteX743" y="connsiteY743"/>
                </a:cxn>
                <a:cxn ang="0">
                  <a:pos x="connsiteX744" y="connsiteY744"/>
                </a:cxn>
                <a:cxn ang="0">
                  <a:pos x="connsiteX745" y="connsiteY745"/>
                </a:cxn>
                <a:cxn ang="0">
                  <a:pos x="connsiteX746" y="connsiteY746"/>
                </a:cxn>
                <a:cxn ang="0">
                  <a:pos x="connsiteX747" y="connsiteY747"/>
                </a:cxn>
                <a:cxn ang="0">
                  <a:pos x="connsiteX748" y="connsiteY748"/>
                </a:cxn>
                <a:cxn ang="0">
                  <a:pos x="connsiteX749" y="connsiteY749"/>
                </a:cxn>
                <a:cxn ang="0">
                  <a:pos x="connsiteX750" y="connsiteY750"/>
                </a:cxn>
                <a:cxn ang="0">
                  <a:pos x="connsiteX751" y="connsiteY751"/>
                </a:cxn>
                <a:cxn ang="0">
                  <a:pos x="connsiteX752" y="connsiteY752"/>
                </a:cxn>
                <a:cxn ang="0">
                  <a:pos x="connsiteX753" y="connsiteY753"/>
                </a:cxn>
                <a:cxn ang="0">
                  <a:pos x="connsiteX754" y="connsiteY754"/>
                </a:cxn>
                <a:cxn ang="0">
                  <a:pos x="connsiteX755" y="connsiteY755"/>
                </a:cxn>
                <a:cxn ang="0">
                  <a:pos x="connsiteX756" y="connsiteY756"/>
                </a:cxn>
                <a:cxn ang="0">
                  <a:pos x="connsiteX757" y="connsiteY757"/>
                </a:cxn>
                <a:cxn ang="0">
                  <a:pos x="connsiteX758" y="connsiteY758"/>
                </a:cxn>
                <a:cxn ang="0">
                  <a:pos x="connsiteX759" y="connsiteY759"/>
                </a:cxn>
                <a:cxn ang="0">
                  <a:pos x="connsiteX760" y="connsiteY760"/>
                </a:cxn>
                <a:cxn ang="0">
                  <a:pos x="connsiteX761" y="connsiteY761"/>
                </a:cxn>
                <a:cxn ang="0">
                  <a:pos x="connsiteX762" y="connsiteY762"/>
                </a:cxn>
                <a:cxn ang="0">
                  <a:pos x="connsiteX763" y="connsiteY763"/>
                </a:cxn>
                <a:cxn ang="0">
                  <a:pos x="connsiteX764" y="connsiteY764"/>
                </a:cxn>
                <a:cxn ang="0">
                  <a:pos x="connsiteX765" y="connsiteY765"/>
                </a:cxn>
                <a:cxn ang="0">
                  <a:pos x="connsiteX766" y="connsiteY766"/>
                </a:cxn>
                <a:cxn ang="0">
                  <a:pos x="connsiteX767" y="connsiteY767"/>
                </a:cxn>
                <a:cxn ang="0">
                  <a:pos x="connsiteX768" y="connsiteY768"/>
                </a:cxn>
                <a:cxn ang="0">
                  <a:pos x="connsiteX769" y="connsiteY769"/>
                </a:cxn>
                <a:cxn ang="0">
                  <a:pos x="connsiteX770" y="connsiteY770"/>
                </a:cxn>
                <a:cxn ang="0">
                  <a:pos x="connsiteX771" y="connsiteY771"/>
                </a:cxn>
                <a:cxn ang="0">
                  <a:pos x="connsiteX772" y="connsiteY772"/>
                </a:cxn>
                <a:cxn ang="0">
                  <a:pos x="connsiteX773" y="connsiteY773"/>
                </a:cxn>
                <a:cxn ang="0">
                  <a:pos x="connsiteX774" y="connsiteY774"/>
                </a:cxn>
                <a:cxn ang="0">
                  <a:pos x="connsiteX775" y="connsiteY775"/>
                </a:cxn>
                <a:cxn ang="0">
                  <a:pos x="connsiteX776" y="connsiteY776"/>
                </a:cxn>
                <a:cxn ang="0">
                  <a:pos x="connsiteX777" y="connsiteY777"/>
                </a:cxn>
                <a:cxn ang="0">
                  <a:pos x="connsiteX778" y="connsiteY778"/>
                </a:cxn>
                <a:cxn ang="0">
                  <a:pos x="connsiteX779" y="connsiteY779"/>
                </a:cxn>
                <a:cxn ang="0">
                  <a:pos x="connsiteX780" y="connsiteY780"/>
                </a:cxn>
                <a:cxn ang="0">
                  <a:pos x="connsiteX781" y="connsiteY781"/>
                </a:cxn>
                <a:cxn ang="0">
                  <a:pos x="connsiteX782" y="connsiteY782"/>
                </a:cxn>
                <a:cxn ang="0">
                  <a:pos x="connsiteX783" y="connsiteY783"/>
                </a:cxn>
                <a:cxn ang="0">
                  <a:pos x="connsiteX784" y="connsiteY784"/>
                </a:cxn>
                <a:cxn ang="0">
                  <a:pos x="connsiteX785" y="connsiteY785"/>
                </a:cxn>
                <a:cxn ang="0">
                  <a:pos x="connsiteX786" y="connsiteY786"/>
                </a:cxn>
                <a:cxn ang="0">
                  <a:pos x="connsiteX787" y="connsiteY787"/>
                </a:cxn>
                <a:cxn ang="0">
                  <a:pos x="connsiteX788" y="connsiteY788"/>
                </a:cxn>
                <a:cxn ang="0">
                  <a:pos x="connsiteX789" y="connsiteY789"/>
                </a:cxn>
                <a:cxn ang="0">
                  <a:pos x="connsiteX790" y="connsiteY790"/>
                </a:cxn>
                <a:cxn ang="0">
                  <a:pos x="connsiteX791" y="connsiteY791"/>
                </a:cxn>
                <a:cxn ang="0">
                  <a:pos x="connsiteX792" y="connsiteY792"/>
                </a:cxn>
                <a:cxn ang="0">
                  <a:pos x="connsiteX793" y="connsiteY793"/>
                </a:cxn>
                <a:cxn ang="0">
                  <a:pos x="connsiteX794" y="connsiteY794"/>
                </a:cxn>
                <a:cxn ang="0">
                  <a:pos x="connsiteX795" y="connsiteY795"/>
                </a:cxn>
                <a:cxn ang="0">
                  <a:pos x="connsiteX796" y="connsiteY796"/>
                </a:cxn>
                <a:cxn ang="0">
                  <a:pos x="connsiteX797" y="connsiteY797"/>
                </a:cxn>
                <a:cxn ang="0">
                  <a:pos x="connsiteX798" y="connsiteY798"/>
                </a:cxn>
                <a:cxn ang="0">
                  <a:pos x="connsiteX799" y="connsiteY799"/>
                </a:cxn>
                <a:cxn ang="0">
                  <a:pos x="connsiteX800" y="connsiteY800"/>
                </a:cxn>
                <a:cxn ang="0">
                  <a:pos x="connsiteX801" y="connsiteY801"/>
                </a:cxn>
                <a:cxn ang="0">
                  <a:pos x="connsiteX802" y="connsiteY802"/>
                </a:cxn>
                <a:cxn ang="0">
                  <a:pos x="connsiteX803" y="connsiteY803"/>
                </a:cxn>
                <a:cxn ang="0">
                  <a:pos x="connsiteX804" y="connsiteY804"/>
                </a:cxn>
                <a:cxn ang="0">
                  <a:pos x="connsiteX805" y="connsiteY805"/>
                </a:cxn>
                <a:cxn ang="0">
                  <a:pos x="connsiteX806" y="connsiteY806"/>
                </a:cxn>
                <a:cxn ang="0">
                  <a:pos x="connsiteX807" y="connsiteY807"/>
                </a:cxn>
                <a:cxn ang="0">
                  <a:pos x="connsiteX808" y="connsiteY808"/>
                </a:cxn>
                <a:cxn ang="0">
                  <a:pos x="connsiteX809" y="connsiteY809"/>
                </a:cxn>
                <a:cxn ang="0">
                  <a:pos x="connsiteX810" y="connsiteY810"/>
                </a:cxn>
                <a:cxn ang="0">
                  <a:pos x="connsiteX811" y="connsiteY811"/>
                </a:cxn>
                <a:cxn ang="0">
                  <a:pos x="connsiteX812" y="connsiteY812"/>
                </a:cxn>
                <a:cxn ang="0">
                  <a:pos x="connsiteX813" y="connsiteY813"/>
                </a:cxn>
                <a:cxn ang="0">
                  <a:pos x="connsiteX814" y="connsiteY814"/>
                </a:cxn>
                <a:cxn ang="0">
                  <a:pos x="connsiteX815" y="connsiteY815"/>
                </a:cxn>
                <a:cxn ang="0">
                  <a:pos x="connsiteX816" y="connsiteY816"/>
                </a:cxn>
                <a:cxn ang="0">
                  <a:pos x="connsiteX817" y="connsiteY817"/>
                </a:cxn>
                <a:cxn ang="0">
                  <a:pos x="connsiteX818" y="connsiteY818"/>
                </a:cxn>
                <a:cxn ang="0">
                  <a:pos x="connsiteX819" y="connsiteY819"/>
                </a:cxn>
                <a:cxn ang="0">
                  <a:pos x="connsiteX820" y="connsiteY820"/>
                </a:cxn>
                <a:cxn ang="0">
                  <a:pos x="connsiteX821" y="connsiteY821"/>
                </a:cxn>
                <a:cxn ang="0">
                  <a:pos x="connsiteX822" y="connsiteY822"/>
                </a:cxn>
                <a:cxn ang="0">
                  <a:pos x="connsiteX823" y="connsiteY823"/>
                </a:cxn>
                <a:cxn ang="0">
                  <a:pos x="connsiteX824" y="connsiteY824"/>
                </a:cxn>
                <a:cxn ang="0">
                  <a:pos x="connsiteX825" y="connsiteY825"/>
                </a:cxn>
                <a:cxn ang="0">
                  <a:pos x="connsiteX826" y="connsiteY826"/>
                </a:cxn>
                <a:cxn ang="0">
                  <a:pos x="connsiteX827" y="connsiteY827"/>
                </a:cxn>
                <a:cxn ang="0">
                  <a:pos x="connsiteX828" y="connsiteY828"/>
                </a:cxn>
                <a:cxn ang="0">
                  <a:pos x="connsiteX829" y="connsiteY829"/>
                </a:cxn>
                <a:cxn ang="0">
                  <a:pos x="connsiteX830" y="connsiteY830"/>
                </a:cxn>
                <a:cxn ang="0">
                  <a:pos x="connsiteX831" y="connsiteY831"/>
                </a:cxn>
                <a:cxn ang="0">
                  <a:pos x="connsiteX832" y="connsiteY832"/>
                </a:cxn>
                <a:cxn ang="0">
                  <a:pos x="connsiteX833" y="connsiteY833"/>
                </a:cxn>
                <a:cxn ang="0">
                  <a:pos x="connsiteX834" y="connsiteY834"/>
                </a:cxn>
                <a:cxn ang="0">
                  <a:pos x="connsiteX835" y="connsiteY835"/>
                </a:cxn>
                <a:cxn ang="0">
                  <a:pos x="connsiteX836" y="connsiteY836"/>
                </a:cxn>
                <a:cxn ang="0">
                  <a:pos x="connsiteX837" y="connsiteY837"/>
                </a:cxn>
                <a:cxn ang="0">
                  <a:pos x="connsiteX838" y="connsiteY838"/>
                </a:cxn>
                <a:cxn ang="0">
                  <a:pos x="connsiteX839" y="connsiteY839"/>
                </a:cxn>
                <a:cxn ang="0">
                  <a:pos x="connsiteX840" y="connsiteY840"/>
                </a:cxn>
                <a:cxn ang="0">
                  <a:pos x="connsiteX841" y="connsiteY841"/>
                </a:cxn>
                <a:cxn ang="0">
                  <a:pos x="connsiteX842" y="connsiteY842"/>
                </a:cxn>
                <a:cxn ang="0">
                  <a:pos x="connsiteX843" y="connsiteY843"/>
                </a:cxn>
                <a:cxn ang="0">
                  <a:pos x="connsiteX844" y="connsiteY844"/>
                </a:cxn>
                <a:cxn ang="0">
                  <a:pos x="connsiteX845" y="connsiteY845"/>
                </a:cxn>
                <a:cxn ang="0">
                  <a:pos x="connsiteX846" y="connsiteY846"/>
                </a:cxn>
                <a:cxn ang="0">
                  <a:pos x="connsiteX847" y="connsiteY847"/>
                </a:cxn>
                <a:cxn ang="0">
                  <a:pos x="connsiteX848" y="connsiteY848"/>
                </a:cxn>
                <a:cxn ang="0">
                  <a:pos x="connsiteX849" y="connsiteY849"/>
                </a:cxn>
                <a:cxn ang="0">
                  <a:pos x="connsiteX850" y="connsiteY850"/>
                </a:cxn>
                <a:cxn ang="0">
                  <a:pos x="connsiteX851" y="connsiteY851"/>
                </a:cxn>
                <a:cxn ang="0">
                  <a:pos x="connsiteX852" y="connsiteY852"/>
                </a:cxn>
                <a:cxn ang="0">
                  <a:pos x="connsiteX853" y="connsiteY853"/>
                </a:cxn>
                <a:cxn ang="0">
                  <a:pos x="connsiteX854" y="connsiteY854"/>
                </a:cxn>
                <a:cxn ang="0">
                  <a:pos x="connsiteX855" y="connsiteY855"/>
                </a:cxn>
                <a:cxn ang="0">
                  <a:pos x="connsiteX856" y="connsiteY856"/>
                </a:cxn>
                <a:cxn ang="0">
                  <a:pos x="connsiteX857" y="connsiteY857"/>
                </a:cxn>
                <a:cxn ang="0">
                  <a:pos x="connsiteX858" y="connsiteY858"/>
                </a:cxn>
                <a:cxn ang="0">
                  <a:pos x="connsiteX859" y="connsiteY859"/>
                </a:cxn>
                <a:cxn ang="0">
                  <a:pos x="connsiteX860" y="connsiteY860"/>
                </a:cxn>
                <a:cxn ang="0">
                  <a:pos x="connsiteX861" y="connsiteY861"/>
                </a:cxn>
                <a:cxn ang="0">
                  <a:pos x="connsiteX862" y="connsiteY862"/>
                </a:cxn>
                <a:cxn ang="0">
                  <a:pos x="connsiteX863" y="connsiteY863"/>
                </a:cxn>
                <a:cxn ang="0">
                  <a:pos x="connsiteX864" y="connsiteY864"/>
                </a:cxn>
                <a:cxn ang="0">
                  <a:pos x="connsiteX865" y="connsiteY865"/>
                </a:cxn>
                <a:cxn ang="0">
                  <a:pos x="connsiteX866" y="connsiteY866"/>
                </a:cxn>
                <a:cxn ang="0">
                  <a:pos x="connsiteX867" y="connsiteY867"/>
                </a:cxn>
                <a:cxn ang="0">
                  <a:pos x="connsiteX868" y="connsiteY868"/>
                </a:cxn>
                <a:cxn ang="0">
                  <a:pos x="connsiteX869" y="connsiteY869"/>
                </a:cxn>
                <a:cxn ang="0">
                  <a:pos x="connsiteX870" y="connsiteY870"/>
                </a:cxn>
                <a:cxn ang="0">
                  <a:pos x="connsiteX871" y="connsiteY871"/>
                </a:cxn>
                <a:cxn ang="0">
                  <a:pos x="connsiteX872" y="connsiteY872"/>
                </a:cxn>
                <a:cxn ang="0">
                  <a:pos x="connsiteX873" y="connsiteY873"/>
                </a:cxn>
                <a:cxn ang="0">
                  <a:pos x="connsiteX874" y="connsiteY874"/>
                </a:cxn>
                <a:cxn ang="0">
                  <a:pos x="connsiteX875" y="connsiteY875"/>
                </a:cxn>
                <a:cxn ang="0">
                  <a:pos x="connsiteX876" y="connsiteY876"/>
                </a:cxn>
                <a:cxn ang="0">
                  <a:pos x="connsiteX877" y="connsiteY877"/>
                </a:cxn>
                <a:cxn ang="0">
                  <a:pos x="connsiteX878" y="connsiteY878"/>
                </a:cxn>
                <a:cxn ang="0">
                  <a:pos x="connsiteX879" y="connsiteY879"/>
                </a:cxn>
                <a:cxn ang="0">
                  <a:pos x="connsiteX880" y="connsiteY880"/>
                </a:cxn>
                <a:cxn ang="0">
                  <a:pos x="connsiteX881" y="connsiteY881"/>
                </a:cxn>
                <a:cxn ang="0">
                  <a:pos x="connsiteX882" y="connsiteY882"/>
                </a:cxn>
                <a:cxn ang="0">
                  <a:pos x="connsiteX883" y="connsiteY883"/>
                </a:cxn>
                <a:cxn ang="0">
                  <a:pos x="connsiteX884" y="connsiteY884"/>
                </a:cxn>
                <a:cxn ang="0">
                  <a:pos x="connsiteX885" y="connsiteY885"/>
                </a:cxn>
                <a:cxn ang="0">
                  <a:pos x="connsiteX886" y="connsiteY886"/>
                </a:cxn>
                <a:cxn ang="0">
                  <a:pos x="connsiteX887" y="connsiteY887"/>
                </a:cxn>
                <a:cxn ang="0">
                  <a:pos x="connsiteX888" y="connsiteY888"/>
                </a:cxn>
                <a:cxn ang="0">
                  <a:pos x="connsiteX889" y="connsiteY889"/>
                </a:cxn>
                <a:cxn ang="0">
                  <a:pos x="connsiteX890" y="connsiteY890"/>
                </a:cxn>
                <a:cxn ang="0">
                  <a:pos x="connsiteX891" y="connsiteY891"/>
                </a:cxn>
                <a:cxn ang="0">
                  <a:pos x="connsiteX892" y="connsiteY892"/>
                </a:cxn>
                <a:cxn ang="0">
                  <a:pos x="connsiteX893" y="connsiteY893"/>
                </a:cxn>
                <a:cxn ang="0">
                  <a:pos x="connsiteX894" y="connsiteY894"/>
                </a:cxn>
                <a:cxn ang="0">
                  <a:pos x="connsiteX895" y="connsiteY895"/>
                </a:cxn>
                <a:cxn ang="0">
                  <a:pos x="connsiteX896" y="connsiteY896"/>
                </a:cxn>
                <a:cxn ang="0">
                  <a:pos x="connsiteX897" y="connsiteY897"/>
                </a:cxn>
                <a:cxn ang="0">
                  <a:pos x="connsiteX898" y="connsiteY898"/>
                </a:cxn>
                <a:cxn ang="0">
                  <a:pos x="connsiteX899" y="connsiteY899"/>
                </a:cxn>
                <a:cxn ang="0">
                  <a:pos x="connsiteX900" y="connsiteY900"/>
                </a:cxn>
                <a:cxn ang="0">
                  <a:pos x="connsiteX901" y="connsiteY901"/>
                </a:cxn>
                <a:cxn ang="0">
                  <a:pos x="connsiteX902" y="connsiteY902"/>
                </a:cxn>
                <a:cxn ang="0">
                  <a:pos x="connsiteX903" y="connsiteY903"/>
                </a:cxn>
                <a:cxn ang="0">
                  <a:pos x="connsiteX904" y="connsiteY904"/>
                </a:cxn>
                <a:cxn ang="0">
                  <a:pos x="connsiteX905" y="connsiteY905"/>
                </a:cxn>
                <a:cxn ang="0">
                  <a:pos x="connsiteX906" y="connsiteY906"/>
                </a:cxn>
                <a:cxn ang="0">
                  <a:pos x="connsiteX907" y="connsiteY907"/>
                </a:cxn>
                <a:cxn ang="0">
                  <a:pos x="connsiteX908" y="connsiteY908"/>
                </a:cxn>
                <a:cxn ang="0">
                  <a:pos x="connsiteX909" y="connsiteY909"/>
                </a:cxn>
                <a:cxn ang="0">
                  <a:pos x="connsiteX910" y="connsiteY910"/>
                </a:cxn>
                <a:cxn ang="0">
                  <a:pos x="connsiteX911" y="connsiteY911"/>
                </a:cxn>
                <a:cxn ang="0">
                  <a:pos x="connsiteX912" y="connsiteY912"/>
                </a:cxn>
                <a:cxn ang="0">
                  <a:pos x="connsiteX913" y="connsiteY913"/>
                </a:cxn>
                <a:cxn ang="0">
                  <a:pos x="connsiteX914" y="connsiteY914"/>
                </a:cxn>
                <a:cxn ang="0">
                  <a:pos x="connsiteX915" y="connsiteY915"/>
                </a:cxn>
                <a:cxn ang="0">
                  <a:pos x="connsiteX916" y="connsiteY916"/>
                </a:cxn>
                <a:cxn ang="0">
                  <a:pos x="connsiteX917" y="connsiteY917"/>
                </a:cxn>
                <a:cxn ang="0">
                  <a:pos x="connsiteX918" y="connsiteY918"/>
                </a:cxn>
                <a:cxn ang="0">
                  <a:pos x="connsiteX919" y="connsiteY919"/>
                </a:cxn>
                <a:cxn ang="0">
                  <a:pos x="connsiteX920" y="connsiteY920"/>
                </a:cxn>
                <a:cxn ang="0">
                  <a:pos x="connsiteX921" y="connsiteY921"/>
                </a:cxn>
                <a:cxn ang="0">
                  <a:pos x="connsiteX922" y="connsiteY922"/>
                </a:cxn>
                <a:cxn ang="0">
                  <a:pos x="connsiteX923" y="connsiteY923"/>
                </a:cxn>
                <a:cxn ang="0">
                  <a:pos x="connsiteX924" y="connsiteY924"/>
                </a:cxn>
                <a:cxn ang="0">
                  <a:pos x="connsiteX925" y="connsiteY925"/>
                </a:cxn>
                <a:cxn ang="0">
                  <a:pos x="connsiteX926" y="connsiteY926"/>
                </a:cxn>
                <a:cxn ang="0">
                  <a:pos x="connsiteX927" y="connsiteY927"/>
                </a:cxn>
                <a:cxn ang="0">
                  <a:pos x="connsiteX928" y="connsiteY928"/>
                </a:cxn>
                <a:cxn ang="0">
                  <a:pos x="connsiteX929" y="connsiteY929"/>
                </a:cxn>
                <a:cxn ang="0">
                  <a:pos x="connsiteX930" y="connsiteY930"/>
                </a:cxn>
                <a:cxn ang="0">
                  <a:pos x="connsiteX931" y="connsiteY931"/>
                </a:cxn>
                <a:cxn ang="0">
                  <a:pos x="connsiteX932" y="connsiteY932"/>
                </a:cxn>
                <a:cxn ang="0">
                  <a:pos x="connsiteX933" y="connsiteY933"/>
                </a:cxn>
                <a:cxn ang="0">
                  <a:pos x="connsiteX934" y="connsiteY934"/>
                </a:cxn>
                <a:cxn ang="0">
                  <a:pos x="connsiteX935" y="connsiteY935"/>
                </a:cxn>
                <a:cxn ang="0">
                  <a:pos x="connsiteX936" y="connsiteY936"/>
                </a:cxn>
                <a:cxn ang="0">
                  <a:pos x="connsiteX937" y="connsiteY937"/>
                </a:cxn>
                <a:cxn ang="0">
                  <a:pos x="connsiteX938" y="connsiteY938"/>
                </a:cxn>
                <a:cxn ang="0">
                  <a:pos x="connsiteX939" y="connsiteY939"/>
                </a:cxn>
                <a:cxn ang="0">
                  <a:pos x="connsiteX940" y="connsiteY940"/>
                </a:cxn>
                <a:cxn ang="0">
                  <a:pos x="connsiteX941" y="connsiteY941"/>
                </a:cxn>
                <a:cxn ang="0">
                  <a:pos x="connsiteX942" y="connsiteY942"/>
                </a:cxn>
                <a:cxn ang="0">
                  <a:pos x="connsiteX943" y="connsiteY943"/>
                </a:cxn>
                <a:cxn ang="0">
                  <a:pos x="connsiteX944" y="connsiteY944"/>
                </a:cxn>
                <a:cxn ang="0">
                  <a:pos x="connsiteX945" y="connsiteY945"/>
                </a:cxn>
                <a:cxn ang="0">
                  <a:pos x="connsiteX946" y="connsiteY946"/>
                </a:cxn>
                <a:cxn ang="0">
                  <a:pos x="connsiteX947" y="connsiteY947"/>
                </a:cxn>
                <a:cxn ang="0">
                  <a:pos x="connsiteX948" y="connsiteY948"/>
                </a:cxn>
                <a:cxn ang="0">
                  <a:pos x="connsiteX949" y="connsiteY949"/>
                </a:cxn>
                <a:cxn ang="0">
                  <a:pos x="connsiteX950" y="connsiteY950"/>
                </a:cxn>
                <a:cxn ang="0">
                  <a:pos x="connsiteX951" y="connsiteY951"/>
                </a:cxn>
                <a:cxn ang="0">
                  <a:pos x="connsiteX952" y="connsiteY952"/>
                </a:cxn>
                <a:cxn ang="0">
                  <a:pos x="connsiteX953" y="connsiteY953"/>
                </a:cxn>
                <a:cxn ang="0">
                  <a:pos x="connsiteX954" y="connsiteY954"/>
                </a:cxn>
                <a:cxn ang="0">
                  <a:pos x="connsiteX955" y="connsiteY955"/>
                </a:cxn>
                <a:cxn ang="0">
                  <a:pos x="connsiteX956" y="connsiteY956"/>
                </a:cxn>
                <a:cxn ang="0">
                  <a:pos x="connsiteX957" y="connsiteY957"/>
                </a:cxn>
                <a:cxn ang="0">
                  <a:pos x="connsiteX958" y="connsiteY958"/>
                </a:cxn>
                <a:cxn ang="0">
                  <a:pos x="connsiteX959" y="connsiteY959"/>
                </a:cxn>
                <a:cxn ang="0">
                  <a:pos x="connsiteX960" y="connsiteY960"/>
                </a:cxn>
                <a:cxn ang="0">
                  <a:pos x="connsiteX961" y="connsiteY961"/>
                </a:cxn>
                <a:cxn ang="0">
                  <a:pos x="connsiteX962" y="connsiteY962"/>
                </a:cxn>
                <a:cxn ang="0">
                  <a:pos x="connsiteX963" y="connsiteY963"/>
                </a:cxn>
                <a:cxn ang="0">
                  <a:pos x="connsiteX964" y="connsiteY964"/>
                </a:cxn>
                <a:cxn ang="0">
                  <a:pos x="connsiteX965" y="connsiteY965"/>
                </a:cxn>
                <a:cxn ang="0">
                  <a:pos x="connsiteX966" y="connsiteY966"/>
                </a:cxn>
                <a:cxn ang="0">
                  <a:pos x="connsiteX967" y="connsiteY967"/>
                </a:cxn>
                <a:cxn ang="0">
                  <a:pos x="connsiteX968" y="connsiteY968"/>
                </a:cxn>
                <a:cxn ang="0">
                  <a:pos x="connsiteX969" y="connsiteY969"/>
                </a:cxn>
                <a:cxn ang="0">
                  <a:pos x="connsiteX970" y="connsiteY970"/>
                </a:cxn>
                <a:cxn ang="0">
                  <a:pos x="connsiteX971" y="connsiteY971"/>
                </a:cxn>
                <a:cxn ang="0">
                  <a:pos x="connsiteX972" y="connsiteY972"/>
                </a:cxn>
                <a:cxn ang="0">
                  <a:pos x="connsiteX973" y="connsiteY973"/>
                </a:cxn>
                <a:cxn ang="0">
                  <a:pos x="connsiteX974" y="connsiteY974"/>
                </a:cxn>
                <a:cxn ang="0">
                  <a:pos x="connsiteX975" y="connsiteY975"/>
                </a:cxn>
                <a:cxn ang="0">
                  <a:pos x="connsiteX976" y="connsiteY976"/>
                </a:cxn>
                <a:cxn ang="0">
                  <a:pos x="connsiteX977" y="connsiteY977"/>
                </a:cxn>
                <a:cxn ang="0">
                  <a:pos x="connsiteX978" y="connsiteY978"/>
                </a:cxn>
                <a:cxn ang="0">
                  <a:pos x="connsiteX979" y="connsiteY979"/>
                </a:cxn>
                <a:cxn ang="0">
                  <a:pos x="connsiteX980" y="connsiteY980"/>
                </a:cxn>
                <a:cxn ang="0">
                  <a:pos x="connsiteX981" y="connsiteY981"/>
                </a:cxn>
                <a:cxn ang="0">
                  <a:pos x="connsiteX982" y="connsiteY982"/>
                </a:cxn>
                <a:cxn ang="0">
                  <a:pos x="connsiteX983" y="connsiteY983"/>
                </a:cxn>
                <a:cxn ang="0">
                  <a:pos x="connsiteX984" y="connsiteY984"/>
                </a:cxn>
                <a:cxn ang="0">
                  <a:pos x="connsiteX985" y="connsiteY985"/>
                </a:cxn>
                <a:cxn ang="0">
                  <a:pos x="connsiteX986" y="connsiteY986"/>
                </a:cxn>
                <a:cxn ang="0">
                  <a:pos x="connsiteX987" y="connsiteY987"/>
                </a:cxn>
                <a:cxn ang="0">
                  <a:pos x="connsiteX988" y="connsiteY988"/>
                </a:cxn>
                <a:cxn ang="0">
                  <a:pos x="connsiteX989" y="connsiteY989"/>
                </a:cxn>
                <a:cxn ang="0">
                  <a:pos x="connsiteX990" y="connsiteY990"/>
                </a:cxn>
                <a:cxn ang="0">
                  <a:pos x="connsiteX991" y="connsiteY991"/>
                </a:cxn>
                <a:cxn ang="0">
                  <a:pos x="connsiteX992" y="connsiteY992"/>
                </a:cxn>
                <a:cxn ang="0">
                  <a:pos x="connsiteX993" y="connsiteY993"/>
                </a:cxn>
                <a:cxn ang="0">
                  <a:pos x="connsiteX994" y="connsiteY994"/>
                </a:cxn>
                <a:cxn ang="0">
                  <a:pos x="connsiteX995" y="connsiteY995"/>
                </a:cxn>
                <a:cxn ang="0">
                  <a:pos x="connsiteX996" y="connsiteY996"/>
                </a:cxn>
                <a:cxn ang="0">
                  <a:pos x="connsiteX997" y="connsiteY997"/>
                </a:cxn>
                <a:cxn ang="0">
                  <a:pos x="connsiteX998" y="connsiteY998"/>
                </a:cxn>
                <a:cxn ang="0">
                  <a:pos x="connsiteX999" y="connsiteY999"/>
                </a:cxn>
                <a:cxn ang="0">
                  <a:pos x="connsiteX1000" y="connsiteY1000"/>
                </a:cxn>
                <a:cxn ang="0">
                  <a:pos x="connsiteX1001" y="connsiteY1001"/>
                </a:cxn>
                <a:cxn ang="0">
                  <a:pos x="connsiteX1002" y="connsiteY1002"/>
                </a:cxn>
                <a:cxn ang="0">
                  <a:pos x="connsiteX1003" y="connsiteY1003"/>
                </a:cxn>
                <a:cxn ang="0">
                  <a:pos x="connsiteX1004" y="connsiteY1004"/>
                </a:cxn>
                <a:cxn ang="0">
                  <a:pos x="connsiteX1005" y="connsiteY1005"/>
                </a:cxn>
                <a:cxn ang="0">
                  <a:pos x="connsiteX1006" y="connsiteY1006"/>
                </a:cxn>
                <a:cxn ang="0">
                  <a:pos x="connsiteX1007" y="connsiteY1007"/>
                </a:cxn>
                <a:cxn ang="0">
                  <a:pos x="connsiteX1008" y="connsiteY1008"/>
                </a:cxn>
                <a:cxn ang="0">
                  <a:pos x="connsiteX1009" y="connsiteY1009"/>
                </a:cxn>
                <a:cxn ang="0">
                  <a:pos x="connsiteX1010" y="connsiteY1010"/>
                </a:cxn>
                <a:cxn ang="0">
                  <a:pos x="connsiteX1011" y="connsiteY1011"/>
                </a:cxn>
                <a:cxn ang="0">
                  <a:pos x="connsiteX1012" y="connsiteY1012"/>
                </a:cxn>
                <a:cxn ang="0">
                  <a:pos x="connsiteX1013" y="connsiteY1013"/>
                </a:cxn>
                <a:cxn ang="0">
                  <a:pos x="connsiteX1014" y="connsiteY1014"/>
                </a:cxn>
                <a:cxn ang="0">
                  <a:pos x="connsiteX1015" y="connsiteY1015"/>
                </a:cxn>
                <a:cxn ang="0">
                  <a:pos x="connsiteX1016" y="connsiteY1016"/>
                </a:cxn>
                <a:cxn ang="0">
                  <a:pos x="connsiteX1017" y="connsiteY1017"/>
                </a:cxn>
                <a:cxn ang="0">
                  <a:pos x="connsiteX1018" y="connsiteY1018"/>
                </a:cxn>
                <a:cxn ang="0">
                  <a:pos x="connsiteX1019" y="connsiteY1019"/>
                </a:cxn>
                <a:cxn ang="0">
                  <a:pos x="connsiteX1020" y="connsiteY1020"/>
                </a:cxn>
                <a:cxn ang="0">
                  <a:pos x="connsiteX1021" y="connsiteY1021"/>
                </a:cxn>
                <a:cxn ang="0">
                  <a:pos x="connsiteX1022" y="connsiteY1022"/>
                </a:cxn>
                <a:cxn ang="0">
                  <a:pos x="connsiteX1023" y="connsiteY1023"/>
                </a:cxn>
                <a:cxn ang="0">
                  <a:pos x="connsiteX1024" y="connsiteY1024"/>
                </a:cxn>
                <a:cxn ang="0">
                  <a:pos x="connsiteX1025" y="connsiteY1025"/>
                </a:cxn>
                <a:cxn ang="0">
                  <a:pos x="connsiteX1026" y="connsiteY1026"/>
                </a:cxn>
                <a:cxn ang="0">
                  <a:pos x="connsiteX1027" y="connsiteY1027"/>
                </a:cxn>
                <a:cxn ang="0">
                  <a:pos x="connsiteX1028" y="connsiteY1028"/>
                </a:cxn>
                <a:cxn ang="0">
                  <a:pos x="connsiteX1029" y="connsiteY1029"/>
                </a:cxn>
                <a:cxn ang="0">
                  <a:pos x="connsiteX1030" y="connsiteY1030"/>
                </a:cxn>
                <a:cxn ang="0">
                  <a:pos x="connsiteX1031" y="connsiteY1031"/>
                </a:cxn>
                <a:cxn ang="0">
                  <a:pos x="connsiteX1032" y="connsiteY1032"/>
                </a:cxn>
                <a:cxn ang="0">
                  <a:pos x="connsiteX1033" y="connsiteY1033"/>
                </a:cxn>
                <a:cxn ang="0">
                  <a:pos x="connsiteX1034" y="connsiteY1034"/>
                </a:cxn>
                <a:cxn ang="0">
                  <a:pos x="connsiteX1035" y="connsiteY1035"/>
                </a:cxn>
                <a:cxn ang="0">
                  <a:pos x="connsiteX1036" y="connsiteY1036"/>
                </a:cxn>
                <a:cxn ang="0">
                  <a:pos x="connsiteX1037" y="connsiteY1037"/>
                </a:cxn>
                <a:cxn ang="0">
                  <a:pos x="connsiteX1038" y="connsiteY1038"/>
                </a:cxn>
                <a:cxn ang="0">
                  <a:pos x="connsiteX1039" y="connsiteY1039"/>
                </a:cxn>
                <a:cxn ang="0">
                  <a:pos x="connsiteX1040" y="connsiteY1040"/>
                </a:cxn>
                <a:cxn ang="0">
                  <a:pos x="connsiteX1041" y="connsiteY1041"/>
                </a:cxn>
                <a:cxn ang="0">
                  <a:pos x="connsiteX1042" y="connsiteY1042"/>
                </a:cxn>
                <a:cxn ang="0">
                  <a:pos x="connsiteX1043" y="connsiteY1043"/>
                </a:cxn>
                <a:cxn ang="0">
                  <a:pos x="connsiteX1044" y="connsiteY1044"/>
                </a:cxn>
                <a:cxn ang="0">
                  <a:pos x="connsiteX1045" y="connsiteY1045"/>
                </a:cxn>
                <a:cxn ang="0">
                  <a:pos x="connsiteX1046" y="connsiteY1046"/>
                </a:cxn>
                <a:cxn ang="0">
                  <a:pos x="connsiteX1047" y="connsiteY1047"/>
                </a:cxn>
                <a:cxn ang="0">
                  <a:pos x="connsiteX1048" y="connsiteY1048"/>
                </a:cxn>
                <a:cxn ang="0">
                  <a:pos x="connsiteX1049" y="connsiteY1049"/>
                </a:cxn>
                <a:cxn ang="0">
                  <a:pos x="connsiteX1050" y="connsiteY1050"/>
                </a:cxn>
                <a:cxn ang="0">
                  <a:pos x="connsiteX1051" y="connsiteY1051"/>
                </a:cxn>
                <a:cxn ang="0">
                  <a:pos x="connsiteX1052" y="connsiteY1052"/>
                </a:cxn>
                <a:cxn ang="0">
                  <a:pos x="connsiteX1053" y="connsiteY1053"/>
                </a:cxn>
                <a:cxn ang="0">
                  <a:pos x="connsiteX1054" y="connsiteY1054"/>
                </a:cxn>
                <a:cxn ang="0">
                  <a:pos x="connsiteX1055" y="connsiteY1055"/>
                </a:cxn>
                <a:cxn ang="0">
                  <a:pos x="connsiteX1056" y="connsiteY1056"/>
                </a:cxn>
                <a:cxn ang="0">
                  <a:pos x="connsiteX1057" y="connsiteY1057"/>
                </a:cxn>
                <a:cxn ang="0">
                  <a:pos x="connsiteX1058" y="connsiteY1058"/>
                </a:cxn>
                <a:cxn ang="0">
                  <a:pos x="connsiteX1059" y="connsiteY1059"/>
                </a:cxn>
                <a:cxn ang="0">
                  <a:pos x="connsiteX1060" y="connsiteY1060"/>
                </a:cxn>
                <a:cxn ang="0">
                  <a:pos x="connsiteX1061" y="connsiteY1061"/>
                </a:cxn>
                <a:cxn ang="0">
                  <a:pos x="connsiteX1062" y="connsiteY1062"/>
                </a:cxn>
                <a:cxn ang="0">
                  <a:pos x="connsiteX1063" y="connsiteY1063"/>
                </a:cxn>
                <a:cxn ang="0">
                  <a:pos x="connsiteX1064" y="connsiteY1064"/>
                </a:cxn>
                <a:cxn ang="0">
                  <a:pos x="connsiteX1065" y="connsiteY1065"/>
                </a:cxn>
                <a:cxn ang="0">
                  <a:pos x="connsiteX1066" y="connsiteY1066"/>
                </a:cxn>
                <a:cxn ang="0">
                  <a:pos x="connsiteX1067" y="connsiteY1067"/>
                </a:cxn>
                <a:cxn ang="0">
                  <a:pos x="connsiteX1068" y="connsiteY1068"/>
                </a:cxn>
                <a:cxn ang="0">
                  <a:pos x="connsiteX1069" y="connsiteY1069"/>
                </a:cxn>
                <a:cxn ang="0">
                  <a:pos x="connsiteX1070" y="connsiteY1070"/>
                </a:cxn>
                <a:cxn ang="0">
                  <a:pos x="connsiteX1071" y="connsiteY1071"/>
                </a:cxn>
                <a:cxn ang="0">
                  <a:pos x="connsiteX1072" y="connsiteY1072"/>
                </a:cxn>
                <a:cxn ang="0">
                  <a:pos x="connsiteX1073" y="connsiteY1073"/>
                </a:cxn>
                <a:cxn ang="0">
                  <a:pos x="connsiteX1074" y="connsiteY1074"/>
                </a:cxn>
                <a:cxn ang="0">
                  <a:pos x="connsiteX1075" y="connsiteY1075"/>
                </a:cxn>
                <a:cxn ang="0">
                  <a:pos x="connsiteX1076" y="connsiteY1076"/>
                </a:cxn>
                <a:cxn ang="0">
                  <a:pos x="connsiteX1077" y="connsiteY1077"/>
                </a:cxn>
                <a:cxn ang="0">
                  <a:pos x="connsiteX1078" y="connsiteY1078"/>
                </a:cxn>
                <a:cxn ang="0">
                  <a:pos x="connsiteX1079" y="connsiteY1079"/>
                </a:cxn>
                <a:cxn ang="0">
                  <a:pos x="connsiteX1080" y="connsiteY1080"/>
                </a:cxn>
                <a:cxn ang="0">
                  <a:pos x="connsiteX1081" y="connsiteY1081"/>
                </a:cxn>
                <a:cxn ang="0">
                  <a:pos x="connsiteX1082" y="connsiteY1082"/>
                </a:cxn>
                <a:cxn ang="0">
                  <a:pos x="connsiteX1083" y="connsiteY1083"/>
                </a:cxn>
                <a:cxn ang="0">
                  <a:pos x="connsiteX1084" y="connsiteY1084"/>
                </a:cxn>
                <a:cxn ang="0">
                  <a:pos x="connsiteX1085" y="connsiteY1085"/>
                </a:cxn>
                <a:cxn ang="0">
                  <a:pos x="connsiteX1086" y="connsiteY1086"/>
                </a:cxn>
                <a:cxn ang="0">
                  <a:pos x="connsiteX1087" y="connsiteY1087"/>
                </a:cxn>
                <a:cxn ang="0">
                  <a:pos x="connsiteX1088" y="connsiteY1088"/>
                </a:cxn>
                <a:cxn ang="0">
                  <a:pos x="connsiteX1089" y="connsiteY1089"/>
                </a:cxn>
                <a:cxn ang="0">
                  <a:pos x="connsiteX1090" y="connsiteY1090"/>
                </a:cxn>
                <a:cxn ang="0">
                  <a:pos x="connsiteX1091" y="connsiteY1091"/>
                </a:cxn>
                <a:cxn ang="0">
                  <a:pos x="connsiteX1092" y="connsiteY1092"/>
                </a:cxn>
                <a:cxn ang="0">
                  <a:pos x="connsiteX1093" y="connsiteY1093"/>
                </a:cxn>
                <a:cxn ang="0">
                  <a:pos x="connsiteX1094" y="connsiteY1094"/>
                </a:cxn>
                <a:cxn ang="0">
                  <a:pos x="connsiteX1095" y="connsiteY1095"/>
                </a:cxn>
                <a:cxn ang="0">
                  <a:pos x="connsiteX1096" y="connsiteY1096"/>
                </a:cxn>
                <a:cxn ang="0">
                  <a:pos x="connsiteX1097" y="connsiteY1097"/>
                </a:cxn>
                <a:cxn ang="0">
                  <a:pos x="connsiteX1098" y="connsiteY1098"/>
                </a:cxn>
                <a:cxn ang="0">
                  <a:pos x="connsiteX1099" y="connsiteY1099"/>
                </a:cxn>
                <a:cxn ang="0">
                  <a:pos x="connsiteX1100" y="connsiteY1100"/>
                </a:cxn>
                <a:cxn ang="0">
                  <a:pos x="connsiteX1101" y="connsiteY1101"/>
                </a:cxn>
                <a:cxn ang="0">
                  <a:pos x="connsiteX1102" y="connsiteY1102"/>
                </a:cxn>
                <a:cxn ang="0">
                  <a:pos x="connsiteX1103" y="connsiteY1103"/>
                </a:cxn>
                <a:cxn ang="0">
                  <a:pos x="connsiteX1104" y="connsiteY1104"/>
                </a:cxn>
                <a:cxn ang="0">
                  <a:pos x="connsiteX1105" y="connsiteY1105"/>
                </a:cxn>
                <a:cxn ang="0">
                  <a:pos x="connsiteX1106" y="connsiteY1106"/>
                </a:cxn>
                <a:cxn ang="0">
                  <a:pos x="connsiteX1107" y="connsiteY1107"/>
                </a:cxn>
                <a:cxn ang="0">
                  <a:pos x="connsiteX1108" y="connsiteY1108"/>
                </a:cxn>
                <a:cxn ang="0">
                  <a:pos x="connsiteX1109" y="connsiteY1109"/>
                </a:cxn>
                <a:cxn ang="0">
                  <a:pos x="connsiteX1110" y="connsiteY1110"/>
                </a:cxn>
                <a:cxn ang="0">
                  <a:pos x="connsiteX1111" y="connsiteY1111"/>
                </a:cxn>
                <a:cxn ang="0">
                  <a:pos x="connsiteX1112" y="connsiteY1112"/>
                </a:cxn>
                <a:cxn ang="0">
                  <a:pos x="connsiteX1113" y="connsiteY1113"/>
                </a:cxn>
                <a:cxn ang="0">
                  <a:pos x="connsiteX1114" y="connsiteY1114"/>
                </a:cxn>
                <a:cxn ang="0">
                  <a:pos x="connsiteX1115" y="connsiteY1115"/>
                </a:cxn>
                <a:cxn ang="0">
                  <a:pos x="connsiteX1116" y="connsiteY1116"/>
                </a:cxn>
                <a:cxn ang="0">
                  <a:pos x="connsiteX1117" y="connsiteY1117"/>
                </a:cxn>
                <a:cxn ang="0">
                  <a:pos x="connsiteX1118" y="connsiteY1118"/>
                </a:cxn>
                <a:cxn ang="0">
                  <a:pos x="connsiteX1119" y="connsiteY1119"/>
                </a:cxn>
                <a:cxn ang="0">
                  <a:pos x="connsiteX1120" y="connsiteY1120"/>
                </a:cxn>
                <a:cxn ang="0">
                  <a:pos x="connsiteX1121" y="connsiteY1121"/>
                </a:cxn>
                <a:cxn ang="0">
                  <a:pos x="connsiteX1122" y="connsiteY1122"/>
                </a:cxn>
                <a:cxn ang="0">
                  <a:pos x="connsiteX1123" y="connsiteY1123"/>
                </a:cxn>
                <a:cxn ang="0">
                  <a:pos x="connsiteX1124" y="connsiteY1124"/>
                </a:cxn>
                <a:cxn ang="0">
                  <a:pos x="connsiteX1125" y="connsiteY1125"/>
                </a:cxn>
                <a:cxn ang="0">
                  <a:pos x="connsiteX1126" y="connsiteY1126"/>
                </a:cxn>
                <a:cxn ang="0">
                  <a:pos x="connsiteX1127" y="connsiteY1127"/>
                </a:cxn>
                <a:cxn ang="0">
                  <a:pos x="connsiteX1128" y="connsiteY1128"/>
                </a:cxn>
                <a:cxn ang="0">
                  <a:pos x="connsiteX1129" y="connsiteY1129"/>
                </a:cxn>
                <a:cxn ang="0">
                  <a:pos x="connsiteX1130" y="connsiteY1130"/>
                </a:cxn>
                <a:cxn ang="0">
                  <a:pos x="connsiteX1131" y="connsiteY1131"/>
                </a:cxn>
                <a:cxn ang="0">
                  <a:pos x="connsiteX1132" y="connsiteY1132"/>
                </a:cxn>
                <a:cxn ang="0">
                  <a:pos x="connsiteX1133" y="connsiteY1133"/>
                </a:cxn>
                <a:cxn ang="0">
                  <a:pos x="connsiteX1134" y="connsiteY1134"/>
                </a:cxn>
                <a:cxn ang="0">
                  <a:pos x="connsiteX1135" y="connsiteY1135"/>
                </a:cxn>
                <a:cxn ang="0">
                  <a:pos x="connsiteX1136" y="connsiteY1136"/>
                </a:cxn>
                <a:cxn ang="0">
                  <a:pos x="connsiteX1137" y="connsiteY1137"/>
                </a:cxn>
                <a:cxn ang="0">
                  <a:pos x="connsiteX1138" y="connsiteY1138"/>
                </a:cxn>
                <a:cxn ang="0">
                  <a:pos x="connsiteX1139" y="connsiteY1139"/>
                </a:cxn>
                <a:cxn ang="0">
                  <a:pos x="connsiteX1140" y="connsiteY1140"/>
                </a:cxn>
                <a:cxn ang="0">
                  <a:pos x="connsiteX1141" y="connsiteY1141"/>
                </a:cxn>
                <a:cxn ang="0">
                  <a:pos x="connsiteX1142" y="connsiteY1142"/>
                </a:cxn>
                <a:cxn ang="0">
                  <a:pos x="connsiteX1143" y="connsiteY1143"/>
                </a:cxn>
                <a:cxn ang="0">
                  <a:pos x="connsiteX1144" y="connsiteY1144"/>
                </a:cxn>
                <a:cxn ang="0">
                  <a:pos x="connsiteX1145" y="connsiteY1145"/>
                </a:cxn>
                <a:cxn ang="0">
                  <a:pos x="connsiteX1146" y="connsiteY1146"/>
                </a:cxn>
                <a:cxn ang="0">
                  <a:pos x="connsiteX1147" y="connsiteY1147"/>
                </a:cxn>
                <a:cxn ang="0">
                  <a:pos x="connsiteX1148" y="connsiteY1148"/>
                </a:cxn>
                <a:cxn ang="0">
                  <a:pos x="connsiteX1149" y="connsiteY1149"/>
                </a:cxn>
                <a:cxn ang="0">
                  <a:pos x="connsiteX1150" y="connsiteY1150"/>
                </a:cxn>
                <a:cxn ang="0">
                  <a:pos x="connsiteX1151" y="connsiteY1151"/>
                </a:cxn>
                <a:cxn ang="0">
                  <a:pos x="connsiteX1152" y="connsiteY1152"/>
                </a:cxn>
                <a:cxn ang="0">
                  <a:pos x="connsiteX1153" y="connsiteY1153"/>
                </a:cxn>
                <a:cxn ang="0">
                  <a:pos x="connsiteX1154" y="connsiteY1154"/>
                </a:cxn>
                <a:cxn ang="0">
                  <a:pos x="connsiteX1155" y="connsiteY1155"/>
                </a:cxn>
                <a:cxn ang="0">
                  <a:pos x="connsiteX1156" y="connsiteY1156"/>
                </a:cxn>
                <a:cxn ang="0">
                  <a:pos x="connsiteX1157" y="connsiteY1157"/>
                </a:cxn>
                <a:cxn ang="0">
                  <a:pos x="connsiteX1158" y="connsiteY1158"/>
                </a:cxn>
                <a:cxn ang="0">
                  <a:pos x="connsiteX1159" y="connsiteY1159"/>
                </a:cxn>
                <a:cxn ang="0">
                  <a:pos x="connsiteX1160" y="connsiteY1160"/>
                </a:cxn>
                <a:cxn ang="0">
                  <a:pos x="connsiteX1161" y="connsiteY1161"/>
                </a:cxn>
                <a:cxn ang="0">
                  <a:pos x="connsiteX1162" y="connsiteY1162"/>
                </a:cxn>
                <a:cxn ang="0">
                  <a:pos x="connsiteX1163" y="connsiteY1163"/>
                </a:cxn>
                <a:cxn ang="0">
                  <a:pos x="connsiteX1164" y="connsiteY1164"/>
                </a:cxn>
                <a:cxn ang="0">
                  <a:pos x="connsiteX1165" y="connsiteY1165"/>
                </a:cxn>
                <a:cxn ang="0">
                  <a:pos x="connsiteX1166" y="connsiteY1166"/>
                </a:cxn>
                <a:cxn ang="0">
                  <a:pos x="connsiteX1167" y="connsiteY1167"/>
                </a:cxn>
                <a:cxn ang="0">
                  <a:pos x="connsiteX1168" y="connsiteY1168"/>
                </a:cxn>
                <a:cxn ang="0">
                  <a:pos x="connsiteX1169" y="connsiteY1169"/>
                </a:cxn>
                <a:cxn ang="0">
                  <a:pos x="connsiteX1170" y="connsiteY1170"/>
                </a:cxn>
                <a:cxn ang="0">
                  <a:pos x="connsiteX1171" y="connsiteY1171"/>
                </a:cxn>
                <a:cxn ang="0">
                  <a:pos x="connsiteX1172" y="connsiteY1172"/>
                </a:cxn>
                <a:cxn ang="0">
                  <a:pos x="connsiteX1173" y="connsiteY1173"/>
                </a:cxn>
                <a:cxn ang="0">
                  <a:pos x="connsiteX1174" y="connsiteY1174"/>
                </a:cxn>
                <a:cxn ang="0">
                  <a:pos x="connsiteX1175" y="connsiteY1175"/>
                </a:cxn>
                <a:cxn ang="0">
                  <a:pos x="connsiteX1176" y="connsiteY1176"/>
                </a:cxn>
                <a:cxn ang="0">
                  <a:pos x="connsiteX1177" y="connsiteY1177"/>
                </a:cxn>
                <a:cxn ang="0">
                  <a:pos x="connsiteX1178" y="connsiteY1178"/>
                </a:cxn>
                <a:cxn ang="0">
                  <a:pos x="connsiteX1179" y="connsiteY1179"/>
                </a:cxn>
                <a:cxn ang="0">
                  <a:pos x="connsiteX1180" y="connsiteY1180"/>
                </a:cxn>
                <a:cxn ang="0">
                  <a:pos x="connsiteX1181" y="connsiteY1181"/>
                </a:cxn>
                <a:cxn ang="0">
                  <a:pos x="connsiteX1182" y="connsiteY1182"/>
                </a:cxn>
                <a:cxn ang="0">
                  <a:pos x="connsiteX1183" y="connsiteY1183"/>
                </a:cxn>
                <a:cxn ang="0">
                  <a:pos x="connsiteX1184" y="connsiteY1184"/>
                </a:cxn>
                <a:cxn ang="0">
                  <a:pos x="connsiteX1185" y="connsiteY1185"/>
                </a:cxn>
                <a:cxn ang="0">
                  <a:pos x="connsiteX1186" y="connsiteY1186"/>
                </a:cxn>
                <a:cxn ang="0">
                  <a:pos x="connsiteX1187" y="connsiteY1187"/>
                </a:cxn>
                <a:cxn ang="0">
                  <a:pos x="connsiteX1188" y="connsiteY1188"/>
                </a:cxn>
                <a:cxn ang="0">
                  <a:pos x="connsiteX1189" y="connsiteY1189"/>
                </a:cxn>
                <a:cxn ang="0">
                  <a:pos x="connsiteX1190" y="connsiteY1190"/>
                </a:cxn>
                <a:cxn ang="0">
                  <a:pos x="connsiteX1191" y="connsiteY1191"/>
                </a:cxn>
                <a:cxn ang="0">
                  <a:pos x="connsiteX1192" y="connsiteY1192"/>
                </a:cxn>
                <a:cxn ang="0">
                  <a:pos x="connsiteX1193" y="connsiteY1193"/>
                </a:cxn>
                <a:cxn ang="0">
                  <a:pos x="connsiteX1194" y="connsiteY1194"/>
                </a:cxn>
                <a:cxn ang="0">
                  <a:pos x="connsiteX1195" y="connsiteY1195"/>
                </a:cxn>
                <a:cxn ang="0">
                  <a:pos x="connsiteX1196" y="connsiteY1196"/>
                </a:cxn>
                <a:cxn ang="0">
                  <a:pos x="connsiteX1197" y="connsiteY1197"/>
                </a:cxn>
                <a:cxn ang="0">
                  <a:pos x="connsiteX1198" y="connsiteY1198"/>
                </a:cxn>
                <a:cxn ang="0">
                  <a:pos x="connsiteX1199" y="connsiteY1199"/>
                </a:cxn>
                <a:cxn ang="0">
                  <a:pos x="connsiteX1200" y="connsiteY1200"/>
                </a:cxn>
                <a:cxn ang="0">
                  <a:pos x="connsiteX1201" y="connsiteY1201"/>
                </a:cxn>
                <a:cxn ang="0">
                  <a:pos x="connsiteX1202" y="connsiteY1202"/>
                </a:cxn>
                <a:cxn ang="0">
                  <a:pos x="connsiteX1203" y="connsiteY1203"/>
                </a:cxn>
                <a:cxn ang="0">
                  <a:pos x="connsiteX1204" y="connsiteY1204"/>
                </a:cxn>
                <a:cxn ang="0">
                  <a:pos x="connsiteX1205" y="connsiteY1205"/>
                </a:cxn>
                <a:cxn ang="0">
                  <a:pos x="connsiteX1206" y="connsiteY1206"/>
                </a:cxn>
                <a:cxn ang="0">
                  <a:pos x="connsiteX1207" y="connsiteY1207"/>
                </a:cxn>
                <a:cxn ang="0">
                  <a:pos x="connsiteX1208" y="connsiteY1208"/>
                </a:cxn>
                <a:cxn ang="0">
                  <a:pos x="connsiteX1209" y="connsiteY1209"/>
                </a:cxn>
                <a:cxn ang="0">
                  <a:pos x="connsiteX1210" y="connsiteY1210"/>
                </a:cxn>
                <a:cxn ang="0">
                  <a:pos x="connsiteX1211" y="connsiteY1211"/>
                </a:cxn>
                <a:cxn ang="0">
                  <a:pos x="connsiteX1212" y="connsiteY1212"/>
                </a:cxn>
                <a:cxn ang="0">
                  <a:pos x="connsiteX1213" y="connsiteY1213"/>
                </a:cxn>
                <a:cxn ang="0">
                  <a:pos x="connsiteX1214" y="connsiteY1214"/>
                </a:cxn>
                <a:cxn ang="0">
                  <a:pos x="connsiteX1215" y="connsiteY1215"/>
                </a:cxn>
                <a:cxn ang="0">
                  <a:pos x="connsiteX1216" y="connsiteY1216"/>
                </a:cxn>
                <a:cxn ang="0">
                  <a:pos x="connsiteX1217" y="connsiteY1217"/>
                </a:cxn>
                <a:cxn ang="0">
                  <a:pos x="connsiteX1218" y="connsiteY1218"/>
                </a:cxn>
                <a:cxn ang="0">
                  <a:pos x="connsiteX1219" y="connsiteY1219"/>
                </a:cxn>
                <a:cxn ang="0">
                  <a:pos x="connsiteX1220" y="connsiteY1220"/>
                </a:cxn>
                <a:cxn ang="0">
                  <a:pos x="connsiteX1221" y="connsiteY1221"/>
                </a:cxn>
                <a:cxn ang="0">
                  <a:pos x="connsiteX1222" y="connsiteY1222"/>
                </a:cxn>
                <a:cxn ang="0">
                  <a:pos x="connsiteX1223" y="connsiteY1223"/>
                </a:cxn>
                <a:cxn ang="0">
                  <a:pos x="connsiteX1224" y="connsiteY1224"/>
                </a:cxn>
                <a:cxn ang="0">
                  <a:pos x="connsiteX1225" y="connsiteY1225"/>
                </a:cxn>
                <a:cxn ang="0">
                  <a:pos x="connsiteX1226" y="connsiteY1226"/>
                </a:cxn>
                <a:cxn ang="0">
                  <a:pos x="connsiteX1227" y="connsiteY1227"/>
                </a:cxn>
                <a:cxn ang="0">
                  <a:pos x="connsiteX1228" y="connsiteY1228"/>
                </a:cxn>
                <a:cxn ang="0">
                  <a:pos x="connsiteX1229" y="connsiteY1229"/>
                </a:cxn>
                <a:cxn ang="0">
                  <a:pos x="connsiteX1230" y="connsiteY1230"/>
                </a:cxn>
                <a:cxn ang="0">
                  <a:pos x="connsiteX1231" y="connsiteY1231"/>
                </a:cxn>
                <a:cxn ang="0">
                  <a:pos x="connsiteX1232" y="connsiteY1232"/>
                </a:cxn>
                <a:cxn ang="0">
                  <a:pos x="connsiteX1233" y="connsiteY1233"/>
                </a:cxn>
                <a:cxn ang="0">
                  <a:pos x="connsiteX1234" y="connsiteY1234"/>
                </a:cxn>
                <a:cxn ang="0">
                  <a:pos x="connsiteX1235" y="connsiteY1235"/>
                </a:cxn>
                <a:cxn ang="0">
                  <a:pos x="connsiteX1236" y="connsiteY1236"/>
                </a:cxn>
                <a:cxn ang="0">
                  <a:pos x="connsiteX1237" y="connsiteY1237"/>
                </a:cxn>
                <a:cxn ang="0">
                  <a:pos x="connsiteX1238" y="connsiteY1238"/>
                </a:cxn>
                <a:cxn ang="0">
                  <a:pos x="connsiteX1239" y="connsiteY1239"/>
                </a:cxn>
                <a:cxn ang="0">
                  <a:pos x="connsiteX1240" y="connsiteY1240"/>
                </a:cxn>
                <a:cxn ang="0">
                  <a:pos x="connsiteX1241" y="connsiteY1241"/>
                </a:cxn>
                <a:cxn ang="0">
                  <a:pos x="connsiteX1242" y="connsiteY1242"/>
                </a:cxn>
                <a:cxn ang="0">
                  <a:pos x="connsiteX1243" y="connsiteY1243"/>
                </a:cxn>
                <a:cxn ang="0">
                  <a:pos x="connsiteX1244" y="connsiteY1244"/>
                </a:cxn>
                <a:cxn ang="0">
                  <a:pos x="connsiteX1245" y="connsiteY1245"/>
                </a:cxn>
                <a:cxn ang="0">
                  <a:pos x="connsiteX1246" y="connsiteY1246"/>
                </a:cxn>
                <a:cxn ang="0">
                  <a:pos x="connsiteX1247" y="connsiteY1247"/>
                </a:cxn>
                <a:cxn ang="0">
                  <a:pos x="connsiteX1248" y="connsiteY1248"/>
                </a:cxn>
                <a:cxn ang="0">
                  <a:pos x="connsiteX1249" y="connsiteY1249"/>
                </a:cxn>
                <a:cxn ang="0">
                  <a:pos x="connsiteX1250" y="connsiteY1250"/>
                </a:cxn>
                <a:cxn ang="0">
                  <a:pos x="connsiteX1251" y="connsiteY1251"/>
                </a:cxn>
                <a:cxn ang="0">
                  <a:pos x="connsiteX1252" y="connsiteY1252"/>
                </a:cxn>
                <a:cxn ang="0">
                  <a:pos x="connsiteX1253" y="connsiteY1253"/>
                </a:cxn>
                <a:cxn ang="0">
                  <a:pos x="connsiteX1254" y="connsiteY1254"/>
                </a:cxn>
                <a:cxn ang="0">
                  <a:pos x="connsiteX1255" y="connsiteY1255"/>
                </a:cxn>
                <a:cxn ang="0">
                  <a:pos x="connsiteX1256" y="connsiteY1256"/>
                </a:cxn>
                <a:cxn ang="0">
                  <a:pos x="connsiteX1257" y="connsiteY1257"/>
                </a:cxn>
                <a:cxn ang="0">
                  <a:pos x="connsiteX1258" y="connsiteY1258"/>
                </a:cxn>
                <a:cxn ang="0">
                  <a:pos x="connsiteX1259" y="connsiteY1259"/>
                </a:cxn>
                <a:cxn ang="0">
                  <a:pos x="connsiteX1260" y="connsiteY1260"/>
                </a:cxn>
                <a:cxn ang="0">
                  <a:pos x="connsiteX1261" y="connsiteY1261"/>
                </a:cxn>
                <a:cxn ang="0">
                  <a:pos x="connsiteX1262" y="connsiteY1262"/>
                </a:cxn>
                <a:cxn ang="0">
                  <a:pos x="connsiteX1263" y="connsiteY1263"/>
                </a:cxn>
                <a:cxn ang="0">
                  <a:pos x="connsiteX1264" y="connsiteY1264"/>
                </a:cxn>
                <a:cxn ang="0">
                  <a:pos x="connsiteX1265" y="connsiteY1265"/>
                </a:cxn>
                <a:cxn ang="0">
                  <a:pos x="connsiteX1266" y="connsiteY1266"/>
                </a:cxn>
                <a:cxn ang="0">
                  <a:pos x="connsiteX1267" y="connsiteY1267"/>
                </a:cxn>
                <a:cxn ang="0">
                  <a:pos x="connsiteX1268" y="connsiteY1268"/>
                </a:cxn>
                <a:cxn ang="0">
                  <a:pos x="connsiteX1269" y="connsiteY1269"/>
                </a:cxn>
                <a:cxn ang="0">
                  <a:pos x="connsiteX1270" y="connsiteY1270"/>
                </a:cxn>
                <a:cxn ang="0">
                  <a:pos x="connsiteX1271" y="connsiteY1271"/>
                </a:cxn>
                <a:cxn ang="0">
                  <a:pos x="connsiteX1272" y="connsiteY1272"/>
                </a:cxn>
                <a:cxn ang="0">
                  <a:pos x="connsiteX1273" y="connsiteY1273"/>
                </a:cxn>
                <a:cxn ang="0">
                  <a:pos x="connsiteX1274" y="connsiteY1274"/>
                </a:cxn>
                <a:cxn ang="0">
                  <a:pos x="connsiteX1275" y="connsiteY1275"/>
                </a:cxn>
                <a:cxn ang="0">
                  <a:pos x="connsiteX1276" y="connsiteY1276"/>
                </a:cxn>
                <a:cxn ang="0">
                  <a:pos x="connsiteX1277" y="connsiteY1277"/>
                </a:cxn>
                <a:cxn ang="0">
                  <a:pos x="connsiteX1278" y="connsiteY1278"/>
                </a:cxn>
                <a:cxn ang="0">
                  <a:pos x="connsiteX1279" y="connsiteY1279"/>
                </a:cxn>
                <a:cxn ang="0">
                  <a:pos x="connsiteX1280" y="connsiteY1280"/>
                </a:cxn>
                <a:cxn ang="0">
                  <a:pos x="connsiteX1281" y="connsiteY1281"/>
                </a:cxn>
                <a:cxn ang="0">
                  <a:pos x="connsiteX1282" y="connsiteY1282"/>
                </a:cxn>
                <a:cxn ang="0">
                  <a:pos x="connsiteX1283" y="connsiteY1283"/>
                </a:cxn>
                <a:cxn ang="0">
                  <a:pos x="connsiteX1284" y="connsiteY1284"/>
                </a:cxn>
                <a:cxn ang="0">
                  <a:pos x="connsiteX1285" y="connsiteY1285"/>
                </a:cxn>
                <a:cxn ang="0">
                  <a:pos x="connsiteX1286" y="connsiteY1286"/>
                </a:cxn>
                <a:cxn ang="0">
                  <a:pos x="connsiteX1287" y="connsiteY1287"/>
                </a:cxn>
                <a:cxn ang="0">
                  <a:pos x="connsiteX1288" y="connsiteY1288"/>
                </a:cxn>
                <a:cxn ang="0">
                  <a:pos x="connsiteX1289" y="connsiteY1289"/>
                </a:cxn>
                <a:cxn ang="0">
                  <a:pos x="connsiteX1290" y="connsiteY1290"/>
                </a:cxn>
                <a:cxn ang="0">
                  <a:pos x="connsiteX1291" y="connsiteY1291"/>
                </a:cxn>
                <a:cxn ang="0">
                  <a:pos x="connsiteX1292" y="connsiteY1292"/>
                </a:cxn>
                <a:cxn ang="0">
                  <a:pos x="connsiteX1293" y="connsiteY1293"/>
                </a:cxn>
                <a:cxn ang="0">
                  <a:pos x="connsiteX1294" y="connsiteY1294"/>
                </a:cxn>
                <a:cxn ang="0">
                  <a:pos x="connsiteX1295" y="connsiteY1295"/>
                </a:cxn>
                <a:cxn ang="0">
                  <a:pos x="connsiteX1296" y="connsiteY1296"/>
                </a:cxn>
                <a:cxn ang="0">
                  <a:pos x="connsiteX1297" y="connsiteY1297"/>
                </a:cxn>
                <a:cxn ang="0">
                  <a:pos x="connsiteX1298" y="connsiteY1298"/>
                </a:cxn>
                <a:cxn ang="0">
                  <a:pos x="connsiteX1299" y="connsiteY1299"/>
                </a:cxn>
                <a:cxn ang="0">
                  <a:pos x="connsiteX1300" y="connsiteY1300"/>
                </a:cxn>
                <a:cxn ang="0">
                  <a:pos x="connsiteX1301" y="connsiteY1301"/>
                </a:cxn>
                <a:cxn ang="0">
                  <a:pos x="connsiteX1302" y="connsiteY1302"/>
                </a:cxn>
                <a:cxn ang="0">
                  <a:pos x="connsiteX1303" y="connsiteY1303"/>
                </a:cxn>
                <a:cxn ang="0">
                  <a:pos x="connsiteX1304" y="connsiteY1304"/>
                </a:cxn>
                <a:cxn ang="0">
                  <a:pos x="connsiteX1305" y="connsiteY1305"/>
                </a:cxn>
                <a:cxn ang="0">
                  <a:pos x="connsiteX1306" y="connsiteY1306"/>
                </a:cxn>
                <a:cxn ang="0">
                  <a:pos x="connsiteX1307" y="connsiteY1307"/>
                </a:cxn>
                <a:cxn ang="0">
                  <a:pos x="connsiteX1308" y="connsiteY1308"/>
                </a:cxn>
                <a:cxn ang="0">
                  <a:pos x="connsiteX1309" y="connsiteY1309"/>
                </a:cxn>
                <a:cxn ang="0">
                  <a:pos x="connsiteX1310" y="connsiteY1310"/>
                </a:cxn>
                <a:cxn ang="0">
                  <a:pos x="connsiteX1311" y="connsiteY1311"/>
                </a:cxn>
                <a:cxn ang="0">
                  <a:pos x="connsiteX1312" y="connsiteY1312"/>
                </a:cxn>
                <a:cxn ang="0">
                  <a:pos x="connsiteX1313" y="connsiteY1313"/>
                </a:cxn>
                <a:cxn ang="0">
                  <a:pos x="connsiteX1314" y="connsiteY1314"/>
                </a:cxn>
                <a:cxn ang="0">
                  <a:pos x="connsiteX1315" y="connsiteY1315"/>
                </a:cxn>
                <a:cxn ang="0">
                  <a:pos x="connsiteX1316" y="connsiteY1316"/>
                </a:cxn>
                <a:cxn ang="0">
                  <a:pos x="connsiteX1317" y="connsiteY1317"/>
                </a:cxn>
                <a:cxn ang="0">
                  <a:pos x="connsiteX1318" y="connsiteY1318"/>
                </a:cxn>
                <a:cxn ang="0">
                  <a:pos x="connsiteX1319" y="connsiteY1319"/>
                </a:cxn>
                <a:cxn ang="0">
                  <a:pos x="connsiteX1320" y="connsiteY1320"/>
                </a:cxn>
                <a:cxn ang="0">
                  <a:pos x="connsiteX1321" y="connsiteY1321"/>
                </a:cxn>
                <a:cxn ang="0">
                  <a:pos x="connsiteX1322" y="connsiteY1322"/>
                </a:cxn>
                <a:cxn ang="0">
                  <a:pos x="connsiteX1323" y="connsiteY1323"/>
                </a:cxn>
                <a:cxn ang="0">
                  <a:pos x="connsiteX1324" y="connsiteY1324"/>
                </a:cxn>
                <a:cxn ang="0">
                  <a:pos x="connsiteX1325" y="connsiteY1325"/>
                </a:cxn>
                <a:cxn ang="0">
                  <a:pos x="connsiteX1326" y="connsiteY1326"/>
                </a:cxn>
                <a:cxn ang="0">
                  <a:pos x="connsiteX1327" y="connsiteY1327"/>
                </a:cxn>
                <a:cxn ang="0">
                  <a:pos x="connsiteX1328" y="connsiteY1328"/>
                </a:cxn>
                <a:cxn ang="0">
                  <a:pos x="connsiteX1329" y="connsiteY1329"/>
                </a:cxn>
                <a:cxn ang="0">
                  <a:pos x="connsiteX1330" y="connsiteY1330"/>
                </a:cxn>
                <a:cxn ang="0">
                  <a:pos x="connsiteX1331" y="connsiteY1331"/>
                </a:cxn>
                <a:cxn ang="0">
                  <a:pos x="connsiteX1332" y="connsiteY1332"/>
                </a:cxn>
                <a:cxn ang="0">
                  <a:pos x="connsiteX1333" y="connsiteY1333"/>
                </a:cxn>
                <a:cxn ang="0">
                  <a:pos x="connsiteX1334" y="connsiteY1334"/>
                </a:cxn>
                <a:cxn ang="0">
                  <a:pos x="connsiteX1335" y="connsiteY1335"/>
                </a:cxn>
                <a:cxn ang="0">
                  <a:pos x="connsiteX1336" y="connsiteY1336"/>
                </a:cxn>
                <a:cxn ang="0">
                  <a:pos x="connsiteX1337" y="connsiteY1337"/>
                </a:cxn>
                <a:cxn ang="0">
                  <a:pos x="connsiteX1338" y="connsiteY1338"/>
                </a:cxn>
                <a:cxn ang="0">
                  <a:pos x="connsiteX1339" y="connsiteY1339"/>
                </a:cxn>
                <a:cxn ang="0">
                  <a:pos x="connsiteX1340" y="connsiteY1340"/>
                </a:cxn>
                <a:cxn ang="0">
                  <a:pos x="connsiteX1341" y="connsiteY1341"/>
                </a:cxn>
                <a:cxn ang="0">
                  <a:pos x="connsiteX1342" y="connsiteY1342"/>
                </a:cxn>
                <a:cxn ang="0">
                  <a:pos x="connsiteX1343" y="connsiteY1343"/>
                </a:cxn>
                <a:cxn ang="0">
                  <a:pos x="connsiteX1344" y="connsiteY1344"/>
                </a:cxn>
                <a:cxn ang="0">
                  <a:pos x="connsiteX1345" y="connsiteY1345"/>
                </a:cxn>
                <a:cxn ang="0">
                  <a:pos x="connsiteX1346" y="connsiteY1346"/>
                </a:cxn>
                <a:cxn ang="0">
                  <a:pos x="connsiteX1347" y="connsiteY1347"/>
                </a:cxn>
                <a:cxn ang="0">
                  <a:pos x="connsiteX1348" y="connsiteY1348"/>
                </a:cxn>
                <a:cxn ang="0">
                  <a:pos x="connsiteX1349" y="connsiteY1349"/>
                </a:cxn>
                <a:cxn ang="0">
                  <a:pos x="connsiteX1350" y="connsiteY1350"/>
                </a:cxn>
                <a:cxn ang="0">
                  <a:pos x="connsiteX1351" y="connsiteY1351"/>
                </a:cxn>
                <a:cxn ang="0">
                  <a:pos x="connsiteX1352" y="connsiteY1352"/>
                </a:cxn>
                <a:cxn ang="0">
                  <a:pos x="connsiteX1353" y="connsiteY1353"/>
                </a:cxn>
                <a:cxn ang="0">
                  <a:pos x="connsiteX1354" y="connsiteY1354"/>
                </a:cxn>
                <a:cxn ang="0">
                  <a:pos x="connsiteX1355" y="connsiteY1355"/>
                </a:cxn>
                <a:cxn ang="0">
                  <a:pos x="connsiteX1356" y="connsiteY1356"/>
                </a:cxn>
                <a:cxn ang="0">
                  <a:pos x="connsiteX1357" y="connsiteY1357"/>
                </a:cxn>
                <a:cxn ang="0">
                  <a:pos x="connsiteX1358" y="connsiteY1358"/>
                </a:cxn>
                <a:cxn ang="0">
                  <a:pos x="connsiteX1359" y="connsiteY1359"/>
                </a:cxn>
                <a:cxn ang="0">
                  <a:pos x="connsiteX1360" y="connsiteY1360"/>
                </a:cxn>
                <a:cxn ang="0">
                  <a:pos x="connsiteX1361" y="connsiteY1361"/>
                </a:cxn>
                <a:cxn ang="0">
                  <a:pos x="connsiteX1362" y="connsiteY1362"/>
                </a:cxn>
                <a:cxn ang="0">
                  <a:pos x="connsiteX1363" y="connsiteY1363"/>
                </a:cxn>
                <a:cxn ang="0">
                  <a:pos x="connsiteX1364" y="connsiteY1364"/>
                </a:cxn>
                <a:cxn ang="0">
                  <a:pos x="connsiteX1365" y="connsiteY1365"/>
                </a:cxn>
                <a:cxn ang="0">
                  <a:pos x="connsiteX1366" y="connsiteY1366"/>
                </a:cxn>
                <a:cxn ang="0">
                  <a:pos x="connsiteX1367" y="connsiteY1367"/>
                </a:cxn>
                <a:cxn ang="0">
                  <a:pos x="connsiteX1368" y="connsiteY1368"/>
                </a:cxn>
                <a:cxn ang="0">
                  <a:pos x="connsiteX1369" y="connsiteY1369"/>
                </a:cxn>
                <a:cxn ang="0">
                  <a:pos x="connsiteX1370" y="connsiteY1370"/>
                </a:cxn>
                <a:cxn ang="0">
                  <a:pos x="connsiteX1371" y="connsiteY1371"/>
                </a:cxn>
                <a:cxn ang="0">
                  <a:pos x="connsiteX1372" y="connsiteY1372"/>
                </a:cxn>
                <a:cxn ang="0">
                  <a:pos x="connsiteX1373" y="connsiteY1373"/>
                </a:cxn>
                <a:cxn ang="0">
                  <a:pos x="connsiteX1374" y="connsiteY1374"/>
                </a:cxn>
                <a:cxn ang="0">
                  <a:pos x="connsiteX1375" y="connsiteY1375"/>
                </a:cxn>
                <a:cxn ang="0">
                  <a:pos x="connsiteX1376" y="connsiteY1376"/>
                </a:cxn>
                <a:cxn ang="0">
                  <a:pos x="connsiteX1377" y="connsiteY1377"/>
                </a:cxn>
                <a:cxn ang="0">
                  <a:pos x="connsiteX1378" y="connsiteY1378"/>
                </a:cxn>
                <a:cxn ang="0">
                  <a:pos x="connsiteX1379" y="connsiteY1379"/>
                </a:cxn>
                <a:cxn ang="0">
                  <a:pos x="connsiteX1380" y="connsiteY1380"/>
                </a:cxn>
                <a:cxn ang="0">
                  <a:pos x="connsiteX1381" y="connsiteY1381"/>
                </a:cxn>
                <a:cxn ang="0">
                  <a:pos x="connsiteX1382" y="connsiteY1382"/>
                </a:cxn>
                <a:cxn ang="0">
                  <a:pos x="connsiteX1383" y="connsiteY1383"/>
                </a:cxn>
                <a:cxn ang="0">
                  <a:pos x="connsiteX1384" y="connsiteY1384"/>
                </a:cxn>
                <a:cxn ang="0">
                  <a:pos x="connsiteX1385" y="connsiteY1385"/>
                </a:cxn>
                <a:cxn ang="0">
                  <a:pos x="connsiteX1386" y="connsiteY1386"/>
                </a:cxn>
                <a:cxn ang="0">
                  <a:pos x="connsiteX1387" y="connsiteY1387"/>
                </a:cxn>
                <a:cxn ang="0">
                  <a:pos x="connsiteX1388" y="connsiteY1388"/>
                </a:cxn>
                <a:cxn ang="0">
                  <a:pos x="connsiteX1389" y="connsiteY1389"/>
                </a:cxn>
                <a:cxn ang="0">
                  <a:pos x="connsiteX1390" y="connsiteY1390"/>
                </a:cxn>
                <a:cxn ang="0">
                  <a:pos x="connsiteX1391" y="connsiteY1391"/>
                </a:cxn>
                <a:cxn ang="0">
                  <a:pos x="connsiteX1392" y="connsiteY1392"/>
                </a:cxn>
                <a:cxn ang="0">
                  <a:pos x="connsiteX1393" y="connsiteY1393"/>
                </a:cxn>
                <a:cxn ang="0">
                  <a:pos x="connsiteX1394" y="connsiteY1394"/>
                </a:cxn>
                <a:cxn ang="0">
                  <a:pos x="connsiteX1395" y="connsiteY1395"/>
                </a:cxn>
                <a:cxn ang="0">
                  <a:pos x="connsiteX1396" y="connsiteY1396"/>
                </a:cxn>
                <a:cxn ang="0">
                  <a:pos x="connsiteX1397" y="connsiteY1397"/>
                </a:cxn>
                <a:cxn ang="0">
                  <a:pos x="connsiteX1398" y="connsiteY1398"/>
                </a:cxn>
                <a:cxn ang="0">
                  <a:pos x="connsiteX1399" y="connsiteY1399"/>
                </a:cxn>
                <a:cxn ang="0">
                  <a:pos x="connsiteX1400" y="connsiteY1400"/>
                </a:cxn>
                <a:cxn ang="0">
                  <a:pos x="connsiteX1401" y="connsiteY1401"/>
                </a:cxn>
                <a:cxn ang="0">
                  <a:pos x="connsiteX1402" y="connsiteY1402"/>
                </a:cxn>
                <a:cxn ang="0">
                  <a:pos x="connsiteX1403" y="connsiteY1403"/>
                </a:cxn>
                <a:cxn ang="0">
                  <a:pos x="connsiteX1404" y="connsiteY1404"/>
                </a:cxn>
                <a:cxn ang="0">
                  <a:pos x="connsiteX1405" y="connsiteY1405"/>
                </a:cxn>
                <a:cxn ang="0">
                  <a:pos x="connsiteX1406" y="connsiteY1406"/>
                </a:cxn>
                <a:cxn ang="0">
                  <a:pos x="connsiteX1407" y="connsiteY1407"/>
                </a:cxn>
                <a:cxn ang="0">
                  <a:pos x="connsiteX1408" y="connsiteY1408"/>
                </a:cxn>
                <a:cxn ang="0">
                  <a:pos x="connsiteX1409" y="connsiteY1409"/>
                </a:cxn>
                <a:cxn ang="0">
                  <a:pos x="connsiteX1410" y="connsiteY1410"/>
                </a:cxn>
                <a:cxn ang="0">
                  <a:pos x="connsiteX1411" y="connsiteY1411"/>
                </a:cxn>
                <a:cxn ang="0">
                  <a:pos x="connsiteX1412" y="connsiteY1412"/>
                </a:cxn>
                <a:cxn ang="0">
                  <a:pos x="connsiteX1413" y="connsiteY1413"/>
                </a:cxn>
                <a:cxn ang="0">
                  <a:pos x="connsiteX1414" y="connsiteY1414"/>
                </a:cxn>
                <a:cxn ang="0">
                  <a:pos x="connsiteX1415" y="connsiteY1415"/>
                </a:cxn>
                <a:cxn ang="0">
                  <a:pos x="connsiteX1416" y="connsiteY1416"/>
                </a:cxn>
                <a:cxn ang="0">
                  <a:pos x="connsiteX1417" y="connsiteY1417"/>
                </a:cxn>
                <a:cxn ang="0">
                  <a:pos x="connsiteX1418" y="connsiteY1418"/>
                </a:cxn>
                <a:cxn ang="0">
                  <a:pos x="connsiteX1419" y="connsiteY1419"/>
                </a:cxn>
                <a:cxn ang="0">
                  <a:pos x="connsiteX1420" y="connsiteY1420"/>
                </a:cxn>
                <a:cxn ang="0">
                  <a:pos x="connsiteX1421" y="connsiteY1421"/>
                </a:cxn>
                <a:cxn ang="0">
                  <a:pos x="connsiteX1422" y="connsiteY1422"/>
                </a:cxn>
                <a:cxn ang="0">
                  <a:pos x="connsiteX1423" y="connsiteY1423"/>
                </a:cxn>
                <a:cxn ang="0">
                  <a:pos x="connsiteX1424" y="connsiteY1424"/>
                </a:cxn>
                <a:cxn ang="0">
                  <a:pos x="connsiteX1425" y="connsiteY1425"/>
                </a:cxn>
                <a:cxn ang="0">
                  <a:pos x="connsiteX1426" y="connsiteY1426"/>
                </a:cxn>
                <a:cxn ang="0">
                  <a:pos x="connsiteX1427" y="connsiteY1427"/>
                </a:cxn>
                <a:cxn ang="0">
                  <a:pos x="connsiteX1428" y="connsiteY1428"/>
                </a:cxn>
                <a:cxn ang="0">
                  <a:pos x="connsiteX1429" y="connsiteY1429"/>
                </a:cxn>
                <a:cxn ang="0">
                  <a:pos x="connsiteX1430" y="connsiteY1430"/>
                </a:cxn>
                <a:cxn ang="0">
                  <a:pos x="connsiteX1431" y="connsiteY1431"/>
                </a:cxn>
                <a:cxn ang="0">
                  <a:pos x="connsiteX1432" y="connsiteY1432"/>
                </a:cxn>
                <a:cxn ang="0">
                  <a:pos x="connsiteX1433" y="connsiteY1433"/>
                </a:cxn>
                <a:cxn ang="0">
                  <a:pos x="connsiteX1434" y="connsiteY1434"/>
                </a:cxn>
                <a:cxn ang="0">
                  <a:pos x="connsiteX1435" y="connsiteY1435"/>
                </a:cxn>
                <a:cxn ang="0">
                  <a:pos x="connsiteX1436" y="connsiteY1436"/>
                </a:cxn>
                <a:cxn ang="0">
                  <a:pos x="connsiteX1437" y="connsiteY1437"/>
                </a:cxn>
                <a:cxn ang="0">
                  <a:pos x="connsiteX1438" y="connsiteY1438"/>
                </a:cxn>
                <a:cxn ang="0">
                  <a:pos x="connsiteX1439" y="connsiteY1439"/>
                </a:cxn>
                <a:cxn ang="0">
                  <a:pos x="connsiteX1440" y="connsiteY1440"/>
                </a:cxn>
                <a:cxn ang="0">
                  <a:pos x="connsiteX1441" y="connsiteY1441"/>
                </a:cxn>
                <a:cxn ang="0">
                  <a:pos x="connsiteX1442" y="connsiteY1442"/>
                </a:cxn>
                <a:cxn ang="0">
                  <a:pos x="connsiteX1443" y="connsiteY1443"/>
                </a:cxn>
                <a:cxn ang="0">
                  <a:pos x="connsiteX1444" y="connsiteY1444"/>
                </a:cxn>
                <a:cxn ang="0">
                  <a:pos x="connsiteX1445" y="connsiteY1445"/>
                </a:cxn>
                <a:cxn ang="0">
                  <a:pos x="connsiteX1446" y="connsiteY1446"/>
                </a:cxn>
                <a:cxn ang="0">
                  <a:pos x="connsiteX1447" y="connsiteY1447"/>
                </a:cxn>
                <a:cxn ang="0">
                  <a:pos x="connsiteX1448" y="connsiteY1448"/>
                </a:cxn>
                <a:cxn ang="0">
                  <a:pos x="connsiteX1449" y="connsiteY1449"/>
                </a:cxn>
                <a:cxn ang="0">
                  <a:pos x="connsiteX1450" y="connsiteY1450"/>
                </a:cxn>
                <a:cxn ang="0">
                  <a:pos x="connsiteX1451" y="connsiteY1451"/>
                </a:cxn>
                <a:cxn ang="0">
                  <a:pos x="connsiteX1452" y="connsiteY1452"/>
                </a:cxn>
                <a:cxn ang="0">
                  <a:pos x="connsiteX1453" y="connsiteY1453"/>
                </a:cxn>
                <a:cxn ang="0">
                  <a:pos x="connsiteX1454" y="connsiteY1454"/>
                </a:cxn>
                <a:cxn ang="0">
                  <a:pos x="connsiteX1455" y="connsiteY1455"/>
                </a:cxn>
                <a:cxn ang="0">
                  <a:pos x="connsiteX1456" y="connsiteY1456"/>
                </a:cxn>
                <a:cxn ang="0">
                  <a:pos x="connsiteX1457" y="connsiteY1457"/>
                </a:cxn>
                <a:cxn ang="0">
                  <a:pos x="connsiteX1458" y="connsiteY1458"/>
                </a:cxn>
                <a:cxn ang="0">
                  <a:pos x="connsiteX1459" y="connsiteY1459"/>
                </a:cxn>
                <a:cxn ang="0">
                  <a:pos x="connsiteX1460" y="connsiteY1460"/>
                </a:cxn>
                <a:cxn ang="0">
                  <a:pos x="connsiteX1461" y="connsiteY1461"/>
                </a:cxn>
                <a:cxn ang="0">
                  <a:pos x="connsiteX1462" y="connsiteY1462"/>
                </a:cxn>
                <a:cxn ang="0">
                  <a:pos x="connsiteX1463" y="connsiteY1463"/>
                </a:cxn>
                <a:cxn ang="0">
                  <a:pos x="connsiteX1464" y="connsiteY1464"/>
                </a:cxn>
                <a:cxn ang="0">
                  <a:pos x="connsiteX1465" y="connsiteY1465"/>
                </a:cxn>
                <a:cxn ang="0">
                  <a:pos x="connsiteX1466" y="connsiteY1466"/>
                </a:cxn>
                <a:cxn ang="0">
                  <a:pos x="connsiteX1467" y="connsiteY1467"/>
                </a:cxn>
                <a:cxn ang="0">
                  <a:pos x="connsiteX1468" y="connsiteY1468"/>
                </a:cxn>
                <a:cxn ang="0">
                  <a:pos x="connsiteX1469" y="connsiteY1469"/>
                </a:cxn>
                <a:cxn ang="0">
                  <a:pos x="connsiteX1470" y="connsiteY1470"/>
                </a:cxn>
                <a:cxn ang="0">
                  <a:pos x="connsiteX1471" y="connsiteY1471"/>
                </a:cxn>
                <a:cxn ang="0">
                  <a:pos x="connsiteX1472" y="connsiteY1472"/>
                </a:cxn>
                <a:cxn ang="0">
                  <a:pos x="connsiteX1473" y="connsiteY1473"/>
                </a:cxn>
                <a:cxn ang="0">
                  <a:pos x="connsiteX1474" y="connsiteY1474"/>
                </a:cxn>
                <a:cxn ang="0">
                  <a:pos x="connsiteX1475" y="connsiteY1475"/>
                </a:cxn>
                <a:cxn ang="0">
                  <a:pos x="connsiteX1476" y="connsiteY1476"/>
                </a:cxn>
                <a:cxn ang="0">
                  <a:pos x="connsiteX1477" y="connsiteY1477"/>
                </a:cxn>
                <a:cxn ang="0">
                  <a:pos x="connsiteX1478" y="connsiteY1478"/>
                </a:cxn>
                <a:cxn ang="0">
                  <a:pos x="connsiteX1479" y="connsiteY1479"/>
                </a:cxn>
                <a:cxn ang="0">
                  <a:pos x="connsiteX1480" y="connsiteY1480"/>
                </a:cxn>
                <a:cxn ang="0">
                  <a:pos x="connsiteX1481" y="connsiteY1481"/>
                </a:cxn>
                <a:cxn ang="0">
                  <a:pos x="connsiteX1482" y="connsiteY1482"/>
                </a:cxn>
                <a:cxn ang="0">
                  <a:pos x="connsiteX1483" y="connsiteY1483"/>
                </a:cxn>
                <a:cxn ang="0">
                  <a:pos x="connsiteX1484" y="connsiteY1484"/>
                </a:cxn>
                <a:cxn ang="0">
                  <a:pos x="connsiteX1485" y="connsiteY1485"/>
                </a:cxn>
                <a:cxn ang="0">
                  <a:pos x="connsiteX1486" y="connsiteY1486"/>
                </a:cxn>
                <a:cxn ang="0">
                  <a:pos x="connsiteX1487" y="connsiteY1487"/>
                </a:cxn>
                <a:cxn ang="0">
                  <a:pos x="connsiteX1488" y="connsiteY1488"/>
                </a:cxn>
                <a:cxn ang="0">
                  <a:pos x="connsiteX1489" y="connsiteY1489"/>
                </a:cxn>
                <a:cxn ang="0">
                  <a:pos x="connsiteX1490" y="connsiteY1490"/>
                </a:cxn>
                <a:cxn ang="0">
                  <a:pos x="connsiteX1491" y="connsiteY1491"/>
                </a:cxn>
                <a:cxn ang="0">
                  <a:pos x="connsiteX1492" y="connsiteY1492"/>
                </a:cxn>
                <a:cxn ang="0">
                  <a:pos x="connsiteX1493" y="connsiteY1493"/>
                </a:cxn>
                <a:cxn ang="0">
                  <a:pos x="connsiteX1494" y="connsiteY1494"/>
                </a:cxn>
                <a:cxn ang="0">
                  <a:pos x="connsiteX1495" y="connsiteY1495"/>
                </a:cxn>
                <a:cxn ang="0">
                  <a:pos x="connsiteX1496" y="connsiteY1496"/>
                </a:cxn>
                <a:cxn ang="0">
                  <a:pos x="connsiteX1497" y="connsiteY1497"/>
                </a:cxn>
                <a:cxn ang="0">
                  <a:pos x="connsiteX1498" y="connsiteY1498"/>
                </a:cxn>
                <a:cxn ang="0">
                  <a:pos x="connsiteX1499" y="connsiteY1499"/>
                </a:cxn>
                <a:cxn ang="0">
                  <a:pos x="connsiteX1500" y="connsiteY1500"/>
                </a:cxn>
                <a:cxn ang="0">
                  <a:pos x="connsiteX1501" y="connsiteY1501"/>
                </a:cxn>
                <a:cxn ang="0">
                  <a:pos x="connsiteX1502" y="connsiteY1502"/>
                </a:cxn>
                <a:cxn ang="0">
                  <a:pos x="connsiteX1503" y="connsiteY1503"/>
                </a:cxn>
                <a:cxn ang="0">
                  <a:pos x="connsiteX1504" y="connsiteY1504"/>
                </a:cxn>
                <a:cxn ang="0">
                  <a:pos x="connsiteX1505" y="connsiteY1505"/>
                </a:cxn>
                <a:cxn ang="0">
                  <a:pos x="connsiteX1506" y="connsiteY1506"/>
                </a:cxn>
                <a:cxn ang="0">
                  <a:pos x="connsiteX1507" y="connsiteY1507"/>
                </a:cxn>
                <a:cxn ang="0">
                  <a:pos x="connsiteX1508" y="connsiteY1508"/>
                </a:cxn>
                <a:cxn ang="0">
                  <a:pos x="connsiteX1509" y="connsiteY1509"/>
                </a:cxn>
                <a:cxn ang="0">
                  <a:pos x="connsiteX1510" y="connsiteY1510"/>
                </a:cxn>
                <a:cxn ang="0">
                  <a:pos x="connsiteX1511" y="connsiteY1511"/>
                </a:cxn>
                <a:cxn ang="0">
                  <a:pos x="connsiteX1512" y="connsiteY1512"/>
                </a:cxn>
                <a:cxn ang="0">
                  <a:pos x="connsiteX1513" y="connsiteY1513"/>
                </a:cxn>
                <a:cxn ang="0">
                  <a:pos x="connsiteX1514" y="connsiteY1514"/>
                </a:cxn>
                <a:cxn ang="0">
                  <a:pos x="connsiteX1515" y="connsiteY1515"/>
                </a:cxn>
                <a:cxn ang="0">
                  <a:pos x="connsiteX1516" y="connsiteY1516"/>
                </a:cxn>
                <a:cxn ang="0">
                  <a:pos x="connsiteX1517" y="connsiteY1517"/>
                </a:cxn>
                <a:cxn ang="0">
                  <a:pos x="connsiteX1518" y="connsiteY1518"/>
                </a:cxn>
                <a:cxn ang="0">
                  <a:pos x="connsiteX1519" y="connsiteY1519"/>
                </a:cxn>
                <a:cxn ang="0">
                  <a:pos x="connsiteX1520" y="connsiteY1520"/>
                </a:cxn>
                <a:cxn ang="0">
                  <a:pos x="connsiteX1521" y="connsiteY1521"/>
                </a:cxn>
                <a:cxn ang="0">
                  <a:pos x="connsiteX1522" y="connsiteY1522"/>
                </a:cxn>
                <a:cxn ang="0">
                  <a:pos x="connsiteX1523" y="connsiteY1523"/>
                </a:cxn>
                <a:cxn ang="0">
                  <a:pos x="connsiteX1524" y="connsiteY1524"/>
                </a:cxn>
                <a:cxn ang="0">
                  <a:pos x="connsiteX1525" y="connsiteY1525"/>
                </a:cxn>
                <a:cxn ang="0">
                  <a:pos x="connsiteX1526" y="connsiteY1526"/>
                </a:cxn>
                <a:cxn ang="0">
                  <a:pos x="connsiteX1527" y="connsiteY1527"/>
                </a:cxn>
                <a:cxn ang="0">
                  <a:pos x="connsiteX1528" y="connsiteY1528"/>
                </a:cxn>
                <a:cxn ang="0">
                  <a:pos x="connsiteX1529" y="connsiteY1529"/>
                </a:cxn>
                <a:cxn ang="0">
                  <a:pos x="connsiteX1530" y="connsiteY1530"/>
                </a:cxn>
                <a:cxn ang="0">
                  <a:pos x="connsiteX1531" y="connsiteY1531"/>
                </a:cxn>
                <a:cxn ang="0">
                  <a:pos x="connsiteX1532" y="connsiteY1532"/>
                </a:cxn>
                <a:cxn ang="0">
                  <a:pos x="connsiteX1533" y="connsiteY1533"/>
                </a:cxn>
                <a:cxn ang="0">
                  <a:pos x="connsiteX1534" y="connsiteY1534"/>
                </a:cxn>
                <a:cxn ang="0">
                  <a:pos x="connsiteX1535" y="connsiteY1535"/>
                </a:cxn>
                <a:cxn ang="0">
                  <a:pos x="connsiteX1536" y="connsiteY1536"/>
                </a:cxn>
                <a:cxn ang="0">
                  <a:pos x="connsiteX1537" y="connsiteY1537"/>
                </a:cxn>
                <a:cxn ang="0">
                  <a:pos x="connsiteX1538" y="connsiteY1538"/>
                </a:cxn>
                <a:cxn ang="0">
                  <a:pos x="connsiteX1539" y="connsiteY1539"/>
                </a:cxn>
                <a:cxn ang="0">
                  <a:pos x="connsiteX1540" y="connsiteY1540"/>
                </a:cxn>
                <a:cxn ang="0">
                  <a:pos x="connsiteX1541" y="connsiteY1541"/>
                </a:cxn>
                <a:cxn ang="0">
                  <a:pos x="connsiteX1542" y="connsiteY1542"/>
                </a:cxn>
                <a:cxn ang="0">
                  <a:pos x="connsiteX1543" y="connsiteY1543"/>
                </a:cxn>
                <a:cxn ang="0">
                  <a:pos x="connsiteX1544" y="connsiteY1544"/>
                </a:cxn>
                <a:cxn ang="0">
                  <a:pos x="connsiteX1545" y="connsiteY1545"/>
                </a:cxn>
                <a:cxn ang="0">
                  <a:pos x="connsiteX1546" y="connsiteY1546"/>
                </a:cxn>
                <a:cxn ang="0">
                  <a:pos x="connsiteX1547" y="connsiteY1547"/>
                </a:cxn>
                <a:cxn ang="0">
                  <a:pos x="connsiteX1548" y="connsiteY1548"/>
                </a:cxn>
                <a:cxn ang="0">
                  <a:pos x="connsiteX1549" y="connsiteY1549"/>
                </a:cxn>
                <a:cxn ang="0">
                  <a:pos x="connsiteX1550" y="connsiteY1550"/>
                </a:cxn>
                <a:cxn ang="0">
                  <a:pos x="connsiteX1551" y="connsiteY1551"/>
                </a:cxn>
                <a:cxn ang="0">
                  <a:pos x="connsiteX1552" y="connsiteY1552"/>
                </a:cxn>
                <a:cxn ang="0">
                  <a:pos x="connsiteX1553" y="connsiteY1553"/>
                </a:cxn>
                <a:cxn ang="0">
                  <a:pos x="connsiteX1554" y="connsiteY1554"/>
                </a:cxn>
                <a:cxn ang="0">
                  <a:pos x="connsiteX1555" y="connsiteY1555"/>
                </a:cxn>
                <a:cxn ang="0">
                  <a:pos x="connsiteX1556" y="connsiteY1556"/>
                </a:cxn>
                <a:cxn ang="0">
                  <a:pos x="connsiteX1557" y="connsiteY1557"/>
                </a:cxn>
                <a:cxn ang="0">
                  <a:pos x="connsiteX1558" y="connsiteY1558"/>
                </a:cxn>
                <a:cxn ang="0">
                  <a:pos x="connsiteX1559" y="connsiteY1559"/>
                </a:cxn>
                <a:cxn ang="0">
                  <a:pos x="connsiteX1560" y="connsiteY1560"/>
                </a:cxn>
                <a:cxn ang="0">
                  <a:pos x="connsiteX1561" y="connsiteY1561"/>
                </a:cxn>
                <a:cxn ang="0">
                  <a:pos x="connsiteX1562" y="connsiteY1562"/>
                </a:cxn>
                <a:cxn ang="0">
                  <a:pos x="connsiteX1563" y="connsiteY1563"/>
                </a:cxn>
                <a:cxn ang="0">
                  <a:pos x="connsiteX1564" y="connsiteY1564"/>
                </a:cxn>
                <a:cxn ang="0">
                  <a:pos x="connsiteX1565" y="connsiteY1565"/>
                </a:cxn>
                <a:cxn ang="0">
                  <a:pos x="connsiteX1566" y="connsiteY1566"/>
                </a:cxn>
                <a:cxn ang="0">
                  <a:pos x="connsiteX1567" y="connsiteY1567"/>
                </a:cxn>
                <a:cxn ang="0">
                  <a:pos x="connsiteX1568" y="connsiteY1568"/>
                </a:cxn>
                <a:cxn ang="0">
                  <a:pos x="connsiteX1569" y="connsiteY1569"/>
                </a:cxn>
                <a:cxn ang="0">
                  <a:pos x="connsiteX1570" y="connsiteY1570"/>
                </a:cxn>
                <a:cxn ang="0">
                  <a:pos x="connsiteX1571" y="connsiteY1571"/>
                </a:cxn>
                <a:cxn ang="0">
                  <a:pos x="connsiteX1572" y="connsiteY1572"/>
                </a:cxn>
                <a:cxn ang="0">
                  <a:pos x="connsiteX1573" y="connsiteY1573"/>
                </a:cxn>
                <a:cxn ang="0">
                  <a:pos x="connsiteX1574" y="connsiteY1574"/>
                </a:cxn>
                <a:cxn ang="0">
                  <a:pos x="connsiteX1575" y="connsiteY1575"/>
                </a:cxn>
                <a:cxn ang="0">
                  <a:pos x="connsiteX1576" y="connsiteY1576"/>
                </a:cxn>
                <a:cxn ang="0">
                  <a:pos x="connsiteX1577" y="connsiteY1577"/>
                </a:cxn>
                <a:cxn ang="0">
                  <a:pos x="connsiteX1578" y="connsiteY1578"/>
                </a:cxn>
                <a:cxn ang="0">
                  <a:pos x="connsiteX1579" y="connsiteY1579"/>
                </a:cxn>
                <a:cxn ang="0">
                  <a:pos x="connsiteX1580" y="connsiteY1580"/>
                </a:cxn>
                <a:cxn ang="0">
                  <a:pos x="connsiteX1581" y="connsiteY1581"/>
                </a:cxn>
                <a:cxn ang="0">
                  <a:pos x="connsiteX1582" y="connsiteY1582"/>
                </a:cxn>
                <a:cxn ang="0">
                  <a:pos x="connsiteX1583" y="connsiteY1583"/>
                </a:cxn>
                <a:cxn ang="0">
                  <a:pos x="connsiteX1584" y="connsiteY1584"/>
                </a:cxn>
                <a:cxn ang="0">
                  <a:pos x="connsiteX1585" y="connsiteY1585"/>
                </a:cxn>
                <a:cxn ang="0">
                  <a:pos x="connsiteX1586" y="connsiteY1586"/>
                </a:cxn>
                <a:cxn ang="0">
                  <a:pos x="connsiteX1587" y="connsiteY1587"/>
                </a:cxn>
                <a:cxn ang="0">
                  <a:pos x="connsiteX1588" y="connsiteY1588"/>
                </a:cxn>
                <a:cxn ang="0">
                  <a:pos x="connsiteX1589" y="connsiteY1589"/>
                </a:cxn>
                <a:cxn ang="0">
                  <a:pos x="connsiteX1590" y="connsiteY1590"/>
                </a:cxn>
                <a:cxn ang="0">
                  <a:pos x="connsiteX1591" y="connsiteY1591"/>
                </a:cxn>
                <a:cxn ang="0">
                  <a:pos x="connsiteX1592" y="connsiteY1592"/>
                </a:cxn>
                <a:cxn ang="0">
                  <a:pos x="connsiteX1593" y="connsiteY1593"/>
                </a:cxn>
                <a:cxn ang="0">
                  <a:pos x="connsiteX1594" y="connsiteY1594"/>
                </a:cxn>
                <a:cxn ang="0">
                  <a:pos x="connsiteX1595" y="connsiteY1595"/>
                </a:cxn>
                <a:cxn ang="0">
                  <a:pos x="connsiteX1596" y="connsiteY1596"/>
                </a:cxn>
                <a:cxn ang="0">
                  <a:pos x="connsiteX1597" y="connsiteY1597"/>
                </a:cxn>
                <a:cxn ang="0">
                  <a:pos x="connsiteX1598" y="connsiteY1598"/>
                </a:cxn>
                <a:cxn ang="0">
                  <a:pos x="connsiteX1599" y="connsiteY1599"/>
                </a:cxn>
                <a:cxn ang="0">
                  <a:pos x="connsiteX1600" y="connsiteY1600"/>
                </a:cxn>
                <a:cxn ang="0">
                  <a:pos x="connsiteX1601" y="connsiteY1601"/>
                </a:cxn>
                <a:cxn ang="0">
                  <a:pos x="connsiteX1602" y="connsiteY1602"/>
                </a:cxn>
                <a:cxn ang="0">
                  <a:pos x="connsiteX1603" y="connsiteY1603"/>
                </a:cxn>
                <a:cxn ang="0">
                  <a:pos x="connsiteX1604" y="connsiteY1604"/>
                </a:cxn>
                <a:cxn ang="0">
                  <a:pos x="connsiteX1605" y="connsiteY1605"/>
                </a:cxn>
                <a:cxn ang="0">
                  <a:pos x="connsiteX1606" y="connsiteY1606"/>
                </a:cxn>
                <a:cxn ang="0">
                  <a:pos x="connsiteX1607" y="connsiteY1607"/>
                </a:cxn>
                <a:cxn ang="0">
                  <a:pos x="connsiteX1608" y="connsiteY1608"/>
                </a:cxn>
                <a:cxn ang="0">
                  <a:pos x="connsiteX1609" y="connsiteY1609"/>
                </a:cxn>
                <a:cxn ang="0">
                  <a:pos x="connsiteX1610" y="connsiteY1610"/>
                </a:cxn>
                <a:cxn ang="0">
                  <a:pos x="connsiteX1611" y="connsiteY1611"/>
                </a:cxn>
                <a:cxn ang="0">
                  <a:pos x="connsiteX1612" y="connsiteY1612"/>
                </a:cxn>
                <a:cxn ang="0">
                  <a:pos x="connsiteX1613" y="connsiteY1613"/>
                </a:cxn>
                <a:cxn ang="0">
                  <a:pos x="connsiteX1614" y="connsiteY1614"/>
                </a:cxn>
                <a:cxn ang="0">
                  <a:pos x="connsiteX1615" y="connsiteY1615"/>
                </a:cxn>
                <a:cxn ang="0">
                  <a:pos x="connsiteX1616" y="connsiteY1616"/>
                </a:cxn>
                <a:cxn ang="0">
                  <a:pos x="connsiteX1617" y="connsiteY1617"/>
                </a:cxn>
                <a:cxn ang="0">
                  <a:pos x="connsiteX1618" y="connsiteY1618"/>
                </a:cxn>
                <a:cxn ang="0">
                  <a:pos x="connsiteX1619" y="connsiteY1619"/>
                </a:cxn>
                <a:cxn ang="0">
                  <a:pos x="connsiteX1620" y="connsiteY1620"/>
                </a:cxn>
                <a:cxn ang="0">
                  <a:pos x="connsiteX1621" y="connsiteY1621"/>
                </a:cxn>
                <a:cxn ang="0">
                  <a:pos x="connsiteX1622" y="connsiteY1622"/>
                </a:cxn>
                <a:cxn ang="0">
                  <a:pos x="connsiteX1623" y="connsiteY1623"/>
                </a:cxn>
                <a:cxn ang="0">
                  <a:pos x="connsiteX1624" y="connsiteY1624"/>
                </a:cxn>
                <a:cxn ang="0">
                  <a:pos x="connsiteX1625" y="connsiteY1625"/>
                </a:cxn>
                <a:cxn ang="0">
                  <a:pos x="connsiteX1626" y="connsiteY1626"/>
                </a:cxn>
                <a:cxn ang="0">
                  <a:pos x="connsiteX1627" y="connsiteY1627"/>
                </a:cxn>
                <a:cxn ang="0">
                  <a:pos x="connsiteX1628" y="connsiteY1628"/>
                </a:cxn>
                <a:cxn ang="0">
                  <a:pos x="connsiteX1629" y="connsiteY1629"/>
                </a:cxn>
                <a:cxn ang="0">
                  <a:pos x="connsiteX1630" y="connsiteY1630"/>
                </a:cxn>
                <a:cxn ang="0">
                  <a:pos x="connsiteX1631" y="connsiteY1631"/>
                </a:cxn>
                <a:cxn ang="0">
                  <a:pos x="connsiteX1632" y="connsiteY1632"/>
                </a:cxn>
                <a:cxn ang="0">
                  <a:pos x="connsiteX1633" y="connsiteY1633"/>
                </a:cxn>
                <a:cxn ang="0">
                  <a:pos x="connsiteX1634" y="connsiteY1634"/>
                </a:cxn>
                <a:cxn ang="0">
                  <a:pos x="connsiteX1635" y="connsiteY1635"/>
                </a:cxn>
                <a:cxn ang="0">
                  <a:pos x="connsiteX1636" y="connsiteY1636"/>
                </a:cxn>
                <a:cxn ang="0">
                  <a:pos x="connsiteX1637" y="connsiteY1637"/>
                </a:cxn>
                <a:cxn ang="0">
                  <a:pos x="connsiteX1638" y="connsiteY1638"/>
                </a:cxn>
                <a:cxn ang="0">
                  <a:pos x="connsiteX1639" y="connsiteY1639"/>
                </a:cxn>
                <a:cxn ang="0">
                  <a:pos x="connsiteX1640" y="connsiteY1640"/>
                </a:cxn>
                <a:cxn ang="0">
                  <a:pos x="connsiteX1641" y="connsiteY1641"/>
                </a:cxn>
                <a:cxn ang="0">
                  <a:pos x="connsiteX1642" y="connsiteY1642"/>
                </a:cxn>
                <a:cxn ang="0">
                  <a:pos x="connsiteX1643" y="connsiteY1643"/>
                </a:cxn>
                <a:cxn ang="0">
                  <a:pos x="connsiteX1644" y="connsiteY1644"/>
                </a:cxn>
                <a:cxn ang="0">
                  <a:pos x="connsiteX1645" y="connsiteY1645"/>
                </a:cxn>
                <a:cxn ang="0">
                  <a:pos x="connsiteX1646" y="connsiteY1646"/>
                </a:cxn>
                <a:cxn ang="0">
                  <a:pos x="connsiteX1647" y="connsiteY1647"/>
                </a:cxn>
                <a:cxn ang="0">
                  <a:pos x="connsiteX1648" y="connsiteY1648"/>
                </a:cxn>
                <a:cxn ang="0">
                  <a:pos x="connsiteX1649" y="connsiteY1649"/>
                </a:cxn>
                <a:cxn ang="0">
                  <a:pos x="connsiteX1650" y="connsiteY1650"/>
                </a:cxn>
                <a:cxn ang="0">
                  <a:pos x="connsiteX1651" y="connsiteY1651"/>
                </a:cxn>
                <a:cxn ang="0">
                  <a:pos x="connsiteX1652" y="connsiteY1652"/>
                </a:cxn>
                <a:cxn ang="0">
                  <a:pos x="connsiteX1653" y="connsiteY1653"/>
                </a:cxn>
                <a:cxn ang="0">
                  <a:pos x="connsiteX1654" y="connsiteY1654"/>
                </a:cxn>
                <a:cxn ang="0">
                  <a:pos x="connsiteX1655" y="connsiteY1655"/>
                </a:cxn>
                <a:cxn ang="0">
                  <a:pos x="connsiteX1656" y="connsiteY1656"/>
                </a:cxn>
                <a:cxn ang="0">
                  <a:pos x="connsiteX1657" y="connsiteY1657"/>
                </a:cxn>
                <a:cxn ang="0">
                  <a:pos x="connsiteX1658" y="connsiteY1658"/>
                </a:cxn>
                <a:cxn ang="0">
                  <a:pos x="connsiteX1659" y="connsiteY1659"/>
                </a:cxn>
                <a:cxn ang="0">
                  <a:pos x="connsiteX1660" y="connsiteY1660"/>
                </a:cxn>
                <a:cxn ang="0">
                  <a:pos x="connsiteX1661" y="connsiteY1661"/>
                </a:cxn>
                <a:cxn ang="0">
                  <a:pos x="connsiteX1662" y="connsiteY1662"/>
                </a:cxn>
                <a:cxn ang="0">
                  <a:pos x="connsiteX1663" y="connsiteY1663"/>
                </a:cxn>
                <a:cxn ang="0">
                  <a:pos x="connsiteX1664" y="connsiteY1664"/>
                </a:cxn>
                <a:cxn ang="0">
                  <a:pos x="connsiteX1665" y="connsiteY1665"/>
                </a:cxn>
                <a:cxn ang="0">
                  <a:pos x="connsiteX1666" y="connsiteY1666"/>
                </a:cxn>
                <a:cxn ang="0">
                  <a:pos x="connsiteX1667" y="connsiteY1667"/>
                </a:cxn>
                <a:cxn ang="0">
                  <a:pos x="connsiteX1668" y="connsiteY1668"/>
                </a:cxn>
                <a:cxn ang="0">
                  <a:pos x="connsiteX1669" y="connsiteY1669"/>
                </a:cxn>
                <a:cxn ang="0">
                  <a:pos x="connsiteX1670" y="connsiteY1670"/>
                </a:cxn>
                <a:cxn ang="0">
                  <a:pos x="connsiteX1671" y="connsiteY1671"/>
                </a:cxn>
                <a:cxn ang="0">
                  <a:pos x="connsiteX1672" y="connsiteY1672"/>
                </a:cxn>
                <a:cxn ang="0">
                  <a:pos x="connsiteX1673" y="connsiteY1673"/>
                </a:cxn>
                <a:cxn ang="0">
                  <a:pos x="connsiteX1674" y="connsiteY1674"/>
                </a:cxn>
                <a:cxn ang="0">
                  <a:pos x="connsiteX1675" y="connsiteY1675"/>
                </a:cxn>
                <a:cxn ang="0">
                  <a:pos x="connsiteX1676" y="connsiteY1676"/>
                </a:cxn>
                <a:cxn ang="0">
                  <a:pos x="connsiteX1677" y="connsiteY1677"/>
                </a:cxn>
                <a:cxn ang="0">
                  <a:pos x="connsiteX1678" y="connsiteY1678"/>
                </a:cxn>
                <a:cxn ang="0">
                  <a:pos x="connsiteX1679" y="connsiteY1679"/>
                </a:cxn>
                <a:cxn ang="0">
                  <a:pos x="connsiteX1680" y="connsiteY1680"/>
                </a:cxn>
                <a:cxn ang="0">
                  <a:pos x="connsiteX1681" y="connsiteY1681"/>
                </a:cxn>
                <a:cxn ang="0">
                  <a:pos x="connsiteX1682" y="connsiteY1682"/>
                </a:cxn>
                <a:cxn ang="0">
                  <a:pos x="connsiteX1683" y="connsiteY1683"/>
                </a:cxn>
                <a:cxn ang="0">
                  <a:pos x="connsiteX1684" y="connsiteY1684"/>
                </a:cxn>
                <a:cxn ang="0">
                  <a:pos x="connsiteX1685" y="connsiteY1685"/>
                </a:cxn>
                <a:cxn ang="0">
                  <a:pos x="connsiteX1686" y="connsiteY1686"/>
                </a:cxn>
                <a:cxn ang="0">
                  <a:pos x="connsiteX1687" y="connsiteY1687"/>
                </a:cxn>
                <a:cxn ang="0">
                  <a:pos x="connsiteX1688" y="connsiteY1688"/>
                </a:cxn>
                <a:cxn ang="0">
                  <a:pos x="connsiteX1689" y="connsiteY1689"/>
                </a:cxn>
                <a:cxn ang="0">
                  <a:pos x="connsiteX1690" y="connsiteY1690"/>
                </a:cxn>
                <a:cxn ang="0">
                  <a:pos x="connsiteX1691" y="connsiteY1691"/>
                </a:cxn>
                <a:cxn ang="0">
                  <a:pos x="connsiteX1692" y="connsiteY1692"/>
                </a:cxn>
                <a:cxn ang="0">
                  <a:pos x="connsiteX1693" y="connsiteY1693"/>
                </a:cxn>
                <a:cxn ang="0">
                  <a:pos x="connsiteX1694" y="connsiteY1694"/>
                </a:cxn>
                <a:cxn ang="0">
                  <a:pos x="connsiteX1695" y="connsiteY1695"/>
                </a:cxn>
                <a:cxn ang="0">
                  <a:pos x="connsiteX1696" y="connsiteY1696"/>
                </a:cxn>
                <a:cxn ang="0">
                  <a:pos x="connsiteX1697" y="connsiteY1697"/>
                </a:cxn>
                <a:cxn ang="0">
                  <a:pos x="connsiteX1698" y="connsiteY1698"/>
                </a:cxn>
                <a:cxn ang="0">
                  <a:pos x="connsiteX1699" y="connsiteY1699"/>
                </a:cxn>
                <a:cxn ang="0">
                  <a:pos x="connsiteX1700" y="connsiteY1700"/>
                </a:cxn>
                <a:cxn ang="0">
                  <a:pos x="connsiteX1701" y="connsiteY1701"/>
                </a:cxn>
                <a:cxn ang="0">
                  <a:pos x="connsiteX1702" y="connsiteY1702"/>
                </a:cxn>
                <a:cxn ang="0">
                  <a:pos x="connsiteX1703" y="connsiteY1703"/>
                </a:cxn>
                <a:cxn ang="0">
                  <a:pos x="connsiteX1704" y="connsiteY1704"/>
                </a:cxn>
                <a:cxn ang="0">
                  <a:pos x="connsiteX1705" y="connsiteY1705"/>
                </a:cxn>
                <a:cxn ang="0">
                  <a:pos x="connsiteX1706" y="connsiteY1706"/>
                </a:cxn>
                <a:cxn ang="0">
                  <a:pos x="connsiteX1707" y="connsiteY1707"/>
                </a:cxn>
                <a:cxn ang="0">
                  <a:pos x="connsiteX1708" y="connsiteY1708"/>
                </a:cxn>
                <a:cxn ang="0">
                  <a:pos x="connsiteX1709" y="connsiteY1709"/>
                </a:cxn>
                <a:cxn ang="0">
                  <a:pos x="connsiteX1710" y="connsiteY1710"/>
                </a:cxn>
                <a:cxn ang="0">
                  <a:pos x="connsiteX1711" y="connsiteY1711"/>
                </a:cxn>
                <a:cxn ang="0">
                  <a:pos x="connsiteX1712" y="connsiteY1712"/>
                </a:cxn>
                <a:cxn ang="0">
                  <a:pos x="connsiteX1713" y="connsiteY1713"/>
                </a:cxn>
                <a:cxn ang="0">
                  <a:pos x="connsiteX1714" y="connsiteY1714"/>
                </a:cxn>
                <a:cxn ang="0">
                  <a:pos x="connsiteX1715" y="connsiteY1715"/>
                </a:cxn>
                <a:cxn ang="0">
                  <a:pos x="connsiteX1716" y="connsiteY1716"/>
                </a:cxn>
                <a:cxn ang="0">
                  <a:pos x="connsiteX1717" y="connsiteY1717"/>
                </a:cxn>
                <a:cxn ang="0">
                  <a:pos x="connsiteX1718" y="connsiteY1718"/>
                </a:cxn>
                <a:cxn ang="0">
                  <a:pos x="connsiteX1719" y="connsiteY1719"/>
                </a:cxn>
                <a:cxn ang="0">
                  <a:pos x="connsiteX1720" y="connsiteY1720"/>
                </a:cxn>
                <a:cxn ang="0">
                  <a:pos x="connsiteX1721" y="connsiteY1721"/>
                </a:cxn>
                <a:cxn ang="0">
                  <a:pos x="connsiteX1722" y="connsiteY1722"/>
                </a:cxn>
                <a:cxn ang="0">
                  <a:pos x="connsiteX1723" y="connsiteY1723"/>
                </a:cxn>
                <a:cxn ang="0">
                  <a:pos x="connsiteX1724" y="connsiteY1724"/>
                </a:cxn>
                <a:cxn ang="0">
                  <a:pos x="connsiteX1725" y="connsiteY1725"/>
                </a:cxn>
                <a:cxn ang="0">
                  <a:pos x="connsiteX1726" y="connsiteY1726"/>
                </a:cxn>
                <a:cxn ang="0">
                  <a:pos x="connsiteX1727" y="connsiteY1727"/>
                </a:cxn>
                <a:cxn ang="0">
                  <a:pos x="connsiteX1728" y="connsiteY1728"/>
                </a:cxn>
                <a:cxn ang="0">
                  <a:pos x="connsiteX1729" y="connsiteY1729"/>
                </a:cxn>
                <a:cxn ang="0">
                  <a:pos x="connsiteX1730" y="connsiteY1730"/>
                </a:cxn>
                <a:cxn ang="0">
                  <a:pos x="connsiteX1731" y="connsiteY1731"/>
                </a:cxn>
                <a:cxn ang="0">
                  <a:pos x="connsiteX1732" y="connsiteY1732"/>
                </a:cxn>
                <a:cxn ang="0">
                  <a:pos x="connsiteX1733" y="connsiteY1733"/>
                </a:cxn>
                <a:cxn ang="0">
                  <a:pos x="connsiteX1734" y="connsiteY1734"/>
                </a:cxn>
                <a:cxn ang="0">
                  <a:pos x="connsiteX1735" y="connsiteY1735"/>
                </a:cxn>
                <a:cxn ang="0">
                  <a:pos x="connsiteX1736" y="connsiteY1736"/>
                </a:cxn>
                <a:cxn ang="0">
                  <a:pos x="connsiteX1737" y="connsiteY1737"/>
                </a:cxn>
                <a:cxn ang="0">
                  <a:pos x="connsiteX1738" y="connsiteY1738"/>
                </a:cxn>
                <a:cxn ang="0">
                  <a:pos x="connsiteX1739" y="connsiteY1739"/>
                </a:cxn>
                <a:cxn ang="0">
                  <a:pos x="connsiteX1740" y="connsiteY1740"/>
                </a:cxn>
                <a:cxn ang="0">
                  <a:pos x="connsiteX1741" y="connsiteY1741"/>
                </a:cxn>
                <a:cxn ang="0">
                  <a:pos x="connsiteX1742" y="connsiteY1742"/>
                </a:cxn>
                <a:cxn ang="0">
                  <a:pos x="connsiteX1743" y="connsiteY1743"/>
                </a:cxn>
                <a:cxn ang="0">
                  <a:pos x="connsiteX1744" y="connsiteY1744"/>
                </a:cxn>
                <a:cxn ang="0">
                  <a:pos x="connsiteX1745" y="connsiteY1745"/>
                </a:cxn>
                <a:cxn ang="0">
                  <a:pos x="connsiteX1746" y="connsiteY1746"/>
                </a:cxn>
                <a:cxn ang="0">
                  <a:pos x="connsiteX1747" y="connsiteY1747"/>
                </a:cxn>
                <a:cxn ang="0">
                  <a:pos x="connsiteX1748" y="connsiteY1748"/>
                </a:cxn>
                <a:cxn ang="0">
                  <a:pos x="connsiteX1749" y="connsiteY1749"/>
                </a:cxn>
                <a:cxn ang="0">
                  <a:pos x="connsiteX1750" y="connsiteY1750"/>
                </a:cxn>
                <a:cxn ang="0">
                  <a:pos x="connsiteX1751" y="connsiteY1751"/>
                </a:cxn>
                <a:cxn ang="0">
                  <a:pos x="connsiteX1752" y="connsiteY1752"/>
                </a:cxn>
                <a:cxn ang="0">
                  <a:pos x="connsiteX1753" y="connsiteY1753"/>
                </a:cxn>
                <a:cxn ang="0">
                  <a:pos x="connsiteX1754" y="connsiteY1754"/>
                </a:cxn>
                <a:cxn ang="0">
                  <a:pos x="connsiteX1755" y="connsiteY1755"/>
                </a:cxn>
                <a:cxn ang="0">
                  <a:pos x="connsiteX1756" y="connsiteY1756"/>
                </a:cxn>
                <a:cxn ang="0">
                  <a:pos x="connsiteX1757" y="connsiteY1757"/>
                </a:cxn>
                <a:cxn ang="0">
                  <a:pos x="connsiteX1758" y="connsiteY1758"/>
                </a:cxn>
                <a:cxn ang="0">
                  <a:pos x="connsiteX1759" y="connsiteY1759"/>
                </a:cxn>
                <a:cxn ang="0">
                  <a:pos x="connsiteX1760" y="connsiteY1760"/>
                </a:cxn>
                <a:cxn ang="0">
                  <a:pos x="connsiteX1761" y="connsiteY1761"/>
                </a:cxn>
                <a:cxn ang="0">
                  <a:pos x="connsiteX1762" y="connsiteY1762"/>
                </a:cxn>
                <a:cxn ang="0">
                  <a:pos x="connsiteX1763" y="connsiteY1763"/>
                </a:cxn>
                <a:cxn ang="0">
                  <a:pos x="connsiteX1764" y="connsiteY1764"/>
                </a:cxn>
                <a:cxn ang="0">
                  <a:pos x="connsiteX1765" y="connsiteY1765"/>
                </a:cxn>
                <a:cxn ang="0">
                  <a:pos x="connsiteX1766" y="connsiteY1766"/>
                </a:cxn>
                <a:cxn ang="0">
                  <a:pos x="connsiteX1767" y="connsiteY1767"/>
                </a:cxn>
                <a:cxn ang="0">
                  <a:pos x="connsiteX1768" y="connsiteY1768"/>
                </a:cxn>
                <a:cxn ang="0">
                  <a:pos x="connsiteX1769" y="connsiteY1769"/>
                </a:cxn>
                <a:cxn ang="0">
                  <a:pos x="connsiteX1770" y="connsiteY1770"/>
                </a:cxn>
                <a:cxn ang="0">
                  <a:pos x="connsiteX1771" y="connsiteY1771"/>
                </a:cxn>
                <a:cxn ang="0">
                  <a:pos x="connsiteX1772" y="connsiteY1772"/>
                </a:cxn>
                <a:cxn ang="0">
                  <a:pos x="connsiteX1773" y="connsiteY1773"/>
                </a:cxn>
                <a:cxn ang="0">
                  <a:pos x="connsiteX1774" y="connsiteY1774"/>
                </a:cxn>
                <a:cxn ang="0">
                  <a:pos x="connsiteX1775" y="connsiteY1775"/>
                </a:cxn>
                <a:cxn ang="0">
                  <a:pos x="connsiteX1776" y="connsiteY1776"/>
                </a:cxn>
                <a:cxn ang="0">
                  <a:pos x="connsiteX1777" y="connsiteY1777"/>
                </a:cxn>
                <a:cxn ang="0">
                  <a:pos x="connsiteX1778" y="connsiteY1778"/>
                </a:cxn>
                <a:cxn ang="0">
                  <a:pos x="connsiteX1779" y="connsiteY1779"/>
                </a:cxn>
                <a:cxn ang="0">
                  <a:pos x="connsiteX1780" y="connsiteY1780"/>
                </a:cxn>
                <a:cxn ang="0">
                  <a:pos x="connsiteX1781" y="connsiteY1781"/>
                </a:cxn>
                <a:cxn ang="0">
                  <a:pos x="connsiteX1782" y="connsiteY1782"/>
                </a:cxn>
                <a:cxn ang="0">
                  <a:pos x="connsiteX1783" y="connsiteY1783"/>
                </a:cxn>
                <a:cxn ang="0">
                  <a:pos x="connsiteX1784" y="connsiteY1784"/>
                </a:cxn>
                <a:cxn ang="0">
                  <a:pos x="connsiteX1785" y="connsiteY1785"/>
                </a:cxn>
                <a:cxn ang="0">
                  <a:pos x="connsiteX1786" y="connsiteY1786"/>
                </a:cxn>
                <a:cxn ang="0">
                  <a:pos x="connsiteX1787" y="connsiteY1787"/>
                </a:cxn>
                <a:cxn ang="0">
                  <a:pos x="connsiteX1788" y="connsiteY1788"/>
                </a:cxn>
                <a:cxn ang="0">
                  <a:pos x="connsiteX1789" y="connsiteY1789"/>
                </a:cxn>
                <a:cxn ang="0">
                  <a:pos x="connsiteX1790" y="connsiteY1790"/>
                </a:cxn>
                <a:cxn ang="0">
                  <a:pos x="connsiteX1791" y="connsiteY1791"/>
                </a:cxn>
                <a:cxn ang="0">
                  <a:pos x="connsiteX1792" y="connsiteY1792"/>
                </a:cxn>
                <a:cxn ang="0">
                  <a:pos x="connsiteX1793" y="connsiteY1793"/>
                </a:cxn>
                <a:cxn ang="0">
                  <a:pos x="connsiteX1794" y="connsiteY1794"/>
                </a:cxn>
                <a:cxn ang="0">
                  <a:pos x="connsiteX1795" y="connsiteY1795"/>
                </a:cxn>
                <a:cxn ang="0">
                  <a:pos x="connsiteX1796" y="connsiteY1796"/>
                </a:cxn>
                <a:cxn ang="0">
                  <a:pos x="connsiteX1797" y="connsiteY1797"/>
                </a:cxn>
                <a:cxn ang="0">
                  <a:pos x="connsiteX1798" y="connsiteY1798"/>
                </a:cxn>
                <a:cxn ang="0">
                  <a:pos x="connsiteX1799" y="connsiteY1799"/>
                </a:cxn>
                <a:cxn ang="0">
                  <a:pos x="connsiteX1800" y="connsiteY1800"/>
                </a:cxn>
                <a:cxn ang="0">
                  <a:pos x="connsiteX1801" y="connsiteY1801"/>
                </a:cxn>
                <a:cxn ang="0">
                  <a:pos x="connsiteX1802" y="connsiteY1802"/>
                </a:cxn>
                <a:cxn ang="0">
                  <a:pos x="connsiteX1803" y="connsiteY1803"/>
                </a:cxn>
                <a:cxn ang="0">
                  <a:pos x="connsiteX1804" y="connsiteY1804"/>
                </a:cxn>
                <a:cxn ang="0">
                  <a:pos x="connsiteX1805" y="connsiteY1805"/>
                </a:cxn>
                <a:cxn ang="0">
                  <a:pos x="connsiteX1806" y="connsiteY1806"/>
                </a:cxn>
                <a:cxn ang="0">
                  <a:pos x="connsiteX1807" y="connsiteY1807"/>
                </a:cxn>
                <a:cxn ang="0">
                  <a:pos x="connsiteX1808" y="connsiteY1808"/>
                </a:cxn>
                <a:cxn ang="0">
                  <a:pos x="connsiteX1809" y="connsiteY1809"/>
                </a:cxn>
                <a:cxn ang="0">
                  <a:pos x="connsiteX1810" y="connsiteY1810"/>
                </a:cxn>
                <a:cxn ang="0">
                  <a:pos x="connsiteX1811" y="connsiteY1811"/>
                </a:cxn>
                <a:cxn ang="0">
                  <a:pos x="connsiteX1812" y="connsiteY1812"/>
                </a:cxn>
                <a:cxn ang="0">
                  <a:pos x="connsiteX1813" y="connsiteY1813"/>
                </a:cxn>
                <a:cxn ang="0">
                  <a:pos x="connsiteX1814" y="connsiteY1814"/>
                </a:cxn>
                <a:cxn ang="0">
                  <a:pos x="connsiteX1815" y="connsiteY1815"/>
                </a:cxn>
                <a:cxn ang="0">
                  <a:pos x="connsiteX1816" y="connsiteY1816"/>
                </a:cxn>
                <a:cxn ang="0">
                  <a:pos x="connsiteX1817" y="connsiteY1817"/>
                </a:cxn>
                <a:cxn ang="0">
                  <a:pos x="connsiteX1818" y="connsiteY1818"/>
                </a:cxn>
                <a:cxn ang="0">
                  <a:pos x="connsiteX1819" y="connsiteY1819"/>
                </a:cxn>
                <a:cxn ang="0">
                  <a:pos x="connsiteX1820" y="connsiteY1820"/>
                </a:cxn>
                <a:cxn ang="0">
                  <a:pos x="connsiteX1821" y="connsiteY1821"/>
                </a:cxn>
                <a:cxn ang="0">
                  <a:pos x="connsiteX1822" y="connsiteY1822"/>
                </a:cxn>
                <a:cxn ang="0">
                  <a:pos x="connsiteX1823" y="connsiteY1823"/>
                </a:cxn>
                <a:cxn ang="0">
                  <a:pos x="connsiteX1824" y="connsiteY1824"/>
                </a:cxn>
                <a:cxn ang="0">
                  <a:pos x="connsiteX1825" y="connsiteY1825"/>
                </a:cxn>
                <a:cxn ang="0">
                  <a:pos x="connsiteX1826" y="connsiteY1826"/>
                </a:cxn>
                <a:cxn ang="0">
                  <a:pos x="connsiteX1827" y="connsiteY1827"/>
                </a:cxn>
                <a:cxn ang="0">
                  <a:pos x="connsiteX1828" y="connsiteY1828"/>
                </a:cxn>
                <a:cxn ang="0">
                  <a:pos x="connsiteX1829" y="connsiteY1829"/>
                </a:cxn>
                <a:cxn ang="0">
                  <a:pos x="connsiteX1830" y="connsiteY1830"/>
                </a:cxn>
                <a:cxn ang="0">
                  <a:pos x="connsiteX1831" y="connsiteY1831"/>
                </a:cxn>
                <a:cxn ang="0">
                  <a:pos x="connsiteX1832" y="connsiteY1832"/>
                </a:cxn>
                <a:cxn ang="0">
                  <a:pos x="connsiteX1833" y="connsiteY1833"/>
                </a:cxn>
                <a:cxn ang="0">
                  <a:pos x="connsiteX1834" y="connsiteY1834"/>
                </a:cxn>
                <a:cxn ang="0">
                  <a:pos x="connsiteX1835" y="connsiteY1835"/>
                </a:cxn>
                <a:cxn ang="0">
                  <a:pos x="connsiteX1836" y="connsiteY1836"/>
                </a:cxn>
                <a:cxn ang="0">
                  <a:pos x="connsiteX1837" y="connsiteY1837"/>
                </a:cxn>
                <a:cxn ang="0">
                  <a:pos x="connsiteX1838" y="connsiteY1838"/>
                </a:cxn>
                <a:cxn ang="0">
                  <a:pos x="connsiteX1839" y="connsiteY1839"/>
                </a:cxn>
                <a:cxn ang="0">
                  <a:pos x="connsiteX1840" y="connsiteY1840"/>
                </a:cxn>
                <a:cxn ang="0">
                  <a:pos x="connsiteX1841" y="connsiteY1841"/>
                </a:cxn>
                <a:cxn ang="0">
                  <a:pos x="connsiteX1842" y="connsiteY1842"/>
                </a:cxn>
                <a:cxn ang="0">
                  <a:pos x="connsiteX1843" y="connsiteY1843"/>
                </a:cxn>
                <a:cxn ang="0">
                  <a:pos x="connsiteX1844" y="connsiteY1844"/>
                </a:cxn>
                <a:cxn ang="0">
                  <a:pos x="connsiteX1845" y="connsiteY1845"/>
                </a:cxn>
                <a:cxn ang="0">
                  <a:pos x="connsiteX1846" y="connsiteY1846"/>
                </a:cxn>
                <a:cxn ang="0">
                  <a:pos x="connsiteX1847" y="connsiteY1847"/>
                </a:cxn>
                <a:cxn ang="0">
                  <a:pos x="connsiteX1848" y="connsiteY1848"/>
                </a:cxn>
                <a:cxn ang="0">
                  <a:pos x="connsiteX1849" y="connsiteY1849"/>
                </a:cxn>
                <a:cxn ang="0">
                  <a:pos x="connsiteX1850" y="connsiteY1850"/>
                </a:cxn>
                <a:cxn ang="0">
                  <a:pos x="connsiteX1851" y="connsiteY1851"/>
                </a:cxn>
                <a:cxn ang="0">
                  <a:pos x="connsiteX1852" y="connsiteY1852"/>
                </a:cxn>
                <a:cxn ang="0">
                  <a:pos x="connsiteX1853" y="connsiteY1853"/>
                </a:cxn>
                <a:cxn ang="0">
                  <a:pos x="connsiteX1854" y="connsiteY1854"/>
                </a:cxn>
                <a:cxn ang="0">
                  <a:pos x="connsiteX1855" y="connsiteY1855"/>
                </a:cxn>
                <a:cxn ang="0">
                  <a:pos x="connsiteX1856" y="connsiteY1856"/>
                </a:cxn>
                <a:cxn ang="0">
                  <a:pos x="connsiteX1857" y="connsiteY1857"/>
                </a:cxn>
                <a:cxn ang="0">
                  <a:pos x="connsiteX1858" y="connsiteY1858"/>
                </a:cxn>
                <a:cxn ang="0">
                  <a:pos x="connsiteX1859" y="connsiteY1859"/>
                </a:cxn>
                <a:cxn ang="0">
                  <a:pos x="connsiteX1860" y="connsiteY1860"/>
                </a:cxn>
                <a:cxn ang="0">
                  <a:pos x="connsiteX1861" y="connsiteY1861"/>
                </a:cxn>
                <a:cxn ang="0">
                  <a:pos x="connsiteX1862" y="connsiteY1862"/>
                </a:cxn>
                <a:cxn ang="0">
                  <a:pos x="connsiteX1863" y="connsiteY1863"/>
                </a:cxn>
                <a:cxn ang="0">
                  <a:pos x="connsiteX1864" y="connsiteY1864"/>
                </a:cxn>
                <a:cxn ang="0">
                  <a:pos x="connsiteX1865" y="connsiteY1865"/>
                </a:cxn>
                <a:cxn ang="0">
                  <a:pos x="connsiteX1866" y="connsiteY1866"/>
                </a:cxn>
                <a:cxn ang="0">
                  <a:pos x="connsiteX1867" y="connsiteY1867"/>
                </a:cxn>
                <a:cxn ang="0">
                  <a:pos x="connsiteX1868" y="connsiteY1868"/>
                </a:cxn>
                <a:cxn ang="0">
                  <a:pos x="connsiteX1869" y="connsiteY1869"/>
                </a:cxn>
                <a:cxn ang="0">
                  <a:pos x="connsiteX1870" y="connsiteY1870"/>
                </a:cxn>
                <a:cxn ang="0">
                  <a:pos x="connsiteX1871" y="connsiteY1871"/>
                </a:cxn>
                <a:cxn ang="0">
                  <a:pos x="connsiteX1872" y="connsiteY1872"/>
                </a:cxn>
                <a:cxn ang="0">
                  <a:pos x="connsiteX1873" y="connsiteY1873"/>
                </a:cxn>
                <a:cxn ang="0">
                  <a:pos x="connsiteX1874" y="connsiteY1874"/>
                </a:cxn>
                <a:cxn ang="0">
                  <a:pos x="connsiteX1875" y="connsiteY1875"/>
                </a:cxn>
                <a:cxn ang="0">
                  <a:pos x="connsiteX1876" y="connsiteY1876"/>
                </a:cxn>
                <a:cxn ang="0">
                  <a:pos x="connsiteX1877" y="connsiteY1877"/>
                </a:cxn>
                <a:cxn ang="0">
                  <a:pos x="connsiteX1878" y="connsiteY1878"/>
                </a:cxn>
                <a:cxn ang="0">
                  <a:pos x="connsiteX1879" y="connsiteY1879"/>
                </a:cxn>
                <a:cxn ang="0">
                  <a:pos x="connsiteX1880" y="connsiteY1880"/>
                </a:cxn>
                <a:cxn ang="0">
                  <a:pos x="connsiteX1881" y="connsiteY1881"/>
                </a:cxn>
                <a:cxn ang="0">
                  <a:pos x="connsiteX1882" y="connsiteY1882"/>
                </a:cxn>
                <a:cxn ang="0">
                  <a:pos x="connsiteX1883" y="connsiteY1883"/>
                </a:cxn>
                <a:cxn ang="0">
                  <a:pos x="connsiteX1884" y="connsiteY1884"/>
                </a:cxn>
                <a:cxn ang="0">
                  <a:pos x="connsiteX1885" y="connsiteY1885"/>
                </a:cxn>
                <a:cxn ang="0">
                  <a:pos x="connsiteX1886" y="connsiteY1886"/>
                </a:cxn>
                <a:cxn ang="0">
                  <a:pos x="connsiteX1887" y="connsiteY1887"/>
                </a:cxn>
                <a:cxn ang="0">
                  <a:pos x="connsiteX1888" y="connsiteY1888"/>
                </a:cxn>
                <a:cxn ang="0">
                  <a:pos x="connsiteX1889" y="connsiteY1889"/>
                </a:cxn>
                <a:cxn ang="0">
                  <a:pos x="connsiteX1890" y="connsiteY1890"/>
                </a:cxn>
                <a:cxn ang="0">
                  <a:pos x="connsiteX1891" y="connsiteY1891"/>
                </a:cxn>
                <a:cxn ang="0">
                  <a:pos x="connsiteX1892" y="connsiteY1892"/>
                </a:cxn>
                <a:cxn ang="0">
                  <a:pos x="connsiteX1893" y="connsiteY1893"/>
                </a:cxn>
                <a:cxn ang="0">
                  <a:pos x="connsiteX1894" y="connsiteY1894"/>
                </a:cxn>
                <a:cxn ang="0">
                  <a:pos x="connsiteX1895" y="connsiteY1895"/>
                </a:cxn>
                <a:cxn ang="0">
                  <a:pos x="connsiteX1896" y="connsiteY1896"/>
                </a:cxn>
                <a:cxn ang="0">
                  <a:pos x="connsiteX1897" y="connsiteY1897"/>
                </a:cxn>
                <a:cxn ang="0">
                  <a:pos x="connsiteX1898" y="connsiteY1898"/>
                </a:cxn>
                <a:cxn ang="0">
                  <a:pos x="connsiteX1899" y="connsiteY1899"/>
                </a:cxn>
                <a:cxn ang="0">
                  <a:pos x="connsiteX1900" y="connsiteY1900"/>
                </a:cxn>
                <a:cxn ang="0">
                  <a:pos x="connsiteX1901" y="connsiteY1901"/>
                </a:cxn>
                <a:cxn ang="0">
                  <a:pos x="connsiteX1902" y="connsiteY1902"/>
                </a:cxn>
                <a:cxn ang="0">
                  <a:pos x="connsiteX1903" y="connsiteY1903"/>
                </a:cxn>
                <a:cxn ang="0">
                  <a:pos x="connsiteX1904" y="connsiteY1904"/>
                </a:cxn>
                <a:cxn ang="0">
                  <a:pos x="connsiteX1905" y="connsiteY1905"/>
                </a:cxn>
                <a:cxn ang="0">
                  <a:pos x="connsiteX1906" y="connsiteY1906"/>
                </a:cxn>
                <a:cxn ang="0">
                  <a:pos x="connsiteX1907" y="connsiteY1907"/>
                </a:cxn>
                <a:cxn ang="0">
                  <a:pos x="connsiteX1908" y="connsiteY1908"/>
                </a:cxn>
                <a:cxn ang="0">
                  <a:pos x="connsiteX1909" y="connsiteY1909"/>
                </a:cxn>
                <a:cxn ang="0">
                  <a:pos x="connsiteX1910" y="connsiteY1910"/>
                </a:cxn>
                <a:cxn ang="0">
                  <a:pos x="connsiteX1911" y="connsiteY1911"/>
                </a:cxn>
                <a:cxn ang="0">
                  <a:pos x="connsiteX1912" y="connsiteY1912"/>
                </a:cxn>
                <a:cxn ang="0">
                  <a:pos x="connsiteX1913" y="connsiteY1913"/>
                </a:cxn>
                <a:cxn ang="0">
                  <a:pos x="connsiteX1914" y="connsiteY1914"/>
                </a:cxn>
                <a:cxn ang="0">
                  <a:pos x="connsiteX1915" y="connsiteY1915"/>
                </a:cxn>
                <a:cxn ang="0">
                  <a:pos x="connsiteX1916" y="connsiteY1916"/>
                </a:cxn>
                <a:cxn ang="0">
                  <a:pos x="connsiteX1917" y="connsiteY1917"/>
                </a:cxn>
                <a:cxn ang="0">
                  <a:pos x="connsiteX1918" y="connsiteY1918"/>
                </a:cxn>
                <a:cxn ang="0">
                  <a:pos x="connsiteX1919" y="connsiteY1919"/>
                </a:cxn>
                <a:cxn ang="0">
                  <a:pos x="connsiteX1920" y="connsiteY1920"/>
                </a:cxn>
                <a:cxn ang="0">
                  <a:pos x="connsiteX1921" y="connsiteY1921"/>
                </a:cxn>
                <a:cxn ang="0">
                  <a:pos x="connsiteX1922" y="connsiteY1922"/>
                </a:cxn>
                <a:cxn ang="0">
                  <a:pos x="connsiteX1923" y="connsiteY1923"/>
                </a:cxn>
                <a:cxn ang="0">
                  <a:pos x="connsiteX1924" y="connsiteY1924"/>
                </a:cxn>
                <a:cxn ang="0">
                  <a:pos x="connsiteX1925" y="connsiteY1925"/>
                </a:cxn>
                <a:cxn ang="0">
                  <a:pos x="connsiteX1926" y="connsiteY1926"/>
                </a:cxn>
                <a:cxn ang="0">
                  <a:pos x="connsiteX1927" y="connsiteY1927"/>
                </a:cxn>
                <a:cxn ang="0">
                  <a:pos x="connsiteX1928" y="connsiteY1928"/>
                </a:cxn>
                <a:cxn ang="0">
                  <a:pos x="connsiteX1929" y="connsiteY1929"/>
                </a:cxn>
                <a:cxn ang="0">
                  <a:pos x="connsiteX1930" y="connsiteY1930"/>
                </a:cxn>
                <a:cxn ang="0">
                  <a:pos x="connsiteX1931" y="connsiteY1931"/>
                </a:cxn>
                <a:cxn ang="0">
                  <a:pos x="connsiteX1932" y="connsiteY1932"/>
                </a:cxn>
                <a:cxn ang="0">
                  <a:pos x="connsiteX1933" y="connsiteY1933"/>
                </a:cxn>
                <a:cxn ang="0">
                  <a:pos x="connsiteX1934" y="connsiteY1934"/>
                </a:cxn>
                <a:cxn ang="0">
                  <a:pos x="connsiteX1935" y="connsiteY1935"/>
                </a:cxn>
                <a:cxn ang="0">
                  <a:pos x="connsiteX1936" y="connsiteY1936"/>
                </a:cxn>
                <a:cxn ang="0">
                  <a:pos x="connsiteX1937" y="connsiteY1937"/>
                </a:cxn>
                <a:cxn ang="0">
                  <a:pos x="connsiteX1938" y="connsiteY1938"/>
                </a:cxn>
                <a:cxn ang="0">
                  <a:pos x="connsiteX1939" y="connsiteY1939"/>
                </a:cxn>
                <a:cxn ang="0">
                  <a:pos x="connsiteX1940" y="connsiteY1940"/>
                </a:cxn>
                <a:cxn ang="0">
                  <a:pos x="connsiteX1941" y="connsiteY1941"/>
                </a:cxn>
                <a:cxn ang="0">
                  <a:pos x="connsiteX1942" y="connsiteY1942"/>
                </a:cxn>
                <a:cxn ang="0">
                  <a:pos x="connsiteX1943" y="connsiteY1943"/>
                </a:cxn>
                <a:cxn ang="0">
                  <a:pos x="connsiteX1944" y="connsiteY1944"/>
                </a:cxn>
                <a:cxn ang="0">
                  <a:pos x="connsiteX1945" y="connsiteY1945"/>
                </a:cxn>
                <a:cxn ang="0">
                  <a:pos x="connsiteX1946" y="connsiteY1946"/>
                </a:cxn>
                <a:cxn ang="0">
                  <a:pos x="connsiteX1947" y="connsiteY1947"/>
                </a:cxn>
                <a:cxn ang="0">
                  <a:pos x="connsiteX1948" y="connsiteY1948"/>
                </a:cxn>
                <a:cxn ang="0">
                  <a:pos x="connsiteX1949" y="connsiteY1949"/>
                </a:cxn>
                <a:cxn ang="0">
                  <a:pos x="connsiteX1950" y="connsiteY1950"/>
                </a:cxn>
                <a:cxn ang="0">
                  <a:pos x="connsiteX1951" y="connsiteY1951"/>
                </a:cxn>
                <a:cxn ang="0">
                  <a:pos x="connsiteX1952" y="connsiteY1952"/>
                </a:cxn>
                <a:cxn ang="0">
                  <a:pos x="connsiteX1953" y="connsiteY1953"/>
                </a:cxn>
                <a:cxn ang="0">
                  <a:pos x="connsiteX1954" y="connsiteY1954"/>
                </a:cxn>
                <a:cxn ang="0">
                  <a:pos x="connsiteX1955" y="connsiteY1955"/>
                </a:cxn>
                <a:cxn ang="0">
                  <a:pos x="connsiteX1956" y="connsiteY1956"/>
                </a:cxn>
                <a:cxn ang="0">
                  <a:pos x="connsiteX1957" y="connsiteY1957"/>
                </a:cxn>
                <a:cxn ang="0">
                  <a:pos x="connsiteX1958" y="connsiteY1958"/>
                </a:cxn>
                <a:cxn ang="0">
                  <a:pos x="connsiteX1959" y="connsiteY1959"/>
                </a:cxn>
                <a:cxn ang="0">
                  <a:pos x="connsiteX1960" y="connsiteY1960"/>
                </a:cxn>
                <a:cxn ang="0">
                  <a:pos x="connsiteX1961" y="connsiteY1961"/>
                </a:cxn>
                <a:cxn ang="0">
                  <a:pos x="connsiteX1962" y="connsiteY1962"/>
                </a:cxn>
                <a:cxn ang="0">
                  <a:pos x="connsiteX1963" y="connsiteY1963"/>
                </a:cxn>
                <a:cxn ang="0">
                  <a:pos x="connsiteX1964" y="connsiteY1964"/>
                </a:cxn>
                <a:cxn ang="0">
                  <a:pos x="connsiteX1965" y="connsiteY1965"/>
                </a:cxn>
                <a:cxn ang="0">
                  <a:pos x="connsiteX1966" y="connsiteY1966"/>
                </a:cxn>
                <a:cxn ang="0">
                  <a:pos x="connsiteX1967" y="connsiteY1967"/>
                </a:cxn>
                <a:cxn ang="0">
                  <a:pos x="connsiteX1968" y="connsiteY1968"/>
                </a:cxn>
                <a:cxn ang="0">
                  <a:pos x="connsiteX1969" y="connsiteY1969"/>
                </a:cxn>
                <a:cxn ang="0">
                  <a:pos x="connsiteX1970" y="connsiteY1970"/>
                </a:cxn>
                <a:cxn ang="0">
                  <a:pos x="connsiteX1971" y="connsiteY1971"/>
                </a:cxn>
                <a:cxn ang="0">
                  <a:pos x="connsiteX1972" y="connsiteY1972"/>
                </a:cxn>
                <a:cxn ang="0">
                  <a:pos x="connsiteX1973" y="connsiteY1973"/>
                </a:cxn>
                <a:cxn ang="0">
                  <a:pos x="connsiteX1974" y="connsiteY1974"/>
                </a:cxn>
                <a:cxn ang="0">
                  <a:pos x="connsiteX1975" y="connsiteY1975"/>
                </a:cxn>
                <a:cxn ang="0">
                  <a:pos x="connsiteX1976" y="connsiteY1976"/>
                </a:cxn>
                <a:cxn ang="0">
                  <a:pos x="connsiteX1977" y="connsiteY1977"/>
                </a:cxn>
                <a:cxn ang="0">
                  <a:pos x="connsiteX1978" y="connsiteY1978"/>
                </a:cxn>
                <a:cxn ang="0">
                  <a:pos x="connsiteX1979" y="connsiteY1979"/>
                </a:cxn>
                <a:cxn ang="0">
                  <a:pos x="connsiteX1980" y="connsiteY1980"/>
                </a:cxn>
                <a:cxn ang="0">
                  <a:pos x="connsiteX1981" y="connsiteY1981"/>
                </a:cxn>
                <a:cxn ang="0">
                  <a:pos x="connsiteX1982" y="connsiteY1982"/>
                </a:cxn>
                <a:cxn ang="0">
                  <a:pos x="connsiteX1983" y="connsiteY1983"/>
                </a:cxn>
                <a:cxn ang="0">
                  <a:pos x="connsiteX1984" y="connsiteY1984"/>
                </a:cxn>
                <a:cxn ang="0">
                  <a:pos x="connsiteX1985" y="connsiteY1985"/>
                </a:cxn>
                <a:cxn ang="0">
                  <a:pos x="connsiteX1986" y="connsiteY1986"/>
                </a:cxn>
                <a:cxn ang="0">
                  <a:pos x="connsiteX1987" y="connsiteY1987"/>
                </a:cxn>
                <a:cxn ang="0">
                  <a:pos x="connsiteX1988" y="connsiteY1988"/>
                </a:cxn>
                <a:cxn ang="0">
                  <a:pos x="connsiteX1989" y="connsiteY1989"/>
                </a:cxn>
                <a:cxn ang="0">
                  <a:pos x="connsiteX1990" y="connsiteY1990"/>
                </a:cxn>
                <a:cxn ang="0">
                  <a:pos x="connsiteX1991" y="connsiteY1991"/>
                </a:cxn>
                <a:cxn ang="0">
                  <a:pos x="connsiteX1992" y="connsiteY1992"/>
                </a:cxn>
                <a:cxn ang="0">
                  <a:pos x="connsiteX1993" y="connsiteY1993"/>
                </a:cxn>
                <a:cxn ang="0">
                  <a:pos x="connsiteX1994" y="connsiteY1994"/>
                </a:cxn>
                <a:cxn ang="0">
                  <a:pos x="connsiteX1995" y="connsiteY1995"/>
                </a:cxn>
                <a:cxn ang="0">
                  <a:pos x="connsiteX1996" y="connsiteY1996"/>
                </a:cxn>
                <a:cxn ang="0">
                  <a:pos x="connsiteX1997" y="connsiteY1997"/>
                </a:cxn>
                <a:cxn ang="0">
                  <a:pos x="connsiteX1998" y="connsiteY1998"/>
                </a:cxn>
                <a:cxn ang="0">
                  <a:pos x="connsiteX1999" y="connsiteY1999"/>
                </a:cxn>
                <a:cxn ang="0">
                  <a:pos x="connsiteX2000" y="connsiteY2000"/>
                </a:cxn>
                <a:cxn ang="0">
                  <a:pos x="connsiteX2001" y="connsiteY2001"/>
                </a:cxn>
                <a:cxn ang="0">
                  <a:pos x="connsiteX2002" y="connsiteY2002"/>
                </a:cxn>
                <a:cxn ang="0">
                  <a:pos x="connsiteX2003" y="connsiteY2003"/>
                </a:cxn>
                <a:cxn ang="0">
                  <a:pos x="connsiteX2004" y="connsiteY2004"/>
                </a:cxn>
                <a:cxn ang="0">
                  <a:pos x="connsiteX2005" y="connsiteY2005"/>
                </a:cxn>
                <a:cxn ang="0">
                  <a:pos x="connsiteX2006" y="connsiteY2006"/>
                </a:cxn>
                <a:cxn ang="0">
                  <a:pos x="connsiteX2007" y="connsiteY2007"/>
                </a:cxn>
                <a:cxn ang="0">
                  <a:pos x="connsiteX2008" y="connsiteY2008"/>
                </a:cxn>
                <a:cxn ang="0">
                  <a:pos x="connsiteX2009" y="connsiteY2009"/>
                </a:cxn>
                <a:cxn ang="0">
                  <a:pos x="connsiteX2010" y="connsiteY2010"/>
                </a:cxn>
                <a:cxn ang="0">
                  <a:pos x="connsiteX2011" y="connsiteY2011"/>
                </a:cxn>
                <a:cxn ang="0">
                  <a:pos x="connsiteX2012" y="connsiteY2012"/>
                </a:cxn>
                <a:cxn ang="0">
                  <a:pos x="connsiteX2013" y="connsiteY2013"/>
                </a:cxn>
                <a:cxn ang="0">
                  <a:pos x="connsiteX2014" y="connsiteY2014"/>
                </a:cxn>
                <a:cxn ang="0">
                  <a:pos x="connsiteX2015" y="connsiteY2015"/>
                </a:cxn>
                <a:cxn ang="0">
                  <a:pos x="connsiteX2016" y="connsiteY2016"/>
                </a:cxn>
                <a:cxn ang="0">
                  <a:pos x="connsiteX2017" y="connsiteY2017"/>
                </a:cxn>
                <a:cxn ang="0">
                  <a:pos x="connsiteX2018" y="connsiteY2018"/>
                </a:cxn>
                <a:cxn ang="0">
                  <a:pos x="connsiteX2019" y="connsiteY2019"/>
                </a:cxn>
                <a:cxn ang="0">
                  <a:pos x="connsiteX2020" y="connsiteY2020"/>
                </a:cxn>
                <a:cxn ang="0">
                  <a:pos x="connsiteX2021" y="connsiteY2021"/>
                </a:cxn>
                <a:cxn ang="0">
                  <a:pos x="connsiteX2022" y="connsiteY2022"/>
                </a:cxn>
                <a:cxn ang="0">
                  <a:pos x="connsiteX2023" y="connsiteY2023"/>
                </a:cxn>
                <a:cxn ang="0">
                  <a:pos x="connsiteX2024" y="connsiteY2024"/>
                </a:cxn>
                <a:cxn ang="0">
                  <a:pos x="connsiteX2025" y="connsiteY2025"/>
                </a:cxn>
                <a:cxn ang="0">
                  <a:pos x="connsiteX2026" y="connsiteY2026"/>
                </a:cxn>
                <a:cxn ang="0">
                  <a:pos x="connsiteX2027" y="connsiteY2027"/>
                </a:cxn>
                <a:cxn ang="0">
                  <a:pos x="connsiteX2028" y="connsiteY2028"/>
                </a:cxn>
                <a:cxn ang="0">
                  <a:pos x="connsiteX2029" y="connsiteY2029"/>
                </a:cxn>
                <a:cxn ang="0">
                  <a:pos x="connsiteX2030" y="connsiteY2030"/>
                </a:cxn>
                <a:cxn ang="0">
                  <a:pos x="connsiteX2031" y="connsiteY2031"/>
                </a:cxn>
                <a:cxn ang="0">
                  <a:pos x="connsiteX2032" y="connsiteY2032"/>
                </a:cxn>
                <a:cxn ang="0">
                  <a:pos x="connsiteX2033" y="connsiteY2033"/>
                </a:cxn>
                <a:cxn ang="0">
                  <a:pos x="connsiteX2034" y="connsiteY2034"/>
                </a:cxn>
                <a:cxn ang="0">
                  <a:pos x="connsiteX2035" y="connsiteY2035"/>
                </a:cxn>
                <a:cxn ang="0">
                  <a:pos x="connsiteX2036" y="connsiteY2036"/>
                </a:cxn>
                <a:cxn ang="0">
                  <a:pos x="connsiteX2037" y="connsiteY2037"/>
                </a:cxn>
                <a:cxn ang="0">
                  <a:pos x="connsiteX2038" y="connsiteY2038"/>
                </a:cxn>
                <a:cxn ang="0">
                  <a:pos x="connsiteX2039" y="connsiteY2039"/>
                </a:cxn>
                <a:cxn ang="0">
                  <a:pos x="connsiteX2040" y="connsiteY2040"/>
                </a:cxn>
                <a:cxn ang="0">
                  <a:pos x="connsiteX2041" y="connsiteY2041"/>
                </a:cxn>
                <a:cxn ang="0">
                  <a:pos x="connsiteX2042" y="connsiteY2042"/>
                </a:cxn>
                <a:cxn ang="0">
                  <a:pos x="connsiteX2043" y="connsiteY2043"/>
                </a:cxn>
                <a:cxn ang="0">
                  <a:pos x="connsiteX2044" y="connsiteY2044"/>
                </a:cxn>
                <a:cxn ang="0">
                  <a:pos x="connsiteX2045" y="connsiteY2045"/>
                </a:cxn>
                <a:cxn ang="0">
                  <a:pos x="connsiteX2046" y="connsiteY2046"/>
                </a:cxn>
                <a:cxn ang="0">
                  <a:pos x="connsiteX2047" y="connsiteY2047"/>
                </a:cxn>
                <a:cxn ang="0">
                  <a:pos x="connsiteX2048" y="connsiteY2048"/>
                </a:cxn>
                <a:cxn ang="0">
                  <a:pos x="connsiteX2049" y="connsiteY2049"/>
                </a:cxn>
                <a:cxn ang="0">
                  <a:pos x="connsiteX2050" y="connsiteY2050"/>
                </a:cxn>
                <a:cxn ang="0">
                  <a:pos x="connsiteX2051" y="connsiteY2051"/>
                </a:cxn>
                <a:cxn ang="0">
                  <a:pos x="connsiteX2052" y="connsiteY2052"/>
                </a:cxn>
                <a:cxn ang="0">
                  <a:pos x="connsiteX2053" y="connsiteY2053"/>
                </a:cxn>
                <a:cxn ang="0">
                  <a:pos x="connsiteX2054" y="connsiteY2054"/>
                </a:cxn>
                <a:cxn ang="0">
                  <a:pos x="connsiteX2055" y="connsiteY2055"/>
                </a:cxn>
                <a:cxn ang="0">
                  <a:pos x="connsiteX2056" y="connsiteY2056"/>
                </a:cxn>
                <a:cxn ang="0">
                  <a:pos x="connsiteX2057" y="connsiteY2057"/>
                </a:cxn>
                <a:cxn ang="0">
                  <a:pos x="connsiteX2058" y="connsiteY2058"/>
                </a:cxn>
                <a:cxn ang="0">
                  <a:pos x="connsiteX2059" y="connsiteY2059"/>
                </a:cxn>
                <a:cxn ang="0">
                  <a:pos x="connsiteX2060" y="connsiteY2060"/>
                </a:cxn>
                <a:cxn ang="0">
                  <a:pos x="connsiteX2061" y="connsiteY2061"/>
                </a:cxn>
                <a:cxn ang="0">
                  <a:pos x="connsiteX2062" y="connsiteY2062"/>
                </a:cxn>
                <a:cxn ang="0">
                  <a:pos x="connsiteX2063" y="connsiteY2063"/>
                </a:cxn>
                <a:cxn ang="0">
                  <a:pos x="connsiteX2064" y="connsiteY2064"/>
                </a:cxn>
                <a:cxn ang="0">
                  <a:pos x="connsiteX2065" y="connsiteY2065"/>
                </a:cxn>
                <a:cxn ang="0">
                  <a:pos x="connsiteX2066" y="connsiteY2066"/>
                </a:cxn>
                <a:cxn ang="0">
                  <a:pos x="connsiteX2067" y="connsiteY2067"/>
                </a:cxn>
                <a:cxn ang="0">
                  <a:pos x="connsiteX2068" y="connsiteY2068"/>
                </a:cxn>
                <a:cxn ang="0">
                  <a:pos x="connsiteX2069" y="connsiteY2069"/>
                </a:cxn>
                <a:cxn ang="0">
                  <a:pos x="connsiteX2070" y="connsiteY2070"/>
                </a:cxn>
                <a:cxn ang="0">
                  <a:pos x="connsiteX2071" y="connsiteY2071"/>
                </a:cxn>
                <a:cxn ang="0">
                  <a:pos x="connsiteX2072" y="connsiteY2072"/>
                </a:cxn>
                <a:cxn ang="0">
                  <a:pos x="connsiteX2073" y="connsiteY2073"/>
                </a:cxn>
                <a:cxn ang="0">
                  <a:pos x="connsiteX2074" y="connsiteY2074"/>
                </a:cxn>
                <a:cxn ang="0">
                  <a:pos x="connsiteX2075" y="connsiteY2075"/>
                </a:cxn>
                <a:cxn ang="0">
                  <a:pos x="connsiteX2076" y="connsiteY2076"/>
                </a:cxn>
                <a:cxn ang="0">
                  <a:pos x="connsiteX2077" y="connsiteY2077"/>
                </a:cxn>
                <a:cxn ang="0">
                  <a:pos x="connsiteX2078" y="connsiteY2078"/>
                </a:cxn>
                <a:cxn ang="0">
                  <a:pos x="connsiteX2079" y="connsiteY2079"/>
                </a:cxn>
                <a:cxn ang="0">
                  <a:pos x="connsiteX2080" y="connsiteY2080"/>
                </a:cxn>
                <a:cxn ang="0">
                  <a:pos x="connsiteX2081" y="connsiteY2081"/>
                </a:cxn>
                <a:cxn ang="0">
                  <a:pos x="connsiteX2082" y="connsiteY2082"/>
                </a:cxn>
                <a:cxn ang="0">
                  <a:pos x="connsiteX2083" y="connsiteY2083"/>
                </a:cxn>
                <a:cxn ang="0">
                  <a:pos x="connsiteX2084" y="connsiteY2084"/>
                </a:cxn>
                <a:cxn ang="0">
                  <a:pos x="connsiteX2085" y="connsiteY2085"/>
                </a:cxn>
                <a:cxn ang="0">
                  <a:pos x="connsiteX2086" y="connsiteY2086"/>
                </a:cxn>
                <a:cxn ang="0">
                  <a:pos x="connsiteX2087" y="connsiteY2087"/>
                </a:cxn>
                <a:cxn ang="0">
                  <a:pos x="connsiteX2088" y="connsiteY2088"/>
                </a:cxn>
                <a:cxn ang="0">
                  <a:pos x="connsiteX2089" y="connsiteY2089"/>
                </a:cxn>
                <a:cxn ang="0">
                  <a:pos x="connsiteX2090" y="connsiteY2090"/>
                </a:cxn>
                <a:cxn ang="0">
                  <a:pos x="connsiteX2091" y="connsiteY2091"/>
                </a:cxn>
                <a:cxn ang="0">
                  <a:pos x="connsiteX2092" y="connsiteY2092"/>
                </a:cxn>
                <a:cxn ang="0">
                  <a:pos x="connsiteX2093" y="connsiteY2093"/>
                </a:cxn>
                <a:cxn ang="0">
                  <a:pos x="connsiteX2094" y="connsiteY2094"/>
                </a:cxn>
                <a:cxn ang="0">
                  <a:pos x="connsiteX2095" y="connsiteY2095"/>
                </a:cxn>
                <a:cxn ang="0">
                  <a:pos x="connsiteX2096" y="connsiteY2096"/>
                </a:cxn>
                <a:cxn ang="0">
                  <a:pos x="connsiteX2097" y="connsiteY2097"/>
                </a:cxn>
                <a:cxn ang="0">
                  <a:pos x="connsiteX2098" y="connsiteY2098"/>
                </a:cxn>
                <a:cxn ang="0">
                  <a:pos x="connsiteX2099" y="connsiteY2099"/>
                </a:cxn>
                <a:cxn ang="0">
                  <a:pos x="connsiteX2100" y="connsiteY2100"/>
                </a:cxn>
                <a:cxn ang="0">
                  <a:pos x="connsiteX2101" y="connsiteY2101"/>
                </a:cxn>
                <a:cxn ang="0">
                  <a:pos x="connsiteX2102" y="connsiteY2102"/>
                </a:cxn>
                <a:cxn ang="0">
                  <a:pos x="connsiteX2103" y="connsiteY2103"/>
                </a:cxn>
                <a:cxn ang="0">
                  <a:pos x="connsiteX2104" y="connsiteY2104"/>
                </a:cxn>
                <a:cxn ang="0">
                  <a:pos x="connsiteX2105" y="connsiteY2105"/>
                </a:cxn>
                <a:cxn ang="0">
                  <a:pos x="connsiteX2106" y="connsiteY2106"/>
                </a:cxn>
                <a:cxn ang="0">
                  <a:pos x="connsiteX2107" y="connsiteY2107"/>
                </a:cxn>
                <a:cxn ang="0">
                  <a:pos x="connsiteX2108" y="connsiteY2108"/>
                </a:cxn>
                <a:cxn ang="0">
                  <a:pos x="connsiteX2109" y="connsiteY2109"/>
                </a:cxn>
                <a:cxn ang="0">
                  <a:pos x="connsiteX2110" y="connsiteY2110"/>
                </a:cxn>
                <a:cxn ang="0">
                  <a:pos x="connsiteX2111" y="connsiteY2111"/>
                </a:cxn>
                <a:cxn ang="0">
                  <a:pos x="connsiteX2112" y="connsiteY2112"/>
                </a:cxn>
                <a:cxn ang="0">
                  <a:pos x="connsiteX2113" y="connsiteY2113"/>
                </a:cxn>
                <a:cxn ang="0">
                  <a:pos x="connsiteX2114" y="connsiteY2114"/>
                </a:cxn>
                <a:cxn ang="0">
                  <a:pos x="connsiteX2115" y="connsiteY2115"/>
                </a:cxn>
                <a:cxn ang="0">
                  <a:pos x="connsiteX2116" y="connsiteY2116"/>
                </a:cxn>
                <a:cxn ang="0">
                  <a:pos x="connsiteX2117" y="connsiteY2117"/>
                </a:cxn>
                <a:cxn ang="0">
                  <a:pos x="connsiteX2118" y="connsiteY2118"/>
                </a:cxn>
                <a:cxn ang="0">
                  <a:pos x="connsiteX2119" y="connsiteY2119"/>
                </a:cxn>
                <a:cxn ang="0">
                  <a:pos x="connsiteX2120" y="connsiteY2120"/>
                </a:cxn>
                <a:cxn ang="0">
                  <a:pos x="connsiteX2121" y="connsiteY2121"/>
                </a:cxn>
                <a:cxn ang="0">
                  <a:pos x="connsiteX2122" y="connsiteY2122"/>
                </a:cxn>
                <a:cxn ang="0">
                  <a:pos x="connsiteX2123" y="connsiteY2123"/>
                </a:cxn>
                <a:cxn ang="0">
                  <a:pos x="connsiteX2124" y="connsiteY2124"/>
                </a:cxn>
                <a:cxn ang="0">
                  <a:pos x="connsiteX2125" y="connsiteY2125"/>
                </a:cxn>
                <a:cxn ang="0">
                  <a:pos x="connsiteX2126" y="connsiteY2126"/>
                </a:cxn>
                <a:cxn ang="0">
                  <a:pos x="connsiteX2127" y="connsiteY2127"/>
                </a:cxn>
                <a:cxn ang="0">
                  <a:pos x="connsiteX2128" y="connsiteY2128"/>
                </a:cxn>
                <a:cxn ang="0">
                  <a:pos x="connsiteX2129" y="connsiteY2129"/>
                </a:cxn>
                <a:cxn ang="0">
                  <a:pos x="connsiteX2130" y="connsiteY2130"/>
                </a:cxn>
                <a:cxn ang="0">
                  <a:pos x="connsiteX2131" y="connsiteY2131"/>
                </a:cxn>
                <a:cxn ang="0">
                  <a:pos x="connsiteX2132" y="connsiteY2132"/>
                </a:cxn>
                <a:cxn ang="0">
                  <a:pos x="connsiteX2133" y="connsiteY2133"/>
                </a:cxn>
                <a:cxn ang="0">
                  <a:pos x="connsiteX2134" y="connsiteY2134"/>
                </a:cxn>
                <a:cxn ang="0">
                  <a:pos x="connsiteX2135" y="connsiteY2135"/>
                </a:cxn>
                <a:cxn ang="0">
                  <a:pos x="connsiteX2136" y="connsiteY2136"/>
                </a:cxn>
                <a:cxn ang="0">
                  <a:pos x="connsiteX2137" y="connsiteY2137"/>
                </a:cxn>
                <a:cxn ang="0">
                  <a:pos x="connsiteX2138" y="connsiteY2138"/>
                </a:cxn>
                <a:cxn ang="0">
                  <a:pos x="connsiteX2139" y="connsiteY2139"/>
                </a:cxn>
                <a:cxn ang="0">
                  <a:pos x="connsiteX2140" y="connsiteY2140"/>
                </a:cxn>
                <a:cxn ang="0">
                  <a:pos x="connsiteX2141" y="connsiteY2141"/>
                </a:cxn>
                <a:cxn ang="0">
                  <a:pos x="connsiteX2142" y="connsiteY2142"/>
                </a:cxn>
                <a:cxn ang="0">
                  <a:pos x="connsiteX2143" y="connsiteY2143"/>
                </a:cxn>
                <a:cxn ang="0">
                  <a:pos x="connsiteX2144" y="connsiteY2144"/>
                </a:cxn>
                <a:cxn ang="0">
                  <a:pos x="connsiteX2145" y="connsiteY2145"/>
                </a:cxn>
                <a:cxn ang="0">
                  <a:pos x="connsiteX2146" y="connsiteY2146"/>
                </a:cxn>
                <a:cxn ang="0">
                  <a:pos x="connsiteX2147" y="connsiteY2147"/>
                </a:cxn>
                <a:cxn ang="0">
                  <a:pos x="connsiteX2148" y="connsiteY2148"/>
                </a:cxn>
                <a:cxn ang="0">
                  <a:pos x="connsiteX2149" y="connsiteY2149"/>
                </a:cxn>
                <a:cxn ang="0">
                  <a:pos x="connsiteX2150" y="connsiteY2150"/>
                </a:cxn>
                <a:cxn ang="0">
                  <a:pos x="connsiteX2151" y="connsiteY2151"/>
                </a:cxn>
                <a:cxn ang="0">
                  <a:pos x="connsiteX2152" y="connsiteY2152"/>
                </a:cxn>
                <a:cxn ang="0">
                  <a:pos x="connsiteX2153" y="connsiteY2153"/>
                </a:cxn>
                <a:cxn ang="0">
                  <a:pos x="connsiteX2154" y="connsiteY2154"/>
                </a:cxn>
                <a:cxn ang="0">
                  <a:pos x="connsiteX2155" y="connsiteY2155"/>
                </a:cxn>
                <a:cxn ang="0">
                  <a:pos x="connsiteX2156" y="connsiteY2156"/>
                </a:cxn>
                <a:cxn ang="0">
                  <a:pos x="connsiteX2157" y="connsiteY2157"/>
                </a:cxn>
                <a:cxn ang="0">
                  <a:pos x="connsiteX2158" y="connsiteY2158"/>
                </a:cxn>
                <a:cxn ang="0">
                  <a:pos x="connsiteX2159" y="connsiteY2159"/>
                </a:cxn>
                <a:cxn ang="0">
                  <a:pos x="connsiteX2160" y="connsiteY2160"/>
                </a:cxn>
                <a:cxn ang="0">
                  <a:pos x="connsiteX2161" y="connsiteY2161"/>
                </a:cxn>
                <a:cxn ang="0">
                  <a:pos x="connsiteX2162" y="connsiteY2162"/>
                </a:cxn>
                <a:cxn ang="0">
                  <a:pos x="connsiteX2163" y="connsiteY2163"/>
                </a:cxn>
                <a:cxn ang="0">
                  <a:pos x="connsiteX2164" y="connsiteY2164"/>
                </a:cxn>
                <a:cxn ang="0">
                  <a:pos x="connsiteX2165" y="connsiteY2165"/>
                </a:cxn>
                <a:cxn ang="0">
                  <a:pos x="connsiteX2166" y="connsiteY2166"/>
                </a:cxn>
                <a:cxn ang="0">
                  <a:pos x="connsiteX2167" y="connsiteY2167"/>
                </a:cxn>
                <a:cxn ang="0">
                  <a:pos x="connsiteX2168" y="connsiteY2168"/>
                </a:cxn>
                <a:cxn ang="0">
                  <a:pos x="connsiteX2169" y="connsiteY2169"/>
                </a:cxn>
                <a:cxn ang="0">
                  <a:pos x="connsiteX2170" y="connsiteY2170"/>
                </a:cxn>
                <a:cxn ang="0">
                  <a:pos x="connsiteX2171" y="connsiteY2171"/>
                </a:cxn>
                <a:cxn ang="0">
                  <a:pos x="connsiteX2172" y="connsiteY2172"/>
                </a:cxn>
                <a:cxn ang="0">
                  <a:pos x="connsiteX2173" y="connsiteY2173"/>
                </a:cxn>
                <a:cxn ang="0">
                  <a:pos x="connsiteX2174" y="connsiteY2174"/>
                </a:cxn>
                <a:cxn ang="0">
                  <a:pos x="connsiteX2175" y="connsiteY2175"/>
                </a:cxn>
                <a:cxn ang="0">
                  <a:pos x="connsiteX2176" y="connsiteY2176"/>
                </a:cxn>
                <a:cxn ang="0">
                  <a:pos x="connsiteX2177" y="connsiteY2177"/>
                </a:cxn>
                <a:cxn ang="0">
                  <a:pos x="connsiteX2178" y="connsiteY2178"/>
                </a:cxn>
                <a:cxn ang="0">
                  <a:pos x="connsiteX2179" y="connsiteY2179"/>
                </a:cxn>
                <a:cxn ang="0">
                  <a:pos x="connsiteX2180" y="connsiteY2180"/>
                </a:cxn>
                <a:cxn ang="0">
                  <a:pos x="connsiteX2181" y="connsiteY2181"/>
                </a:cxn>
                <a:cxn ang="0">
                  <a:pos x="connsiteX2182" y="connsiteY2182"/>
                </a:cxn>
                <a:cxn ang="0">
                  <a:pos x="connsiteX2183" y="connsiteY2183"/>
                </a:cxn>
                <a:cxn ang="0">
                  <a:pos x="connsiteX2184" y="connsiteY2184"/>
                </a:cxn>
                <a:cxn ang="0">
                  <a:pos x="connsiteX2185" y="connsiteY2185"/>
                </a:cxn>
                <a:cxn ang="0">
                  <a:pos x="connsiteX2186" y="connsiteY2186"/>
                </a:cxn>
                <a:cxn ang="0">
                  <a:pos x="connsiteX2187" y="connsiteY2187"/>
                </a:cxn>
                <a:cxn ang="0">
                  <a:pos x="connsiteX2188" y="connsiteY2188"/>
                </a:cxn>
                <a:cxn ang="0">
                  <a:pos x="connsiteX2189" y="connsiteY2189"/>
                </a:cxn>
                <a:cxn ang="0">
                  <a:pos x="connsiteX2190" y="connsiteY2190"/>
                </a:cxn>
                <a:cxn ang="0">
                  <a:pos x="connsiteX2191" y="connsiteY2191"/>
                </a:cxn>
                <a:cxn ang="0">
                  <a:pos x="connsiteX2192" y="connsiteY2192"/>
                </a:cxn>
                <a:cxn ang="0">
                  <a:pos x="connsiteX2193" y="connsiteY2193"/>
                </a:cxn>
                <a:cxn ang="0">
                  <a:pos x="connsiteX2194" y="connsiteY2194"/>
                </a:cxn>
                <a:cxn ang="0">
                  <a:pos x="connsiteX2195" y="connsiteY2195"/>
                </a:cxn>
                <a:cxn ang="0">
                  <a:pos x="connsiteX2196" y="connsiteY2196"/>
                </a:cxn>
                <a:cxn ang="0">
                  <a:pos x="connsiteX2197" y="connsiteY2197"/>
                </a:cxn>
                <a:cxn ang="0">
                  <a:pos x="connsiteX2198" y="connsiteY2198"/>
                </a:cxn>
                <a:cxn ang="0">
                  <a:pos x="connsiteX2199" y="connsiteY2199"/>
                </a:cxn>
                <a:cxn ang="0">
                  <a:pos x="connsiteX2200" y="connsiteY2200"/>
                </a:cxn>
                <a:cxn ang="0">
                  <a:pos x="connsiteX2201" y="connsiteY2201"/>
                </a:cxn>
                <a:cxn ang="0">
                  <a:pos x="connsiteX2202" y="connsiteY2202"/>
                </a:cxn>
                <a:cxn ang="0">
                  <a:pos x="connsiteX2203" y="connsiteY2203"/>
                </a:cxn>
                <a:cxn ang="0">
                  <a:pos x="connsiteX2204" y="connsiteY2204"/>
                </a:cxn>
                <a:cxn ang="0">
                  <a:pos x="connsiteX2205" y="connsiteY2205"/>
                </a:cxn>
                <a:cxn ang="0">
                  <a:pos x="connsiteX2206" y="connsiteY2206"/>
                </a:cxn>
                <a:cxn ang="0">
                  <a:pos x="connsiteX2207" y="connsiteY2207"/>
                </a:cxn>
                <a:cxn ang="0">
                  <a:pos x="connsiteX2208" y="connsiteY2208"/>
                </a:cxn>
                <a:cxn ang="0">
                  <a:pos x="connsiteX2209" y="connsiteY2209"/>
                </a:cxn>
                <a:cxn ang="0">
                  <a:pos x="connsiteX2210" y="connsiteY2210"/>
                </a:cxn>
                <a:cxn ang="0">
                  <a:pos x="connsiteX2211" y="connsiteY2211"/>
                </a:cxn>
                <a:cxn ang="0">
                  <a:pos x="connsiteX2212" y="connsiteY2212"/>
                </a:cxn>
                <a:cxn ang="0">
                  <a:pos x="connsiteX2213" y="connsiteY2213"/>
                </a:cxn>
                <a:cxn ang="0">
                  <a:pos x="connsiteX2214" y="connsiteY2214"/>
                </a:cxn>
                <a:cxn ang="0">
                  <a:pos x="connsiteX2215" y="connsiteY2215"/>
                </a:cxn>
                <a:cxn ang="0">
                  <a:pos x="connsiteX2216" y="connsiteY2216"/>
                </a:cxn>
                <a:cxn ang="0">
                  <a:pos x="connsiteX2217" y="connsiteY2217"/>
                </a:cxn>
                <a:cxn ang="0">
                  <a:pos x="connsiteX2218" y="connsiteY2218"/>
                </a:cxn>
                <a:cxn ang="0">
                  <a:pos x="connsiteX2219" y="connsiteY2219"/>
                </a:cxn>
                <a:cxn ang="0">
                  <a:pos x="connsiteX2220" y="connsiteY2220"/>
                </a:cxn>
                <a:cxn ang="0">
                  <a:pos x="connsiteX2221" y="connsiteY2221"/>
                </a:cxn>
                <a:cxn ang="0">
                  <a:pos x="connsiteX2222" y="connsiteY2222"/>
                </a:cxn>
                <a:cxn ang="0">
                  <a:pos x="connsiteX2223" y="connsiteY2223"/>
                </a:cxn>
                <a:cxn ang="0">
                  <a:pos x="connsiteX2224" y="connsiteY2224"/>
                </a:cxn>
                <a:cxn ang="0">
                  <a:pos x="connsiteX2225" y="connsiteY2225"/>
                </a:cxn>
                <a:cxn ang="0">
                  <a:pos x="connsiteX2226" y="connsiteY2226"/>
                </a:cxn>
                <a:cxn ang="0">
                  <a:pos x="connsiteX2227" y="connsiteY2227"/>
                </a:cxn>
                <a:cxn ang="0">
                  <a:pos x="connsiteX2228" y="connsiteY2228"/>
                </a:cxn>
                <a:cxn ang="0">
                  <a:pos x="connsiteX2229" y="connsiteY2229"/>
                </a:cxn>
                <a:cxn ang="0">
                  <a:pos x="connsiteX2230" y="connsiteY2230"/>
                </a:cxn>
                <a:cxn ang="0">
                  <a:pos x="connsiteX2231" y="connsiteY2231"/>
                </a:cxn>
                <a:cxn ang="0">
                  <a:pos x="connsiteX2232" y="connsiteY2232"/>
                </a:cxn>
                <a:cxn ang="0">
                  <a:pos x="connsiteX2233" y="connsiteY2233"/>
                </a:cxn>
                <a:cxn ang="0">
                  <a:pos x="connsiteX2234" y="connsiteY2234"/>
                </a:cxn>
                <a:cxn ang="0">
                  <a:pos x="connsiteX2235" y="connsiteY2235"/>
                </a:cxn>
                <a:cxn ang="0">
                  <a:pos x="connsiteX2236" y="connsiteY2236"/>
                </a:cxn>
                <a:cxn ang="0">
                  <a:pos x="connsiteX2237" y="connsiteY2237"/>
                </a:cxn>
                <a:cxn ang="0">
                  <a:pos x="connsiteX2238" y="connsiteY2238"/>
                </a:cxn>
                <a:cxn ang="0">
                  <a:pos x="connsiteX2239" y="connsiteY2239"/>
                </a:cxn>
                <a:cxn ang="0">
                  <a:pos x="connsiteX2240" y="connsiteY2240"/>
                </a:cxn>
                <a:cxn ang="0">
                  <a:pos x="connsiteX2241" y="connsiteY2241"/>
                </a:cxn>
                <a:cxn ang="0">
                  <a:pos x="connsiteX2242" y="connsiteY2242"/>
                </a:cxn>
                <a:cxn ang="0">
                  <a:pos x="connsiteX2243" y="connsiteY2243"/>
                </a:cxn>
                <a:cxn ang="0">
                  <a:pos x="connsiteX2244" y="connsiteY2244"/>
                </a:cxn>
                <a:cxn ang="0">
                  <a:pos x="connsiteX2245" y="connsiteY2245"/>
                </a:cxn>
                <a:cxn ang="0">
                  <a:pos x="connsiteX2246" y="connsiteY2246"/>
                </a:cxn>
                <a:cxn ang="0">
                  <a:pos x="connsiteX2247" y="connsiteY2247"/>
                </a:cxn>
                <a:cxn ang="0">
                  <a:pos x="connsiteX2248" y="connsiteY2248"/>
                </a:cxn>
                <a:cxn ang="0">
                  <a:pos x="connsiteX2249" y="connsiteY2249"/>
                </a:cxn>
                <a:cxn ang="0">
                  <a:pos x="connsiteX2250" y="connsiteY2250"/>
                </a:cxn>
                <a:cxn ang="0">
                  <a:pos x="connsiteX2251" y="connsiteY2251"/>
                </a:cxn>
                <a:cxn ang="0">
                  <a:pos x="connsiteX2252" y="connsiteY2252"/>
                </a:cxn>
                <a:cxn ang="0">
                  <a:pos x="connsiteX2253" y="connsiteY2253"/>
                </a:cxn>
                <a:cxn ang="0">
                  <a:pos x="connsiteX2254" y="connsiteY2254"/>
                </a:cxn>
                <a:cxn ang="0">
                  <a:pos x="connsiteX2255" y="connsiteY2255"/>
                </a:cxn>
                <a:cxn ang="0">
                  <a:pos x="connsiteX2256" y="connsiteY2256"/>
                </a:cxn>
                <a:cxn ang="0">
                  <a:pos x="connsiteX2257" y="connsiteY2257"/>
                </a:cxn>
                <a:cxn ang="0">
                  <a:pos x="connsiteX2258" y="connsiteY2258"/>
                </a:cxn>
                <a:cxn ang="0">
                  <a:pos x="connsiteX2259" y="connsiteY2259"/>
                </a:cxn>
                <a:cxn ang="0">
                  <a:pos x="connsiteX2260" y="connsiteY2260"/>
                </a:cxn>
                <a:cxn ang="0">
                  <a:pos x="connsiteX2261" y="connsiteY2261"/>
                </a:cxn>
                <a:cxn ang="0">
                  <a:pos x="connsiteX2262" y="connsiteY2262"/>
                </a:cxn>
                <a:cxn ang="0">
                  <a:pos x="connsiteX2263" y="connsiteY2263"/>
                </a:cxn>
                <a:cxn ang="0">
                  <a:pos x="connsiteX2264" y="connsiteY2264"/>
                </a:cxn>
                <a:cxn ang="0">
                  <a:pos x="connsiteX2265" y="connsiteY2265"/>
                </a:cxn>
                <a:cxn ang="0">
                  <a:pos x="connsiteX2266" y="connsiteY2266"/>
                </a:cxn>
                <a:cxn ang="0">
                  <a:pos x="connsiteX2267" y="connsiteY2267"/>
                </a:cxn>
                <a:cxn ang="0">
                  <a:pos x="connsiteX2268" y="connsiteY2268"/>
                </a:cxn>
                <a:cxn ang="0">
                  <a:pos x="connsiteX2269" y="connsiteY2269"/>
                </a:cxn>
                <a:cxn ang="0">
                  <a:pos x="connsiteX2270" y="connsiteY2270"/>
                </a:cxn>
                <a:cxn ang="0">
                  <a:pos x="connsiteX2271" y="connsiteY2271"/>
                </a:cxn>
                <a:cxn ang="0">
                  <a:pos x="connsiteX2272" y="connsiteY2272"/>
                </a:cxn>
                <a:cxn ang="0">
                  <a:pos x="connsiteX2273" y="connsiteY2273"/>
                </a:cxn>
                <a:cxn ang="0">
                  <a:pos x="connsiteX2274" y="connsiteY2274"/>
                </a:cxn>
                <a:cxn ang="0">
                  <a:pos x="connsiteX2275" y="connsiteY2275"/>
                </a:cxn>
                <a:cxn ang="0">
                  <a:pos x="connsiteX2276" y="connsiteY2276"/>
                </a:cxn>
                <a:cxn ang="0">
                  <a:pos x="connsiteX2277" y="connsiteY2277"/>
                </a:cxn>
                <a:cxn ang="0">
                  <a:pos x="connsiteX2278" y="connsiteY2278"/>
                </a:cxn>
                <a:cxn ang="0">
                  <a:pos x="connsiteX2279" y="connsiteY2279"/>
                </a:cxn>
                <a:cxn ang="0">
                  <a:pos x="connsiteX2280" y="connsiteY2280"/>
                </a:cxn>
                <a:cxn ang="0">
                  <a:pos x="connsiteX2281" y="connsiteY2281"/>
                </a:cxn>
                <a:cxn ang="0">
                  <a:pos x="connsiteX2282" y="connsiteY2282"/>
                </a:cxn>
                <a:cxn ang="0">
                  <a:pos x="connsiteX2283" y="connsiteY2283"/>
                </a:cxn>
                <a:cxn ang="0">
                  <a:pos x="connsiteX2284" y="connsiteY2284"/>
                </a:cxn>
                <a:cxn ang="0">
                  <a:pos x="connsiteX2285" y="connsiteY2285"/>
                </a:cxn>
                <a:cxn ang="0">
                  <a:pos x="connsiteX2286" y="connsiteY2286"/>
                </a:cxn>
                <a:cxn ang="0">
                  <a:pos x="connsiteX2287" y="connsiteY2287"/>
                </a:cxn>
                <a:cxn ang="0">
                  <a:pos x="connsiteX2288" y="connsiteY2288"/>
                </a:cxn>
                <a:cxn ang="0">
                  <a:pos x="connsiteX2289" y="connsiteY2289"/>
                </a:cxn>
                <a:cxn ang="0">
                  <a:pos x="connsiteX2290" y="connsiteY2290"/>
                </a:cxn>
                <a:cxn ang="0">
                  <a:pos x="connsiteX2291" y="connsiteY2291"/>
                </a:cxn>
                <a:cxn ang="0">
                  <a:pos x="connsiteX2292" y="connsiteY2292"/>
                </a:cxn>
                <a:cxn ang="0">
                  <a:pos x="connsiteX2293" y="connsiteY2293"/>
                </a:cxn>
                <a:cxn ang="0">
                  <a:pos x="connsiteX2294" y="connsiteY2294"/>
                </a:cxn>
                <a:cxn ang="0">
                  <a:pos x="connsiteX2295" y="connsiteY2295"/>
                </a:cxn>
                <a:cxn ang="0">
                  <a:pos x="connsiteX2296" y="connsiteY2296"/>
                </a:cxn>
                <a:cxn ang="0">
                  <a:pos x="connsiteX2297" y="connsiteY2297"/>
                </a:cxn>
                <a:cxn ang="0">
                  <a:pos x="connsiteX2298" y="connsiteY2298"/>
                </a:cxn>
                <a:cxn ang="0">
                  <a:pos x="connsiteX2299" y="connsiteY2299"/>
                </a:cxn>
                <a:cxn ang="0">
                  <a:pos x="connsiteX2300" y="connsiteY2300"/>
                </a:cxn>
                <a:cxn ang="0">
                  <a:pos x="connsiteX2301" y="connsiteY2301"/>
                </a:cxn>
                <a:cxn ang="0">
                  <a:pos x="connsiteX2302" y="connsiteY2302"/>
                </a:cxn>
                <a:cxn ang="0">
                  <a:pos x="connsiteX2303" y="connsiteY2303"/>
                </a:cxn>
                <a:cxn ang="0">
                  <a:pos x="connsiteX2304" y="connsiteY2304"/>
                </a:cxn>
                <a:cxn ang="0">
                  <a:pos x="connsiteX2305" y="connsiteY2305"/>
                </a:cxn>
                <a:cxn ang="0">
                  <a:pos x="connsiteX2306" y="connsiteY2306"/>
                </a:cxn>
                <a:cxn ang="0">
                  <a:pos x="connsiteX2307" y="connsiteY2307"/>
                </a:cxn>
                <a:cxn ang="0">
                  <a:pos x="connsiteX2308" y="connsiteY2308"/>
                </a:cxn>
                <a:cxn ang="0">
                  <a:pos x="connsiteX2309" y="connsiteY2309"/>
                </a:cxn>
                <a:cxn ang="0">
                  <a:pos x="connsiteX2310" y="connsiteY2310"/>
                </a:cxn>
                <a:cxn ang="0">
                  <a:pos x="connsiteX2311" y="connsiteY2311"/>
                </a:cxn>
                <a:cxn ang="0">
                  <a:pos x="connsiteX2312" y="connsiteY2312"/>
                </a:cxn>
                <a:cxn ang="0">
                  <a:pos x="connsiteX2313" y="connsiteY2313"/>
                </a:cxn>
                <a:cxn ang="0">
                  <a:pos x="connsiteX2314" y="connsiteY2314"/>
                </a:cxn>
                <a:cxn ang="0">
                  <a:pos x="connsiteX2315" y="connsiteY2315"/>
                </a:cxn>
                <a:cxn ang="0">
                  <a:pos x="connsiteX2316" y="connsiteY2316"/>
                </a:cxn>
                <a:cxn ang="0">
                  <a:pos x="connsiteX2317" y="connsiteY2317"/>
                </a:cxn>
                <a:cxn ang="0">
                  <a:pos x="connsiteX2318" y="connsiteY2318"/>
                </a:cxn>
                <a:cxn ang="0">
                  <a:pos x="connsiteX2319" y="connsiteY2319"/>
                </a:cxn>
                <a:cxn ang="0">
                  <a:pos x="connsiteX2320" y="connsiteY2320"/>
                </a:cxn>
                <a:cxn ang="0">
                  <a:pos x="connsiteX2321" y="connsiteY2321"/>
                </a:cxn>
                <a:cxn ang="0">
                  <a:pos x="connsiteX2322" y="connsiteY2322"/>
                </a:cxn>
                <a:cxn ang="0">
                  <a:pos x="connsiteX2323" y="connsiteY2323"/>
                </a:cxn>
                <a:cxn ang="0">
                  <a:pos x="connsiteX2324" y="connsiteY2324"/>
                </a:cxn>
                <a:cxn ang="0">
                  <a:pos x="connsiteX2325" y="connsiteY2325"/>
                </a:cxn>
                <a:cxn ang="0">
                  <a:pos x="connsiteX2326" y="connsiteY2326"/>
                </a:cxn>
                <a:cxn ang="0">
                  <a:pos x="connsiteX2327" y="connsiteY2327"/>
                </a:cxn>
                <a:cxn ang="0">
                  <a:pos x="connsiteX2328" y="connsiteY2328"/>
                </a:cxn>
                <a:cxn ang="0">
                  <a:pos x="connsiteX2329" y="connsiteY2329"/>
                </a:cxn>
                <a:cxn ang="0">
                  <a:pos x="connsiteX2330" y="connsiteY2330"/>
                </a:cxn>
                <a:cxn ang="0">
                  <a:pos x="connsiteX2331" y="connsiteY2331"/>
                </a:cxn>
                <a:cxn ang="0">
                  <a:pos x="connsiteX2332" y="connsiteY2332"/>
                </a:cxn>
                <a:cxn ang="0">
                  <a:pos x="connsiteX2333" y="connsiteY2333"/>
                </a:cxn>
                <a:cxn ang="0">
                  <a:pos x="connsiteX2334" y="connsiteY2334"/>
                </a:cxn>
                <a:cxn ang="0">
                  <a:pos x="connsiteX2335" y="connsiteY2335"/>
                </a:cxn>
                <a:cxn ang="0">
                  <a:pos x="connsiteX2336" y="connsiteY2336"/>
                </a:cxn>
                <a:cxn ang="0">
                  <a:pos x="connsiteX2337" y="connsiteY2337"/>
                </a:cxn>
                <a:cxn ang="0">
                  <a:pos x="connsiteX2338" y="connsiteY2338"/>
                </a:cxn>
                <a:cxn ang="0">
                  <a:pos x="connsiteX2339" y="connsiteY2339"/>
                </a:cxn>
                <a:cxn ang="0">
                  <a:pos x="connsiteX2340" y="connsiteY2340"/>
                </a:cxn>
                <a:cxn ang="0">
                  <a:pos x="connsiteX2341" y="connsiteY2341"/>
                </a:cxn>
                <a:cxn ang="0">
                  <a:pos x="connsiteX2342" y="connsiteY2342"/>
                </a:cxn>
                <a:cxn ang="0">
                  <a:pos x="connsiteX2343" y="connsiteY2343"/>
                </a:cxn>
                <a:cxn ang="0">
                  <a:pos x="connsiteX2344" y="connsiteY2344"/>
                </a:cxn>
                <a:cxn ang="0">
                  <a:pos x="connsiteX2345" y="connsiteY2345"/>
                </a:cxn>
                <a:cxn ang="0">
                  <a:pos x="connsiteX2346" y="connsiteY2346"/>
                </a:cxn>
                <a:cxn ang="0">
                  <a:pos x="connsiteX2347" y="connsiteY2347"/>
                </a:cxn>
                <a:cxn ang="0">
                  <a:pos x="connsiteX2348" y="connsiteY2348"/>
                </a:cxn>
                <a:cxn ang="0">
                  <a:pos x="connsiteX2349" y="connsiteY2349"/>
                </a:cxn>
                <a:cxn ang="0">
                  <a:pos x="connsiteX2350" y="connsiteY2350"/>
                </a:cxn>
                <a:cxn ang="0">
                  <a:pos x="connsiteX2351" y="connsiteY2351"/>
                </a:cxn>
                <a:cxn ang="0">
                  <a:pos x="connsiteX2352" y="connsiteY2352"/>
                </a:cxn>
                <a:cxn ang="0">
                  <a:pos x="connsiteX2353" y="connsiteY2353"/>
                </a:cxn>
                <a:cxn ang="0">
                  <a:pos x="connsiteX2354" y="connsiteY2354"/>
                </a:cxn>
                <a:cxn ang="0">
                  <a:pos x="connsiteX2355" y="connsiteY2355"/>
                </a:cxn>
                <a:cxn ang="0">
                  <a:pos x="connsiteX2356" y="connsiteY2356"/>
                </a:cxn>
                <a:cxn ang="0">
                  <a:pos x="connsiteX2357" y="connsiteY2357"/>
                </a:cxn>
                <a:cxn ang="0">
                  <a:pos x="connsiteX2358" y="connsiteY2358"/>
                </a:cxn>
                <a:cxn ang="0">
                  <a:pos x="connsiteX2359" y="connsiteY2359"/>
                </a:cxn>
                <a:cxn ang="0">
                  <a:pos x="connsiteX2360" y="connsiteY2360"/>
                </a:cxn>
                <a:cxn ang="0">
                  <a:pos x="connsiteX2361" y="connsiteY2361"/>
                </a:cxn>
                <a:cxn ang="0">
                  <a:pos x="connsiteX2362" y="connsiteY2362"/>
                </a:cxn>
                <a:cxn ang="0">
                  <a:pos x="connsiteX2363" y="connsiteY2363"/>
                </a:cxn>
                <a:cxn ang="0">
                  <a:pos x="connsiteX2364" y="connsiteY2364"/>
                </a:cxn>
                <a:cxn ang="0">
                  <a:pos x="connsiteX2365" y="connsiteY2365"/>
                </a:cxn>
                <a:cxn ang="0">
                  <a:pos x="connsiteX2366" y="connsiteY2366"/>
                </a:cxn>
                <a:cxn ang="0">
                  <a:pos x="connsiteX2367" y="connsiteY2367"/>
                </a:cxn>
                <a:cxn ang="0">
                  <a:pos x="connsiteX2368" y="connsiteY2368"/>
                </a:cxn>
                <a:cxn ang="0">
                  <a:pos x="connsiteX2369" y="connsiteY2369"/>
                </a:cxn>
                <a:cxn ang="0">
                  <a:pos x="connsiteX2370" y="connsiteY2370"/>
                </a:cxn>
                <a:cxn ang="0">
                  <a:pos x="connsiteX2371" y="connsiteY2371"/>
                </a:cxn>
                <a:cxn ang="0">
                  <a:pos x="connsiteX2372" y="connsiteY2372"/>
                </a:cxn>
                <a:cxn ang="0">
                  <a:pos x="connsiteX2373" y="connsiteY2373"/>
                </a:cxn>
                <a:cxn ang="0">
                  <a:pos x="connsiteX2374" y="connsiteY2374"/>
                </a:cxn>
                <a:cxn ang="0">
                  <a:pos x="connsiteX2375" y="connsiteY2375"/>
                </a:cxn>
                <a:cxn ang="0">
                  <a:pos x="connsiteX2376" y="connsiteY2376"/>
                </a:cxn>
                <a:cxn ang="0">
                  <a:pos x="connsiteX2377" y="connsiteY2377"/>
                </a:cxn>
                <a:cxn ang="0">
                  <a:pos x="connsiteX2378" y="connsiteY2378"/>
                </a:cxn>
                <a:cxn ang="0">
                  <a:pos x="connsiteX2379" y="connsiteY2379"/>
                </a:cxn>
                <a:cxn ang="0">
                  <a:pos x="connsiteX2380" y="connsiteY2380"/>
                </a:cxn>
                <a:cxn ang="0">
                  <a:pos x="connsiteX2381" y="connsiteY2381"/>
                </a:cxn>
                <a:cxn ang="0">
                  <a:pos x="connsiteX2382" y="connsiteY2382"/>
                </a:cxn>
                <a:cxn ang="0">
                  <a:pos x="connsiteX2383" y="connsiteY2383"/>
                </a:cxn>
                <a:cxn ang="0">
                  <a:pos x="connsiteX2384" y="connsiteY2384"/>
                </a:cxn>
                <a:cxn ang="0">
                  <a:pos x="connsiteX2385" y="connsiteY2385"/>
                </a:cxn>
                <a:cxn ang="0">
                  <a:pos x="connsiteX2386" y="connsiteY2386"/>
                </a:cxn>
                <a:cxn ang="0">
                  <a:pos x="connsiteX2387" y="connsiteY2387"/>
                </a:cxn>
                <a:cxn ang="0">
                  <a:pos x="connsiteX2388" y="connsiteY2388"/>
                </a:cxn>
                <a:cxn ang="0">
                  <a:pos x="connsiteX2389" y="connsiteY2389"/>
                </a:cxn>
                <a:cxn ang="0">
                  <a:pos x="connsiteX2390" y="connsiteY2390"/>
                </a:cxn>
                <a:cxn ang="0">
                  <a:pos x="connsiteX2391" y="connsiteY2391"/>
                </a:cxn>
                <a:cxn ang="0">
                  <a:pos x="connsiteX2392" y="connsiteY2392"/>
                </a:cxn>
                <a:cxn ang="0">
                  <a:pos x="connsiteX2393" y="connsiteY2393"/>
                </a:cxn>
                <a:cxn ang="0">
                  <a:pos x="connsiteX2394" y="connsiteY2394"/>
                </a:cxn>
                <a:cxn ang="0">
                  <a:pos x="connsiteX2395" y="connsiteY2395"/>
                </a:cxn>
                <a:cxn ang="0">
                  <a:pos x="connsiteX2396" y="connsiteY2396"/>
                </a:cxn>
                <a:cxn ang="0">
                  <a:pos x="connsiteX2397" y="connsiteY2397"/>
                </a:cxn>
                <a:cxn ang="0">
                  <a:pos x="connsiteX2398" y="connsiteY2398"/>
                </a:cxn>
                <a:cxn ang="0">
                  <a:pos x="connsiteX2399" y="connsiteY2399"/>
                </a:cxn>
                <a:cxn ang="0">
                  <a:pos x="connsiteX2400" y="connsiteY2400"/>
                </a:cxn>
                <a:cxn ang="0">
                  <a:pos x="connsiteX2401" y="connsiteY2401"/>
                </a:cxn>
                <a:cxn ang="0">
                  <a:pos x="connsiteX2402" y="connsiteY2402"/>
                </a:cxn>
                <a:cxn ang="0">
                  <a:pos x="connsiteX2403" y="connsiteY2403"/>
                </a:cxn>
                <a:cxn ang="0">
                  <a:pos x="connsiteX2404" y="connsiteY2404"/>
                </a:cxn>
                <a:cxn ang="0">
                  <a:pos x="connsiteX2405" y="connsiteY2405"/>
                </a:cxn>
                <a:cxn ang="0">
                  <a:pos x="connsiteX2406" y="connsiteY2406"/>
                </a:cxn>
                <a:cxn ang="0">
                  <a:pos x="connsiteX2407" y="connsiteY2407"/>
                </a:cxn>
                <a:cxn ang="0">
                  <a:pos x="connsiteX2408" y="connsiteY2408"/>
                </a:cxn>
                <a:cxn ang="0">
                  <a:pos x="connsiteX2409" y="connsiteY2409"/>
                </a:cxn>
                <a:cxn ang="0">
                  <a:pos x="connsiteX2410" y="connsiteY2410"/>
                </a:cxn>
                <a:cxn ang="0">
                  <a:pos x="connsiteX2411" y="connsiteY2411"/>
                </a:cxn>
                <a:cxn ang="0">
                  <a:pos x="connsiteX2412" y="connsiteY2412"/>
                </a:cxn>
                <a:cxn ang="0">
                  <a:pos x="connsiteX2413" y="connsiteY2413"/>
                </a:cxn>
                <a:cxn ang="0">
                  <a:pos x="connsiteX2414" y="connsiteY2414"/>
                </a:cxn>
                <a:cxn ang="0">
                  <a:pos x="connsiteX2415" y="connsiteY2415"/>
                </a:cxn>
                <a:cxn ang="0">
                  <a:pos x="connsiteX2416" y="connsiteY2416"/>
                </a:cxn>
                <a:cxn ang="0">
                  <a:pos x="connsiteX2417" y="connsiteY2417"/>
                </a:cxn>
                <a:cxn ang="0">
                  <a:pos x="connsiteX2418" y="connsiteY2418"/>
                </a:cxn>
                <a:cxn ang="0">
                  <a:pos x="connsiteX2419" y="connsiteY2419"/>
                </a:cxn>
                <a:cxn ang="0">
                  <a:pos x="connsiteX2420" y="connsiteY2420"/>
                </a:cxn>
                <a:cxn ang="0">
                  <a:pos x="connsiteX2421" y="connsiteY2421"/>
                </a:cxn>
                <a:cxn ang="0">
                  <a:pos x="connsiteX2422" y="connsiteY2422"/>
                </a:cxn>
                <a:cxn ang="0">
                  <a:pos x="connsiteX2423" y="connsiteY2423"/>
                </a:cxn>
                <a:cxn ang="0">
                  <a:pos x="connsiteX2424" y="connsiteY2424"/>
                </a:cxn>
                <a:cxn ang="0">
                  <a:pos x="connsiteX2425" y="connsiteY2425"/>
                </a:cxn>
                <a:cxn ang="0">
                  <a:pos x="connsiteX2426" y="connsiteY2426"/>
                </a:cxn>
                <a:cxn ang="0">
                  <a:pos x="connsiteX2427" y="connsiteY2427"/>
                </a:cxn>
                <a:cxn ang="0">
                  <a:pos x="connsiteX2428" y="connsiteY2428"/>
                </a:cxn>
                <a:cxn ang="0">
                  <a:pos x="connsiteX2429" y="connsiteY2429"/>
                </a:cxn>
                <a:cxn ang="0">
                  <a:pos x="connsiteX2430" y="connsiteY2430"/>
                </a:cxn>
                <a:cxn ang="0">
                  <a:pos x="connsiteX2431" y="connsiteY2431"/>
                </a:cxn>
                <a:cxn ang="0">
                  <a:pos x="connsiteX2432" y="connsiteY2432"/>
                </a:cxn>
                <a:cxn ang="0">
                  <a:pos x="connsiteX2433" y="connsiteY2433"/>
                </a:cxn>
                <a:cxn ang="0">
                  <a:pos x="connsiteX2434" y="connsiteY2434"/>
                </a:cxn>
                <a:cxn ang="0">
                  <a:pos x="connsiteX2435" y="connsiteY2435"/>
                </a:cxn>
                <a:cxn ang="0">
                  <a:pos x="connsiteX2436" y="connsiteY2436"/>
                </a:cxn>
                <a:cxn ang="0">
                  <a:pos x="connsiteX2437" y="connsiteY2437"/>
                </a:cxn>
                <a:cxn ang="0">
                  <a:pos x="connsiteX2438" y="connsiteY2438"/>
                </a:cxn>
                <a:cxn ang="0">
                  <a:pos x="connsiteX2439" y="connsiteY2439"/>
                </a:cxn>
                <a:cxn ang="0">
                  <a:pos x="connsiteX2440" y="connsiteY2440"/>
                </a:cxn>
                <a:cxn ang="0">
                  <a:pos x="connsiteX2441" y="connsiteY2441"/>
                </a:cxn>
                <a:cxn ang="0">
                  <a:pos x="connsiteX2442" y="connsiteY2442"/>
                </a:cxn>
                <a:cxn ang="0">
                  <a:pos x="connsiteX2443" y="connsiteY2443"/>
                </a:cxn>
                <a:cxn ang="0">
                  <a:pos x="connsiteX2444" y="connsiteY2444"/>
                </a:cxn>
                <a:cxn ang="0">
                  <a:pos x="connsiteX2445" y="connsiteY2445"/>
                </a:cxn>
                <a:cxn ang="0">
                  <a:pos x="connsiteX2446" y="connsiteY2446"/>
                </a:cxn>
                <a:cxn ang="0">
                  <a:pos x="connsiteX2447" y="connsiteY2447"/>
                </a:cxn>
                <a:cxn ang="0">
                  <a:pos x="connsiteX2448" y="connsiteY2448"/>
                </a:cxn>
                <a:cxn ang="0">
                  <a:pos x="connsiteX2449" y="connsiteY2449"/>
                </a:cxn>
                <a:cxn ang="0">
                  <a:pos x="connsiteX2450" y="connsiteY2450"/>
                </a:cxn>
                <a:cxn ang="0">
                  <a:pos x="connsiteX2451" y="connsiteY2451"/>
                </a:cxn>
                <a:cxn ang="0">
                  <a:pos x="connsiteX2452" y="connsiteY2452"/>
                </a:cxn>
                <a:cxn ang="0">
                  <a:pos x="connsiteX2453" y="connsiteY2453"/>
                </a:cxn>
                <a:cxn ang="0">
                  <a:pos x="connsiteX2454" y="connsiteY2454"/>
                </a:cxn>
                <a:cxn ang="0">
                  <a:pos x="connsiteX2455" y="connsiteY2455"/>
                </a:cxn>
                <a:cxn ang="0">
                  <a:pos x="connsiteX2456" y="connsiteY2456"/>
                </a:cxn>
                <a:cxn ang="0">
                  <a:pos x="connsiteX2457" y="connsiteY2457"/>
                </a:cxn>
                <a:cxn ang="0">
                  <a:pos x="connsiteX2458" y="connsiteY2458"/>
                </a:cxn>
                <a:cxn ang="0">
                  <a:pos x="connsiteX2459" y="connsiteY2459"/>
                </a:cxn>
                <a:cxn ang="0">
                  <a:pos x="connsiteX2460" y="connsiteY2460"/>
                </a:cxn>
                <a:cxn ang="0">
                  <a:pos x="connsiteX2461" y="connsiteY2461"/>
                </a:cxn>
                <a:cxn ang="0">
                  <a:pos x="connsiteX2462" y="connsiteY2462"/>
                </a:cxn>
                <a:cxn ang="0">
                  <a:pos x="connsiteX2463" y="connsiteY2463"/>
                </a:cxn>
                <a:cxn ang="0">
                  <a:pos x="connsiteX2464" y="connsiteY2464"/>
                </a:cxn>
                <a:cxn ang="0">
                  <a:pos x="connsiteX2465" y="connsiteY2465"/>
                </a:cxn>
                <a:cxn ang="0">
                  <a:pos x="connsiteX2466" y="connsiteY2466"/>
                </a:cxn>
                <a:cxn ang="0">
                  <a:pos x="connsiteX2467" y="connsiteY2467"/>
                </a:cxn>
                <a:cxn ang="0">
                  <a:pos x="connsiteX2468" y="connsiteY2468"/>
                </a:cxn>
                <a:cxn ang="0">
                  <a:pos x="connsiteX2469" y="connsiteY2469"/>
                </a:cxn>
                <a:cxn ang="0">
                  <a:pos x="connsiteX2470" y="connsiteY2470"/>
                </a:cxn>
                <a:cxn ang="0">
                  <a:pos x="connsiteX2471" y="connsiteY2471"/>
                </a:cxn>
                <a:cxn ang="0">
                  <a:pos x="connsiteX2472" y="connsiteY2472"/>
                </a:cxn>
                <a:cxn ang="0">
                  <a:pos x="connsiteX2473" y="connsiteY2473"/>
                </a:cxn>
                <a:cxn ang="0">
                  <a:pos x="connsiteX2474" y="connsiteY2474"/>
                </a:cxn>
                <a:cxn ang="0">
                  <a:pos x="connsiteX2475" y="connsiteY2475"/>
                </a:cxn>
                <a:cxn ang="0">
                  <a:pos x="connsiteX2476" y="connsiteY2476"/>
                </a:cxn>
                <a:cxn ang="0">
                  <a:pos x="connsiteX2477" y="connsiteY2477"/>
                </a:cxn>
                <a:cxn ang="0">
                  <a:pos x="connsiteX2478" y="connsiteY2478"/>
                </a:cxn>
                <a:cxn ang="0">
                  <a:pos x="connsiteX2479" y="connsiteY2479"/>
                </a:cxn>
                <a:cxn ang="0">
                  <a:pos x="connsiteX2480" y="connsiteY2480"/>
                </a:cxn>
                <a:cxn ang="0">
                  <a:pos x="connsiteX2481" y="connsiteY2481"/>
                </a:cxn>
                <a:cxn ang="0">
                  <a:pos x="connsiteX2482" y="connsiteY2482"/>
                </a:cxn>
                <a:cxn ang="0">
                  <a:pos x="connsiteX2483" y="connsiteY2483"/>
                </a:cxn>
                <a:cxn ang="0">
                  <a:pos x="connsiteX2484" y="connsiteY2484"/>
                </a:cxn>
                <a:cxn ang="0">
                  <a:pos x="connsiteX2485" y="connsiteY2485"/>
                </a:cxn>
                <a:cxn ang="0">
                  <a:pos x="connsiteX2486" y="connsiteY2486"/>
                </a:cxn>
                <a:cxn ang="0">
                  <a:pos x="connsiteX2487" y="connsiteY2487"/>
                </a:cxn>
                <a:cxn ang="0">
                  <a:pos x="connsiteX2488" y="connsiteY2488"/>
                </a:cxn>
                <a:cxn ang="0">
                  <a:pos x="connsiteX2489" y="connsiteY2489"/>
                </a:cxn>
                <a:cxn ang="0">
                  <a:pos x="connsiteX2490" y="connsiteY2490"/>
                </a:cxn>
                <a:cxn ang="0">
                  <a:pos x="connsiteX2491" y="connsiteY2491"/>
                </a:cxn>
                <a:cxn ang="0">
                  <a:pos x="connsiteX2492" y="connsiteY2492"/>
                </a:cxn>
                <a:cxn ang="0">
                  <a:pos x="connsiteX2493" y="connsiteY2493"/>
                </a:cxn>
                <a:cxn ang="0">
                  <a:pos x="connsiteX2494" y="connsiteY2494"/>
                </a:cxn>
                <a:cxn ang="0">
                  <a:pos x="connsiteX2495" y="connsiteY2495"/>
                </a:cxn>
                <a:cxn ang="0">
                  <a:pos x="connsiteX2496" y="connsiteY2496"/>
                </a:cxn>
                <a:cxn ang="0">
                  <a:pos x="connsiteX2497" y="connsiteY2497"/>
                </a:cxn>
                <a:cxn ang="0">
                  <a:pos x="connsiteX2498" y="connsiteY2498"/>
                </a:cxn>
                <a:cxn ang="0">
                  <a:pos x="connsiteX2499" y="connsiteY2499"/>
                </a:cxn>
                <a:cxn ang="0">
                  <a:pos x="connsiteX2500" y="connsiteY2500"/>
                </a:cxn>
                <a:cxn ang="0">
                  <a:pos x="connsiteX2501" y="connsiteY2501"/>
                </a:cxn>
                <a:cxn ang="0">
                  <a:pos x="connsiteX2502" y="connsiteY2502"/>
                </a:cxn>
                <a:cxn ang="0">
                  <a:pos x="connsiteX2503" y="connsiteY2503"/>
                </a:cxn>
                <a:cxn ang="0">
                  <a:pos x="connsiteX2504" y="connsiteY2504"/>
                </a:cxn>
                <a:cxn ang="0">
                  <a:pos x="connsiteX2505" y="connsiteY2505"/>
                </a:cxn>
                <a:cxn ang="0">
                  <a:pos x="connsiteX2506" y="connsiteY2506"/>
                </a:cxn>
                <a:cxn ang="0">
                  <a:pos x="connsiteX2507" y="connsiteY2507"/>
                </a:cxn>
                <a:cxn ang="0">
                  <a:pos x="connsiteX2508" y="connsiteY2508"/>
                </a:cxn>
                <a:cxn ang="0">
                  <a:pos x="connsiteX2509" y="connsiteY2509"/>
                </a:cxn>
                <a:cxn ang="0">
                  <a:pos x="connsiteX2510" y="connsiteY2510"/>
                </a:cxn>
                <a:cxn ang="0">
                  <a:pos x="connsiteX2511" y="connsiteY2511"/>
                </a:cxn>
                <a:cxn ang="0">
                  <a:pos x="connsiteX2512" y="connsiteY2512"/>
                </a:cxn>
                <a:cxn ang="0">
                  <a:pos x="connsiteX2513" y="connsiteY2513"/>
                </a:cxn>
                <a:cxn ang="0">
                  <a:pos x="connsiteX2514" y="connsiteY2514"/>
                </a:cxn>
                <a:cxn ang="0">
                  <a:pos x="connsiteX2515" y="connsiteY2515"/>
                </a:cxn>
                <a:cxn ang="0">
                  <a:pos x="connsiteX2516" y="connsiteY2516"/>
                </a:cxn>
                <a:cxn ang="0">
                  <a:pos x="connsiteX2517" y="connsiteY2517"/>
                </a:cxn>
                <a:cxn ang="0">
                  <a:pos x="connsiteX2518" y="connsiteY2518"/>
                </a:cxn>
                <a:cxn ang="0">
                  <a:pos x="connsiteX2519" y="connsiteY2519"/>
                </a:cxn>
                <a:cxn ang="0">
                  <a:pos x="connsiteX2520" y="connsiteY2520"/>
                </a:cxn>
                <a:cxn ang="0">
                  <a:pos x="connsiteX2521" y="connsiteY2521"/>
                </a:cxn>
                <a:cxn ang="0">
                  <a:pos x="connsiteX2522" y="connsiteY2522"/>
                </a:cxn>
                <a:cxn ang="0">
                  <a:pos x="connsiteX2523" y="connsiteY2523"/>
                </a:cxn>
                <a:cxn ang="0">
                  <a:pos x="connsiteX2524" y="connsiteY2524"/>
                </a:cxn>
                <a:cxn ang="0">
                  <a:pos x="connsiteX2525" y="connsiteY2525"/>
                </a:cxn>
                <a:cxn ang="0">
                  <a:pos x="connsiteX2526" y="connsiteY2526"/>
                </a:cxn>
                <a:cxn ang="0">
                  <a:pos x="connsiteX2527" y="connsiteY2527"/>
                </a:cxn>
                <a:cxn ang="0">
                  <a:pos x="connsiteX2528" y="connsiteY2528"/>
                </a:cxn>
                <a:cxn ang="0">
                  <a:pos x="connsiteX2529" y="connsiteY2529"/>
                </a:cxn>
                <a:cxn ang="0">
                  <a:pos x="connsiteX2530" y="connsiteY2530"/>
                </a:cxn>
                <a:cxn ang="0">
                  <a:pos x="connsiteX2531" y="connsiteY2531"/>
                </a:cxn>
                <a:cxn ang="0">
                  <a:pos x="connsiteX2532" y="connsiteY2532"/>
                </a:cxn>
                <a:cxn ang="0">
                  <a:pos x="connsiteX2533" y="connsiteY2533"/>
                </a:cxn>
                <a:cxn ang="0">
                  <a:pos x="connsiteX2534" y="connsiteY2534"/>
                </a:cxn>
                <a:cxn ang="0">
                  <a:pos x="connsiteX2535" y="connsiteY2535"/>
                </a:cxn>
                <a:cxn ang="0">
                  <a:pos x="connsiteX2536" y="connsiteY2536"/>
                </a:cxn>
                <a:cxn ang="0">
                  <a:pos x="connsiteX2537" y="connsiteY2537"/>
                </a:cxn>
                <a:cxn ang="0">
                  <a:pos x="connsiteX2538" y="connsiteY2538"/>
                </a:cxn>
                <a:cxn ang="0">
                  <a:pos x="connsiteX2539" y="connsiteY2539"/>
                </a:cxn>
                <a:cxn ang="0">
                  <a:pos x="connsiteX2540" y="connsiteY2540"/>
                </a:cxn>
                <a:cxn ang="0">
                  <a:pos x="connsiteX2541" y="connsiteY2541"/>
                </a:cxn>
                <a:cxn ang="0">
                  <a:pos x="connsiteX2542" y="connsiteY2542"/>
                </a:cxn>
                <a:cxn ang="0">
                  <a:pos x="connsiteX2543" y="connsiteY2543"/>
                </a:cxn>
                <a:cxn ang="0">
                  <a:pos x="connsiteX2544" y="connsiteY2544"/>
                </a:cxn>
                <a:cxn ang="0">
                  <a:pos x="connsiteX2545" y="connsiteY2545"/>
                </a:cxn>
                <a:cxn ang="0">
                  <a:pos x="connsiteX2546" y="connsiteY2546"/>
                </a:cxn>
                <a:cxn ang="0">
                  <a:pos x="connsiteX2547" y="connsiteY2547"/>
                </a:cxn>
                <a:cxn ang="0">
                  <a:pos x="connsiteX2548" y="connsiteY2548"/>
                </a:cxn>
                <a:cxn ang="0">
                  <a:pos x="connsiteX2549" y="connsiteY2549"/>
                </a:cxn>
                <a:cxn ang="0">
                  <a:pos x="connsiteX2550" y="connsiteY2550"/>
                </a:cxn>
                <a:cxn ang="0">
                  <a:pos x="connsiteX2551" y="connsiteY2551"/>
                </a:cxn>
                <a:cxn ang="0">
                  <a:pos x="connsiteX2552" y="connsiteY2552"/>
                </a:cxn>
                <a:cxn ang="0">
                  <a:pos x="connsiteX2553" y="connsiteY2553"/>
                </a:cxn>
                <a:cxn ang="0">
                  <a:pos x="connsiteX2554" y="connsiteY2554"/>
                </a:cxn>
                <a:cxn ang="0">
                  <a:pos x="connsiteX2555" y="connsiteY2555"/>
                </a:cxn>
                <a:cxn ang="0">
                  <a:pos x="connsiteX2556" y="connsiteY2556"/>
                </a:cxn>
                <a:cxn ang="0">
                  <a:pos x="connsiteX2557" y="connsiteY2557"/>
                </a:cxn>
                <a:cxn ang="0">
                  <a:pos x="connsiteX2558" y="connsiteY2558"/>
                </a:cxn>
                <a:cxn ang="0">
                  <a:pos x="connsiteX2559" y="connsiteY2559"/>
                </a:cxn>
                <a:cxn ang="0">
                  <a:pos x="connsiteX2560" y="connsiteY2560"/>
                </a:cxn>
                <a:cxn ang="0">
                  <a:pos x="connsiteX2561" y="connsiteY2561"/>
                </a:cxn>
                <a:cxn ang="0">
                  <a:pos x="connsiteX2562" y="connsiteY2562"/>
                </a:cxn>
                <a:cxn ang="0">
                  <a:pos x="connsiteX2563" y="connsiteY2563"/>
                </a:cxn>
                <a:cxn ang="0">
                  <a:pos x="connsiteX2564" y="connsiteY2564"/>
                </a:cxn>
                <a:cxn ang="0">
                  <a:pos x="connsiteX2565" y="connsiteY2565"/>
                </a:cxn>
                <a:cxn ang="0">
                  <a:pos x="connsiteX2566" y="connsiteY2566"/>
                </a:cxn>
                <a:cxn ang="0">
                  <a:pos x="connsiteX2567" y="connsiteY2567"/>
                </a:cxn>
                <a:cxn ang="0">
                  <a:pos x="connsiteX2568" y="connsiteY2568"/>
                </a:cxn>
                <a:cxn ang="0">
                  <a:pos x="connsiteX2569" y="connsiteY2569"/>
                </a:cxn>
                <a:cxn ang="0">
                  <a:pos x="connsiteX2570" y="connsiteY2570"/>
                </a:cxn>
                <a:cxn ang="0">
                  <a:pos x="connsiteX2571" y="connsiteY2571"/>
                </a:cxn>
                <a:cxn ang="0">
                  <a:pos x="connsiteX2572" y="connsiteY2572"/>
                </a:cxn>
                <a:cxn ang="0">
                  <a:pos x="connsiteX2573" y="connsiteY2573"/>
                </a:cxn>
                <a:cxn ang="0">
                  <a:pos x="connsiteX2574" y="connsiteY2574"/>
                </a:cxn>
                <a:cxn ang="0">
                  <a:pos x="connsiteX2575" y="connsiteY2575"/>
                </a:cxn>
                <a:cxn ang="0">
                  <a:pos x="connsiteX2576" y="connsiteY2576"/>
                </a:cxn>
                <a:cxn ang="0">
                  <a:pos x="connsiteX2577" y="connsiteY2577"/>
                </a:cxn>
                <a:cxn ang="0">
                  <a:pos x="connsiteX2578" y="connsiteY2578"/>
                </a:cxn>
                <a:cxn ang="0">
                  <a:pos x="connsiteX2579" y="connsiteY2579"/>
                </a:cxn>
                <a:cxn ang="0">
                  <a:pos x="connsiteX2580" y="connsiteY2580"/>
                </a:cxn>
                <a:cxn ang="0">
                  <a:pos x="connsiteX2581" y="connsiteY2581"/>
                </a:cxn>
                <a:cxn ang="0">
                  <a:pos x="connsiteX2582" y="connsiteY2582"/>
                </a:cxn>
                <a:cxn ang="0">
                  <a:pos x="connsiteX2583" y="connsiteY2583"/>
                </a:cxn>
                <a:cxn ang="0">
                  <a:pos x="connsiteX2584" y="connsiteY2584"/>
                </a:cxn>
                <a:cxn ang="0">
                  <a:pos x="connsiteX2585" y="connsiteY2585"/>
                </a:cxn>
                <a:cxn ang="0">
                  <a:pos x="connsiteX2586" y="connsiteY2586"/>
                </a:cxn>
                <a:cxn ang="0">
                  <a:pos x="connsiteX2587" y="connsiteY2587"/>
                </a:cxn>
                <a:cxn ang="0">
                  <a:pos x="connsiteX2588" y="connsiteY2588"/>
                </a:cxn>
                <a:cxn ang="0">
                  <a:pos x="connsiteX2589" y="connsiteY2589"/>
                </a:cxn>
                <a:cxn ang="0">
                  <a:pos x="connsiteX2590" y="connsiteY2590"/>
                </a:cxn>
                <a:cxn ang="0">
                  <a:pos x="connsiteX2591" y="connsiteY2591"/>
                </a:cxn>
                <a:cxn ang="0">
                  <a:pos x="connsiteX2592" y="connsiteY2592"/>
                </a:cxn>
                <a:cxn ang="0">
                  <a:pos x="connsiteX2593" y="connsiteY2593"/>
                </a:cxn>
                <a:cxn ang="0">
                  <a:pos x="connsiteX2594" y="connsiteY2594"/>
                </a:cxn>
                <a:cxn ang="0">
                  <a:pos x="connsiteX2595" y="connsiteY2595"/>
                </a:cxn>
                <a:cxn ang="0">
                  <a:pos x="connsiteX2596" y="connsiteY2596"/>
                </a:cxn>
                <a:cxn ang="0">
                  <a:pos x="connsiteX2597" y="connsiteY2597"/>
                </a:cxn>
                <a:cxn ang="0">
                  <a:pos x="connsiteX2598" y="connsiteY2598"/>
                </a:cxn>
                <a:cxn ang="0">
                  <a:pos x="connsiteX2599" y="connsiteY2599"/>
                </a:cxn>
                <a:cxn ang="0">
                  <a:pos x="connsiteX2600" y="connsiteY2600"/>
                </a:cxn>
                <a:cxn ang="0">
                  <a:pos x="connsiteX2601" y="connsiteY2601"/>
                </a:cxn>
                <a:cxn ang="0">
                  <a:pos x="connsiteX2602" y="connsiteY2602"/>
                </a:cxn>
                <a:cxn ang="0">
                  <a:pos x="connsiteX2603" y="connsiteY2603"/>
                </a:cxn>
                <a:cxn ang="0">
                  <a:pos x="connsiteX2604" y="connsiteY2604"/>
                </a:cxn>
                <a:cxn ang="0">
                  <a:pos x="connsiteX2605" y="connsiteY2605"/>
                </a:cxn>
                <a:cxn ang="0">
                  <a:pos x="connsiteX2606" y="connsiteY2606"/>
                </a:cxn>
                <a:cxn ang="0">
                  <a:pos x="connsiteX2607" y="connsiteY2607"/>
                </a:cxn>
                <a:cxn ang="0">
                  <a:pos x="connsiteX2608" y="connsiteY2608"/>
                </a:cxn>
                <a:cxn ang="0">
                  <a:pos x="connsiteX2609" y="connsiteY2609"/>
                </a:cxn>
                <a:cxn ang="0">
                  <a:pos x="connsiteX2610" y="connsiteY2610"/>
                </a:cxn>
                <a:cxn ang="0">
                  <a:pos x="connsiteX2611" y="connsiteY2611"/>
                </a:cxn>
                <a:cxn ang="0">
                  <a:pos x="connsiteX2612" y="connsiteY2612"/>
                </a:cxn>
                <a:cxn ang="0">
                  <a:pos x="connsiteX2613" y="connsiteY2613"/>
                </a:cxn>
                <a:cxn ang="0">
                  <a:pos x="connsiteX2614" y="connsiteY2614"/>
                </a:cxn>
                <a:cxn ang="0">
                  <a:pos x="connsiteX2615" y="connsiteY2615"/>
                </a:cxn>
                <a:cxn ang="0">
                  <a:pos x="connsiteX2616" y="connsiteY2616"/>
                </a:cxn>
                <a:cxn ang="0">
                  <a:pos x="connsiteX2617" y="connsiteY2617"/>
                </a:cxn>
                <a:cxn ang="0">
                  <a:pos x="connsiteX2618" y="connsiteY2618"/>
                </a:cxn>
                <a:cxn ang="0">
                  <a:pos x="connsiteX2619" y="connsiteY2619"/>
                </a:cxn>
                <a:cxn ang="0">
                  <a:pos x="connsiteX2620" y="connsiteY2620"/>
                </a:cxn>
                <a:cxn ang="0">
                  <a:pos x="connsiteX2621" y="connsiteY2621"/>
                </a:cxn>
                <a:cxn ang="0">
                  <a:pos x="connsiteX2622" y="connsiteY2622"/>
                </a:cxn>
                <a:cxn ang="0">
                  <a:pos x="connsiteX2623" y="connsiteY2623"/>
                </a:cxn>
                <a:cxn ang="0">
                  <a:pos x="connsiteX2624" y="connsiteY2624"/>
                </a:cxn>
                <a:cxn ang="0">
                  <a:pos x="connsiteX2625" y="connsiteY2625"/>
                </a:cxn>
                <a:cxn ang="0">
                  <a:pos x="connsiteX2626" y="connsiteY2626"/>
                </a:cxn>
                <a:cxn ang="0">
                  <a:pos x="connsiteX2627" y="connsiteY2627"/>
                </a:cxn>
                <a:cxn ang="0">
                  <a:pos x="connsiteX2628" y="connsiteY2628"/>
                </a:cxn>
                <a:cxn ang="0">
                  <a:pos x="connsiteX2629" y="connsiteY2629"/>
                </a:cxn>
                <a:cxn ang="0">
                  <a:pos x="connsiteX2630" y="connsiteY2630"/>
                </a:cxn>
                <a:cxn ang="0">
                  <a:pos x="connsiteX2631" y="connsiteY2631"/>
                </a:cxn>
                <a:cxn ang="0">
                  <a:pos x="connsiteX2632" y="connsiteY2632"/>
                </a:cxn>
                <a:cxn ang="0">
                  <a:pos x="connsiteX2633" y="connsiteY2633"/>
                </a:cxn>
                <a:cxn ang="0">
                  <a:pos x="connsiteX2634" y="connsiteY2634"/>
                </a:cxn>
                <a:cxn ang="0">
                  <a:pos x="connsiteX2635" y="connsiteY2635"/>
                </a:cxn>
                <a:cxn ang="0">
                  <a:pos x="connsiteX2636" y="connsiteY2636"/>
                </a:cxn>
                <a:cxn ang="0">
                  <a:pos x="connsiteX2637" y="connsiteY2637"/>
                </a:cxn>
                <a:cxn ang="0">
                  <a:pos x="connsiteX2638" y="connsiteY2638"/>
                </a:cxn>
                <a:cxn ang="0">
                  <a:pos x="connsiteX2639" y="connsiteY2639"/>
                </a:cxn>
                <a:cxn ang="0">
                  <a:pos x="connsiteX2640" y="connsiteY2640"/>
                </a:cxn>
                <a:cxn ang="0">
                  <a:pos x="connsiteX2641" y="connsiteY2641"/>
                </a:cxn>
                <a:cxn ang="0">
                  <a:pos x="connsiteX2642" y="connsiteY2642"/>
                </a:cxn>
                <a:cxn ang="0">
                  <a:pos x="connsiteX2643" y="connsiteY2643"/>
                </a:cxn>
                <a:cxn ang="0">
                  <a:pos x="connsiteX2644" y="connsiteY2644"/>
                </a:cxn>
                <a:cxn ang="0">
                  <a:pos x="connsiteX2645" y="connsiteY2645"/>
                </a:cxn>
                <a:cxn ang="0">
                  <a:pos x="connsiteX2646" y="connsiteY2646"/>
                </a:cxn>
                <a:cxn ang="0">
                  <a:pos x="connsiteX2647" y="connsiteY2647"/>
                </a:cxn>
                <a:cxn ang="0">
                  <a:pos x="connsiteX2648" y="connsiteY2648"/>
                </a:cxn>
                <a:cxn ang="0">
                  <a:pos x="connsiteX2649" y="connsiteY2649"/>
                </a:cxn>
                <a:cxn ang="0">
                  <a:pos x="connsiteX2650" y="connsiteY2650"/>
                </a:cxn>
                <a:cxn ang="0">
                  <a:pos x="connsiteX2651" y="connsiteY2651"/>
                </a:cxn>
                <a:cxn ang="0">
                  <a:pos x="connsiteX2652" y="connsiteY2652"/>
                </a:cxn>
                <a:cxn ang="0">
                  <a:pos x="connsiteX2653" y="connsiteY2653"/>
                </a:cxn>
                <a:cxn ang="0">
                  <a:pos x="connsiteX2654" y="connsiteY2654"/>
                </a:cxn>
                <a:cxn ang="0">
                  <a:pos x="connsiteX2655" y="connsiteY2655"/>
                </a:cxn>
                <a:cxn ang="0">
                  <a:pos x="connsiteX2656" y="connsiteY2656"/>
                </a:cxn>
                <a:cxn ang="0">
                  <a:pos x="connsiteX2657" y="connsiteY2657"/>
                </a:cxn>
                <a:cxn ang="0">
                  <a:pos x="connsiteX2658" y="connsiteY2658"/>
                </a:cxn>
                <a:cxn ang="0">
                  <a:pos x="connsiteX2659" y="connsiteY2659"/>
                </a:cxn>
                <a:cxn ang="0">
                  <a:pos x="connsiteX2660" y="connsiteY2660"/>
                </a:cxn>
                <a:cxn ang="0">
                  <a:pos x="connsiteX2661" y="connsiteY2661"/>
                </a:cxn>
                <a:cxn ang="0">
                  <a:pos x="connsiteX2662" y="connsiteY2662"/>
                </a:cxn>
                <a:cxn ang="0">
                  <a:pos x="connsiteX2663" y="connsiteY2663"/>
                </a:cxn>
                <a:cxn ang="0">
                  <a:pos x="connsiteX2664" y="connsiteY2664"/>
                </a:cxn>
                <a:cxn ang="0">
                  <a:pos x="connsiteX2665" y="connsiteY2665"/>
                </a:cxn>
                <a:cxn ang="0">
                  <a:pos x="connsiteX2666" y="connsiteY2666"/>
                </a:cxn>
                <a:cxn ang="0">
                  <a:pos x="connsiteX2667" y="connsiteY2667"/>
                </a:cxn>
                <a:cxn ang="0">
                  <a:pos x="connsiteX2668" y="connsiteY2668"/>
                </a:cxn>
                <a:cxn ang="0">
                  <a:pos x="connsiteX2669" y="connsiteY2669"/>
                </a:cxn>
                <a:cxn ang="0">
                  <a:pos x="connsiteX2670" y="connsiteY2670"/>
                </a:cxn>
                <a:cxn ang="0">
                  <a:pos x="connsiteX2671" y="connsiteY2671"/>
                </a:cxn>
                <a:cxn ang="0">
                  <a:pos x="connsiteX2672" y="connsiteY2672"/>
                </a:cxn>
                <a:cxn ang="0">
                  <a:pos x="connsiteX2673" y="connsiteY2673"/>
                </a:cxn>
                <a:cxn ang="0">
                  <a:pos x="connsiteX2674" y="connsiteY2674"/>
                </a:cxn>
                <a:cxn ang="0">
                  <a:pos x="connsiteX2675" y="connsiteY2675"/>
                </a:cxn>
                <a:cxn ang="0">
                  <a:pos x="connsiteX2676" y="connsiteY2676"/>
                </a:cxn>
                <a:cxn ang="0">
                  <a:pos x="connsiteX2677" y="connsiteY2677"/>
                </a:cxn>
                <a:cxn ang="0">
                  <a:pos x="connsiteX2678" y="connsiteY2678"/>
                </a:cxn>
                <a:cxn ang="0">
                  <a:pos x="connsiteX2679" y="connsiteY2679"/>
                </a:cxn>
                <a:cxn ang="0">
                  <a:pos x="connsiteX2680" y="connsiteY2680"/>
                </a:cxn>
                <a:cxn ang="0">
                  <a:pos x="connsiteX2681" y="connsiteY2681"/>
                </a:cxn>
                <a:cxn ang="0">
                  <a:pos x="connsiteX2682" y="connsiteY2682"/>
                </a:cxn>
                <a:cxn ang="0">
                  <a:pos x="connsiteX2683" y="connsiteY2683"/>
                </a:cxn>
                <a:cxn ang="0">
                  <a:pos x="connsiteX2684" y="connsiteY2684"/>
                </a:cxn>
                <a:cxn ang="0">
                  <a:pos x="connsiteX2685" y="connsiteY2685"/>
                </a:cxn>
                <a:cxn ang="0">
                  <a:pos x="connsiteX2686" y="connsiteY2686"/>
                </a:cxn>
                <a:cxn ang="0">
                  <a:pos x="connsiteX2687" y="connsiteY2687"/>
                </a:cxn>
                <a:cxn ang="0">
                  <a:pos x="connsiteX2688" y="connsiteY2688"/>
                </a:cxn>
                <a:cxn ang="0">
                  <a:pos x="connsiteX2689" y="connsiteY2689"/>
                </a:cxn>
                <a:cxn ang="0">
                  <a:pos x="connsiteX2690" y="connsiteY2690"/>
                </a:cxn>
                <a:cxn ang="0">
                  <a:pos x="connsiteX2691" y="connsiteY2691"/>
                </a:cxn>
                <a:cxn ang="0">
                  <a:pos x="connsiteX2692" y="connsiteY2692"/>
                </a:cxn>
                <a:cxn ang="0">
                  <a:pos x="connsiteX2693" y="connsiteY2693"/>
                </a:cxn>
                <a:cxn ang="0">
                  <a:pos x="connsiteX2694" y="connsiteY2694"/>
                </a:cxn>
                <a:cxn ang="0">
                  <a:pos x="connsiteX2695" y="connsiteY2695"/>
                </a:cxn>
                <a:cxn ang="0">
                  <a:pos x="connsiteX2696" y="connsiteY2696"/>
                </a:cxn>
                <a:cxn ang="0">
                  <a:pos x="connsiteX2697" y="connsiteY2697"/>
                </a:cxn>
                <a:cxn ang="0">
                  <a:pos x="connsiteX2698" y="connsiteY2698"/>
                </a:cxn>
                <a:cxn ang="0">
                  <a:pos x="connsiteX2699" y="connsiteY2699"/>
                </a:cxn>
                <a:cxn ang="0">
                  <a:pos x="connsiteX2700" y="connsiteY2700"/>
                </a:cxn>
                <a:cxn ang="0">
                  <a:pos x="connsiteX2701" y="connsiteY2701"/>
                </a:cxn>
                <a:cxn ang="0">
                  <a:pos x="connsiteX2702" y="connsiteY2702"/>
                </a:cxn>
                <a:cxn ang="0">
                  <a:pos x="connsiteX2703" y="connsiteY2703"/>
                </a:cxn>
                <a:cxn ang="0">
                  <a:pos x="connsiteX2704" y="connsiteY2704"/>
                </a:cxn>
                <a:cxn ang="0">
                  <a:pos x="connsiteX2705" y="connsiteY2705"/>
                </a:cxn>
                <a:cxn ang="0">
                  <a:pos x="connsiteX2706" y="connsiteY2706"/>
                </a:cxn>
                <a:cxn ang="0">
                  <a:pos x="connsiteX2707" y="connsiteY2707"/>
                </a:cxn>
                <a:cxn ang="0">
                  <a:pos x="connsiteX2708" y="connsiteY2708"/>
                </a:cxn>
                <a:cxn ang="0">
                  <a:pos x="connsiteX2709" y="connsiteY2709"/>
                </a:cxn>
                <a:cxn ang="0">
                  <a:pos x="connsiteX2710" y="connsiteY2710"/>
                </a:cxn>
                <a:cxn ang="0">
                  <a:pos x="connsiteX2711" y="connsiteY2711"/>
                </a:cxn>
                <a:cxn ang="0">
                  <a:pos x="connsiteX2712" y="connsiteY2712"/>
                </a:cxn>
                <a:cxn ang="0">
                  <a:pos x="connsiteX2713" y="connsiteY2713"/>
                </a:cxn>
                <a:cxn ang="0">
                  <a:pos x="connsiteX2714" y="connsiteY2714"/>
                </a:cxn>
                <a:cxn ang="0">
                  <a:pos x="connsiteX2715" y="connsiteY2715"/>
                </a:cxn>
                <a:cxn ang="0">
                  <a:pos x="connsiteX2716" y="connsiteY2716"/>
                </a:cxn>
                <a:cxn ang="0">
                  <a:pos x="connsiteX2717" y="connsiteY2717"/>
                </a:cxn>
                <a:cxn ang="0">
                  <a:pos x="connsiteX2718" y="connsiteY2718"/>
                </a:cxn>
                <a:cxn ang="0">
                  <a:pos x="connsiteX2719" y="connsiteY2719"/>
                </a:cxn>
                <a:cxn ang="0">
                  <a:pos x="connsiteX2720" y="connsiteY2720"/>
                </a:cxn>
                <a:cxn ang="0">
                  <a:pos x="connsiteX2721" y="connsiteY2721"/>
                </a:cxn>
                <a:cxn ang="0">
                  <a:pos x="connsiteX2722" y="connsiteY2722"/>
                </a:cxn>
                <a:cxn ang="0">
                  <a:pos x="connsiteX2723" y="connsiteY2723"/>
                </a:cxn>
                <a:cxn ang="0">
                  <a:pos x="connsiteX2724" y="connsiteY2724"/>
                </a:cxn>
                <a:cxn ang="0">
                  <a:pos x="connsiteX2725" y="connsiteY2725"/>
                </a:cxn>
                <a:cxn ang="0">
                  <a:pos x="connsiteX2726" y="connsiteY2726"/>
                </a:cxn>
                <a:cxn ang="0">
                  <a:pos x="connsiteX2727" y="connsiteY2727"/>
                </a:cxn>
                <a:cxn ang="0">
                  <a:pos x="connsiteX2728" y="connsiteY2728"/>
                </a:cxn>
                <a:cxn ang="0">
                  <a:pos x="connsiteX2729" y="connsiteY2729"/>
                </a:cxn>
                <a:cxn ang="0">
                  <a:pos x="connsiteX2730" y="connsiteY2730"/>
                </a:cxn>
                <a:cxn ang="0">
                  <a:pos x="connsiteX2731" y="connsiteY2731"/>
                </a:cxn>
                <a:cxn ang="0">
                  <a:pos x="connsiteX2732" y="connsiteY2732"/>
                </a:cxn>
                <a:cxn ang="0">
                  <a:pos x="connsiteX2733" y="connsiteY2733"/>
                </a:cxn>
                <a:cxn ang="0">
                  <a:pos x="connsiteX2734" y="connsiteY2734"/>
                </a:cxn>
                <a:cxn ang="0">
                  <a:pos x="connsiteX2735" y="connsiteY2735"/>
                </a:cxn>
                <a:cxn ang="0">
                  <a:pos x="connsiteX2736" y="connsiteY2736"/>
                </a:cxn>
                <a:cxn ang="0">
                  <a:pos x="connsiteX2737" y="connsiteY2737"/>
                </a:cxn>
                <a:cxn ang="0">
                  <a:pos x="connsiteX2738" y="connsiteY2738"/>
                </a:cxn>
                <a:cxn ang="0">
                  <a:pos x="connsiteX2739" y="connsiteY2739"/>
                </a:cxn>
                <a:cxn ang="0">
                  <a:pos x="connsiteX2740" y="connsiteY2740"/>
                </a:cxn>
                <a:cxn ang="0">
                  <a:pos x="connsiteX2741" y="connsiteY2741"/>
                </a:cxn>
                <a:cxn ang="0">
                  <a:pos x="connsiteX2742" y="connsiteY2742"/>
                </a:cxn>
                <a:cxn ang="0">
                  <a:pos x="connsiteX2743" y="connsiteY2743"/>
                </a:cxn>
                <a:cxn ang="0">
                  <a:pos x="connsiteX2744" y="connsiteY2744"/>
                </a:cxn>
                <a:cxn ang="0">
                  <a:pos x="connsiteX2745" y="connsiteY2745"/>
                </a:cxn>
                <a:cxn ang="0">
                  <a:pos x="connsiteX2746" y="connsiteY2746"/>
                </a:cxn>
                <a:cxn ang="0">
                  <a:pos x="connsiteX2747" y="connsiteY2747"/>
                </a:cxn>
                <a:cxn ang="0">
                  <a:pos x="connsiteX2748" y="connsiteY2748"/>
                </a:cxn>
                <a:cxn ang="0">
                  <a:pos x="connsiteX2749" y="connsiteY2749"/>
                </a:cxn>
                <a:cxn ang="0">
                  <a:pos x="connsiteX2750" y="connsiteY2750"/>
                </a:cxn>
                <a:cxn ang="0">
                  <a:pos x="connsiteX2751" y="connsiteY2751"/>
                </a:cxn>
                <a:cxn ang="0">
                  <a:pos x="connsiteX2752" y="connsiteY2752"/>
                </a:cxn>
                <a:cxn ang="0">
                  <a:pos x="connsiteX2753" y="connsiteY2753"/>
                </a:cxn>
                <a:cxn ang="0">
                  <a:pos x="connsiteX2754" y="connsiteY2754"/>
                </a:cxn>
                <a:cxn ang="0">
                  <a:pos x="connsiteX2755" y="connsiteY2755"/>
                </a:cxn>
                <a:cxn ang="0">
                  <a:pos x="connsiteX2756" y="connsiteY2756"/>
                </a:cxn>
                <a:cxn ang="0">
                  <a:pos x="connsiteX2757" y="connsiteY2757"/>
                </a:cxn>
                <a:cxn ang="0">
                  <a:pos x="connsiteX2758" y="connsiteY2758"/>
                </a:cxn>
                <a:cxn ang="0">
                  <a:pos x="connsiteX2759" y="connsiteY2759"/>
                </a:cxn>
                <a:cxn ang="0">
                  <a:pos x="connsiteX2760" y="connsiteY2760"/>
                </a:cxn>
                <a:cxn ang="0">
                  <a:pos x="connsiteX2761" y="connsiteY2761"/>
                </a:cxn>
                <a:cxn ang="0">
                  <a:pos x="connsiteX2762" y="connsiteY2762"/>
                </a:cxn>
                <a:cxn ang="0">
                  <a:pos x="connsiteX2763" y="connsiteY2763"/>
                </a:cxn>
                <a:cxn ang="0">
                  <a:pos x="connsiteX2764" y="connsiteY2764"/>
                </a:cxn>
                <a:cxn ang="0">
                  <a:pos x="connsiteX2765" y="connsiteY2765"/>
                </a:cxn>
                <a:cxn ang="0">
                  <a:pos x="connsiteX2766" y="connsiteY2766"/>
                </a:cxn>
                <a:cxn ang="0">
                  <a:pos x="connsiteX2767" y="connsiteY2767"/>
                </a:cxn>
                <a:cxn ang="0">
                  <a:pos x="connsiteX2768" y="connsiteY2768"/>
                </a:cxn>
                <a:cxn ang="0">
                  <a:pos x="connsiteX2769" y="connsiteY2769"/>
                </a:cxn>
                <a:cxn ang="0">
                  <a:pos x="connsiteX2770" y="connsiteY2770"/>
                </a:cxn>
                <a:cxn ang="0">
                  <a:pos x="connsiteX2771" y="connsiteY2771"/>
                </a:cxn>
                <a:cxn ang="0">
                  <a:pos x="connsiteX2772" y="connsiteY2772"/>
                </a:cxn>
                <a:cxn ang="0">
                  <a:pos x="connsiteX2773" y="connsiteY2773"/>
                </a:cxn>
                <a:cxn ang="0">
                  <a:pos x="connsiteX2774" y="connsiteY2774"/>
                </a:cxn>
                <a:cxn ang="0">
                  <a:pos x="connsiteX2775" y="connsiteY2775"/>
                </a:cxn>
                <a:cxn ang="0">
                  <a:pos x="connsiteX2776" y="connsiteY2776"/>
                </a:cxn>
                <a:cxn ang="0">
                  <a:pos x="connsiteX2777" y="connsiteY2777"/>
                </a:cxn>
                <a:cxn ang="0">
                  <a:pos x="connsiteX2778" y="connsiteY2778"/>
                </a:cxn>
                <a:cxn ang="0">
                  <a:pos x="connsiteX2779" y="connsiteY2779"/>
                </a:cxn>
                <a:cxn ang="0">
                  <a:pos x="connsiteX2780" y="connsiteY2780"/>
                </a:cxn>
                <a:cxn ang="0">
                  <a:pos x="connsiteX2781" y="connsiteY2781"/>
                </a:cxn>
                <a:cxn ang="0">
                  <a:pos x="connsiteX2782" y="connsiteY2782"/>
                </a:cxn>
                <a:cxn ang="0">
                  <a:pos x="connsiteX2783" y="connsiteY2783"/>
                </a:cxn>
                <a:cxn ang="0">
                  <a:pos x="connsiteX2784" y="connsiteY2784"/>
                </a:cxn>
                <a:cxn ang="0">
                  <a:pos x="connsiteX2785" y="connsiteY2785"/>
                </a:cxn>
                <a:cxn ang="0">
                  <a:pos x="connsiteX2786" y="connsiteY2786"/>
                </a:cxn>
                <a:cxn ang="0">
                  <a:pos x="connsiteX2787" y="connsiteY2787"/>
                </a:cxn>
                <a:cxn ang="0">
                  <a:pos x="connsiteX2788" y="connsiteY2788"/>
                </a:cxn>
                <a:cxn ang="0">
                  <a:pos x="connsiteX2789" y="connsiteY2789"/>
                </a:cxn>
                <a:cxn ang="0">
                  <a:pos x="connsiteX2790" y="connsiteY2790"/>
                </a:cxn>
                <a:cxn ang="0">
                  <a:pos x="connsiteX2791" y="connsiteY2791"/>
                </a:cxn>
                <a:cxn ang="0">
                  <a:pos x="connsiteX2792" y="connsiteY2792"/>
                </a:cxn>
                <a:cxn ang="0">
                  <a:pos x="connsiteX2793" y="connsiteY2793"/>
                </a:cxn>
                <a:cxn ang="0">
                  <a:pos x="connsiteX2794" y="connsiteY2794"/>
                </a:cxn>
                <a:cxn ang="0">
                  <a:pos x="connsiteX2795" y="connsiteY2795"/>
                </a:cxn>
              </a:cxnLst>
              <a:rect l="l" t="t" r="r" b="b"/>
              <a:pathLst>
                <a:path w="6386648" h="1849426">
                  <a:moveTo>
                    <a:pt x="4421987" y="1813377"/>
                  </a:moveTo>
                  <a:cubicBezTo>
                    <a:pt x="4431942" y="1813377"/>
                    <a:pt x="4440012" y="1821446"/>
                    <a:pt x="4440012" y="1831401"/>
                  </a:cubicBezTo>
                  <a:cubicBezTo>
                    <a:pt x="4440012" y="1841356"/>
                    <a:pt x="4431942" y="1849426"/>
                    <a:pt x="4421987" y="1849426"/>
                  </a:cubicBezTo>
                  <a:cubicBezTo>
                    <a:pt x="4412032" y="1849426"/>
                    <a:pt x="4403963" y="1841356"/>
                    <a:pt x="4403963" y="1831401"/>
                  </a:cubicBezTo>
                  <a:cubicBezTo>
                    <a:pt x="4403963" y="1821446"/>
                    <a:pt x="4412032" y="1813377"/>
                    <a:pt x="4421987" y="1813377"/>
                  </a:cubicBezTo>
                  <a:close/>
                  <a:moveTo>
                    <a:pt x="4235735" y="1807369"/>
                  </a:moveTo>
                  <a:cubicBezTo>
                    <a:pt x="4245690" y="1807369"/>
                    <a:pt x="4253760" y="1815439"/>
                    <a:pt x="4253760" y="1825393"/>
                  </a:cubicBezTo>
                  <a:cubicBezTo>
                    <a:pt x="4253760" y="1835348"/>
                    <a:pt x="4245690" y="1843418"/>
                    <a:pt x="4235735" y="1843418"/>
                  </a:cubicBezTo>
                  <a:cubicBezTo>
                    <a:pt x="4225780" y="1843418"/>
                    <a:pt x="4217711" y="1835348"/>
                    <a:pt x="4217711" y="1825393"/>
                  </a:cubicBezTo>
                  <a:cubicBezTo>
                    <a:pt x="4217711" y="1815439"/>
                    <a:pt x="4225780" y="1807369"/>
                    <a:pt x="4235735" y="1807369"/>
                  </a:cubicBezTo>
                  <a:close/>
                  <a:moveTo>
                    <a:pt x="4566182" y="1795353"/>
                  </a:moveTo>
                  <a:cubicBezTo>
                    <a:pt x="4576137" y="1795353"/>
                    <a:pt x="4584207" y="1803423"/>
                    <a:pt x="4584207" y="1813377"/>
                  </a:cubicBezTo>
                  <a:cubicBezTo>
                    <a:pt x="4584207" y="1823332"/>
                    <a:pt x="4576137" y="1831402"/>
                    <a:pt x="4566182" y="1831402"/>
                  </a:cubicBezTo>
                  <a:cubicBezTo>
                    <a:pt x="4556227" y="1831402"/>
                    <a:pt x="4548158" y="1823332"/>
                    <a:pt x="4548158" y="1813377"/>
                  </a:cubicBezTo>
                  <a:cubicBezTo>
                    <a:pt x="4548158" y="1803423"/>
                    <a:pt x="4556227" y="1795353"/>
                    <a:pt x="4566182" y="1795353"/>
                  </a:cubicBezTo>
                  <a:close/>
                  <a:moveTo>
                    <a:pt x="4698361" y="1777329"/>
                  </a:moveTo>
                  <a:cubicBezTo>
                    <a:pt x="4708316" y="1777329"/>
                    <a:pt x="4716386" y="1785399"/>
                    <a:pt x="4716386" y="1795353"/>
                  </a:cubicBezTo>
                  <a:cubicBezTo>
                    <a:pt x="4716386" y="1805308"/>
                    <a:pt x="4708316" y="1813378"/>
                    <a:pt x="4698361" y="1813378"/>
                  </a:cubicBezTo>
                  <a:cubicBezTo>
                    <a:pt x="4688406" y="1813378"/>
                    <a:pt x="4680336" y="1805308"/>
                    <a:pt x="4680336" y="1795353"/>
                  </a:cubicBezTo>
                  <a:cubicBezTo>
                    <a:pt x="4680336" y="1785399"/>
                    <a:pt x="4688406" y="1777329"/>
                    <a:pt x="4698361" y="1777329"/>
                  </a:cubicBezTo>
                  <a:close/>
                  <a:moveTo>
                    <a:pt x="4085531" y="1759304"/>
                  </a:moveTo>
                  <a:cubicBezTo>
                    <a:pt x="4095486" y="1759304"/>
                    <a:pt x="4103556" y="1767374"/>
                    <a:pt x="4103556" y="1777329"/>
                  </a:cubicBezTo>
                  <a:cubicBezTo>
                    <a:pt x="4103556" y="1787283"/>
                    <a:pt x="4095486" y="1795353"/>
                    <a:pt x="4085531" y="1795353"/>
                  </a:cubicBezTo>
                  <a:cubicBezTo>
                    <a:pt x="4075576" y="1795353"/>
                    <a:pt x="4067507" y="1787283"/>
                    <a:pt x="4067507" y="1777329"/>
                  </a:cubicBezTo>
                  <a:cubicBezTo>
                    <a:pt x="4067507" y="1767374"/>
                    <a:pt x="4075576" y="1759304"/>
                    <a:pt x="4085531" y="1759304"/>
                  </a:cubicBezTo>
                  <a:close/>
                  <a:moveTo>
                    <a:pt x="4301824" y="1723255"/>
                  </a:moveTo>
                  <a:cubicBezTo>
                    <a:pt x="4311779" y="1723255"/>
                    <a:pt x="4319849" y="1731324"/>
                    <a:pt x="4319849" y="1741279"/>
                  </a:cubicBezTo>
                  <a:cubicBezTo>
                    <a:pt x="4319849" y="1751234"/>
                    <a:pt x="4311779" y="1759304"/>
                    <a:pt x="4301824" y="1759304"/>
                  </a:cubicBezTo>
                  <a:cubicBezTo>
                    <a:pt x="4291869" y="1759304"/>
                    <a:pt x="4283800" y="1751234"/>
                    <a:pt x="4283800" y="1741279"/>
                  </a:cubicBezTo>
                  <a:cubicBezTo>
                    <a:pt x="4283800" y="1731324"/>
                    <a:pt x="4291869" y="1723255"/>
                    <a:pt x="4301824" y="1723255"/>
                  </a:cubicBezTo>
                  <a:close/>
                  <a:moveTo>
                    <a:pt x="4440011" y="1717247"/>
                  </a:moveTo>
                  <a:cubicBezTo>
                    <a:pt x="4449966" y="1717247"/>
                    <a:pt x="4458036" y="1725317"/>
                    <a:pt x="4458036" y="1735271"/>
                  </a:cubicBezTo>
                  <a:cubicBezTo>
                    <a:pt x="4458036" y="1745226"/>
                    <a:pt x="4449966" y="1753296"/>
                    <a:pt x="4440011" y="1753296"/>
                  </a:cubicBezTo>
                  <a:cubicBezTo>
                    <a:pt x="4430057" y="1753296"/>
                    <a:pt x="4421987" y="1745226"/>
                    <a:pt x="4421987" y="1735271"/>
                  </a:cubicBezTo>
                  <a:cubicBezTo>
                    <a:pt x="4421987" y="1725317"/>
                    <a:pt x="4430057" y="1717247"/>
                    <a:pt x="4440011" y="1717247"/>
                  </a:cubicBezTo>
                  <a:close/>
                  <a:moveTo>
                    <a:pt x="3965369" y="1711239"/>
                  </a:moveTo>
                  <a:cubicBezTo>
                    <a:pt x="3975324" y="1711239"/>
                    <a:pt x="3983394" y="1719309"/>
                    <a:pt x="3983394" y="1729263"/>
                  </a:cubicBezTo>
                  <a:cubicBezTo>
                    <a:pt x="3983394" y="1739218"/>
                    <a:pt x="3975324" y="1747288"/>
                    <a:pt x="3965369" y="1747288"/>
                  </a:cubicBezTo>
                  <a:cubicBezTo>
                    <a:pt x="3955414" y="1747288"/>
                    <a:pt x="3947345" y="1739218"/>
                    <a:pt x="3947345" y="1729263"/>
                  </a:cubicBezTo>
                  <a:cubicBezTo>
                    <a:pt x="3947345" y="1719309"/>
                    <a:pt x="3955414" y="1711239"/>
                    <a:pt x="3965369" y="1711239"/>
                  </a:cubicBezTo>
                  <a:close/>
                  <a:moveTo>
                    <a:pt x="4836548" y="1705231"/>
                  </a:moveTo>
                  <a:cubicBezTo>
                    <a:pt x="4846503" y="1705231"/>
                    <a:pt x="4854573" y="1713301"/>
                    <a:pt x="4854573" y="1723255"/>
                  </a:cubicBezTo>
                  <a:cubicBezTo>
                    <a:pt x="4854573" y="1733210"/>
                    <a:pt x="4846503" y="1741280"/>
                    <a:pt x="4836548" y="1741280"/>
                  </a:cubicBezTo>
                  <a:cubicBezTo>
                    <a:pt x="4826593" y="1741280"/>
                    <a:pt x="4818524" y="1733210"/>
                    <a:pt x="4818524" y="1723255"/>
                  </a:cubicBezTo>
                  <a:cubicBezTo>
                    <a:pt x="4818524" y="1713301"/>
                    <a:pt x="4826593" y="1705231"/>
                    <a:pt x="4836548" y="1705231"/>
                  </a:cubicBezTo>
                  <a:close/>
                  <a:moveTo>
                    <a:pt x="4175653" y="1681198"/>
                  </a:moveTo>
                  <a:cubicBezTo>
                    <a:pt x="4185608" y="1681198"/>
                    <a:pt x="4193678" y="1689268"/>
                    <a:pt x="4193678" y="1699222"/>
                  </a:cubicBezTo>
                  <a:cubicBezTo>
                    <a:pt x="4193678" y="1709177"/>
                    <a:pt x="4185608" y="1717247"/>
                    <a:pt x="4175653" y="1717247"/>
                  </a:cubicBezTo>
                  <a:cubicBezTo>
                    <a:pt x="4165698" y="1717247"/>
                    <a:pt x="4157629" y="1709177"/>
                    <a:pt x="4157629" y="1699222"/>
                  </a:cubicBezTo>
                  <a:cubicBezTo>
                    <a:pt x="4157629" y="1689268"/>
                    <a:pt x="4165698" y="1681198"/>
                    <a:pt x="4175653" y="1681198"/>
                  </a:cubicBezTo>
                  <a:close/>
                  <a:moveTo>
                    <a:pt x="4602231" y="1675190"/>
                  </a:moveTo>
                  <a:cubicBezTo>
                    <a:pt x="4612186" y="1675190"/>
                    <a:pt x="4620256" y="1683260"/>
                    <a:pt x="4620256" y="1693214"/>
                  </a:cubicBezTo>
                  <a:cubicBezTo>
                    <a:pt x="4620256" y="1703169"/>
                    <a:pt x="4612186" y="1711239"/>
                    <a:pt x="4602231" y="1711239"/>
                  </a:cubicBezTo>
                  <a:cubicBezTo>
                    <a:pt x="4592276" y="1711239"/>
                    <a:pt x="4584207" y="1703169"/>
                    <a:pt x="4584207" y="1693214"/>
                  </a:cubicBezTo>
                  <a:cubicBezTo>
                    <a:pt x="4584207" y="1683260"/>
                    <a:pt x="4592276" y="1675190"/>
                    <a:pt x="4602231" y="1675190"/>
                  </a:cubicBezTo>
                  <a:close/>
                  <a:moveTo>
                    <a:pt x="4734410" y="1663174"/>
                  </a:moveTo>
                  <a:cubicBezTo>
                    <a:pt x="4744365" y="1663174"/>
                    <a:pt x="4752435" y="1671243"/>
                    <a:pt x="4752435" y="1681198"/>
                  </a:cubicBezTo>
                  <a:cubicBezTo>
                    <a:pt x="4752435" y="1691153"/>
                    <a:pt x="4744365" y="1699223"/>
                    <a:pt x="4734410" y="1699223"/>
                  </a:cubicBezTo>
                  <a:cubicBezTo>
                    <a:pt x="4724456" y="1699223"/>
                    <a:pt x="4716386" y="1691153"/>
                    <a:pt x="4716386" y="1681198"/>
                  </a:cubicBezTo>
                  <a:cubicBezTo>
                    <a:pt x="4716386" y="1671243"/>
                    <a:pt x="4724456" y="1663174"/>
                    <a:pt x="4734410" y="1663174"/>
                  </a:cubicBezTo>
                  <a:close/>
                  <a:moveTo>
                    <a:pt x="3851214" y="1663174"/>
                  </a:moveTo>
                  <a:cubicBezTo>
                    <a:pt x="3861169" y="1663174"/>
                    <a:pt x="3869239" y="1671243"/>
                    <a:pt x="3869239" y="1681198"/>
                  </a:cubicBezTo>
                  <a:cubicBezTo>
                    <a:pt x="3869239" y="1691153"/>
                    <a:pt x="3861169" y="1699223"/>
                    <a:pt x="3851214" y="1699223"/>
                  </a:cubicBezTo>
                  <a:cubicBezTo>
                    <a:pt x="3841259" y="1699223"/>
                    <a:pt x="3833190" y="1691153"/>
                    <a:pt x="3833190" y="1681198"/>
                  </a:cubicBezTo>
                  <a:cubicBezTo>
                    <a:pt x="3833190" y="1671243"/>
                    <a:pt x="3841259" y="1663174"/>
                    <a:pt x="3851214" y="1663174"/>
                  </a:cubicBezTo>
                  <a:close/>
                  <a:moveTo>
                    <a:pt x="4061499" y="1627125"/>
                  </a:moveTo>
                  <a:cubicBezTo>
                    <a:pt x="4071454" y="1627125"/>
                    <a:pt x="4079524" y="1635195"/>
                    <a:pt x="4079524" y="1645149"/>
                  </a:cubicBezTo>
                  <a:cubicBezTo>
                    <a:pt x="4079524" y="1655104"/>
                    <a:pt x="4071454" y="1663174"/>
                    <a:pt x="4061499" y="1663174"/>
                  </a:cubicBezTo>
                  <a:cubicBezTo>
                    <a:pt x="4051544" y="1663174"/>
                    <a:pt x="4043475" y="1655104"/>
                    <a:pt x="4043475" y="1645149"/>
                  </a:cubicBezTo>
                  <a:cubicBezTo>
                    <a:pt x="4043475" y="1635195"/>
                    <a:pt x="4051544" y="1627125"/>
                    <a:pt x="4061499" y="1627125"/>
                  </a:cubicBezTo>
                  <a:close/>
                  <a:moveTo>
                    <a:pt x="4482068" y="1621117"/>
                  </a:moveTo>
                  <a:cubicBezTo>
                    <a:pt x="4492023" y="1621117"/>
                    <a:pt x="4500093" y="1629187"/>
                    <a:pt x="4500093" y="1639141"/>
                  </a:cubicBezTo>
                  <a:cubicBezTo>
                    <a:pt x="4500093" y="1649096"/>
                    <a:pt x="4492023" y="1657166"/>
                    <a:pt x="4482068" y="1657166"/>
                  </a:cubicBezTo>
                  <a:cubicBezTo>
                    <a:pt x="4472113" y="1657166"/>
                    <a:pt x="4464044" y="1649096"/>
                    <a:pt x="4464044" y="1639141"/>
                  </a:cubicBezTo>
                  <a:cubicBezTo>
                    <a:pt x="4464044" y="1629187"/>
                    <a:pt x="4472113" y="1621117"/>
                    <a:pt x="4482068" y="1621117"/>
                  </a:cubicBezTo>
                  <a:close/>
                  <a:moveTo>
                    <a:pt x="4926670" y="1615109"/>
                  </a:moveTo>
                  <a:cubicBezTo>
                    <a:pt x="4936625" y="1615109"/>
                    <a:pt x="4944695" y="1623179"/>
                    <a:pt x="4944695" y="1633133"/>
                  </a:cubicBezTo>
                  <a:cubicBezTo>
                    <a:pt x="4944695" y="1643088"/>
                    <a:pt x="4936625" y="1651158"/>
                    <a:pt x="4926670" y="1651158"/>
                  </a:cubicBezTo>
                  <a:cubicBezTo>
                    <a:pt x="4916715" y="1651158"/>
                    <a:pt x="4908646" y="1643088"/>
                    <a:pt x="4908646" y="1633133"/>
                  </a:cubicBezTo>
                  <a:cubicBezTo>
                    <a:pt x="4908646" y="1623179"/>
                    <a:pt x="4916715" y="1615109"/>
                    <a:pt x="4926670" y="1615109"/>
                  </a:cubicBezTo>
                  <a:close/>
                  <a:moveTo>
                    <a:pt x="3719035" y="1615109"/>
                  </a:moveTo>
                  <a:cubicBezTo>
                    <a:pt x="3728990" y="1615109"/>
                    <a:pt x="3737060" y="1623179"/>
                    <a:pt x="3737060" y="1633133"/>
                  </a:cubicBezTo>
                  <a:cubicBezTo>
                    <a:pt x="3737060" y="1643088"/>
                    <a:pt x="3728990" y="1651158"/>
                    <a:pt x="3719035" y="1651158"/>
                  </a:cubicBezTo>
                  <a:cubicBezTo>
                    <a:pt x="3709081" y="1651158"/>
                    <a:pt x="3701011" y="1643088"/>
                    <a:pt x="3701011" y="1633133"/>
                  </a:cubicBezTo>
                  <a:cubicBezTo>
                    <a:pt x="3701011" y="1623179"/>
                    <a:pt x="3709081" y="1615109"/>
                    <a:pt x="3719035" y="1615109"/>
                  </a:cubicBezTo>
                  <a:close/>
                  <a:moveTo>
                    <a:pt x="4343881" y="1603093"/>
                  </a:moveTo>
                  <a:cubicBezTo>
                    <a:pt x="4353836" y="1603093"/>
                    <a:pt x="4361906" y="1611162"/>
                    <a:pt x="4361906" y="1621117"/>
                  </a:cubicBezTo>
                  <a:cubicBezTo>
                    <a:pt x="4361906" y="1631072"/>
                    <a:pt x="4353836" y="1639142"/>
                    <a:pt x="4343881" y="1639142"/>
                  </a:cubicBezTo>
                  <a:cubicBezTo>
                    <a:pt x="4333927" y="1639142"/>
                    <a:pt x="4325857" y="1631072"/>
                    <a:pt x="4325857" y="1621117"/>
                  </a:cubicBezTo>
                  <a:cubicBezTo>
                    <a:pt x="4325857" y="1611162"/>
                    <a:pt x="4333927" y="1603093"/>
                    <a:pt x="4343881" y="1603093"/>
                  </a:cubicBezTo>
                  <a:close/>
                  <a:moveTo>
                    <a:pt x="4235735" y="1579060"/>
                  </a:moveTo>
                  <a:cubicBezTo>
                    <a:pt x="4245690" y="1579060"/>
                    <a:pt x="4253760" y="1587130"/>
                    <a:pt x="4253760" y="1597085"/>
                  </a:cubicBezTo>
                  <a:cubicBezTo>
                    <a:pt x="4253760" y="1607039"/>
                    <a:pt x="4245690" y="1615109"/>
                    <a:pt x="4235735" y="1615109"/>
                  </a:cubicBezTo>
                  <a:cubicBezTo>
                    <a:pt x="4225780" y="1615109"/>
                    <a:pt x="4217711" y="1607039"/>
                    <a:pt x="4217711" y="1597085"/>
                  </a:cubicBezTo>
                  <a:cubicBezTo>
                    <a:pt x="4217711" y="1587130"/>
                    <a:pt x="4225780" y="1579060"/>
                    <a:pt x="4235735" y="1579060"/>
                  </a:cubicBezTo>
                  <a:close/>
                  <a:moveTo>
                    <a:pt x="3941336" y="1573052"/>
                  </a:moveTo>
                  <a:cubicBezTo>
                    <a:pt x="3951291" y="1573052"/>
                    <a:pt x="3959361" y="1581121"/>
                    <a:pt x="3959361" y="1591076"/>
                  </a:cubicBezTo>
                  <a:cubicBezTo>
                    <a:pt x="3959361" y="1601031"/>
                    <a:pt x="3951291" y="1609101"/>
                    <a:pt x="3941336" y="1609101"/>
                  </a:cubicBezTo>
                  <a:cubicBezTo>
                    <a:pt x="3931381" y="1609101"/>
                    <a:pt x="3923312" y="1601031"/>
                    <a:pt x="3923312" y="1591076"/>
                  </a:cubicBezTo>
                  <a:cubicBezTo>
                    <a:pt x="3923312" y="1581121"/>
                    <a:pt x="3931381" y="1573052"/>
                    <a:pt x="3941336" y="1573052"/>
                  </a:cubicBezTo>
                  <a:close/>
                  <a:moveTo>
                    <a:pt x="1057431" y="1567044"/>
                  </a:moveTo>
                  <a:cubicBezTo>
                    <a:pt x="1067386" y="1567044"/>
                    <a:pt x="1075456" y="1575114"/>
                    <a:pt x="1075456" y="1585068"/>
                  </a:cubicBezTo>
                  <a:cubicBezTo>
                    <a:pt x="1075456" y="1595023"/>
                    <a:pt x="1067386" y="1603093"/>
                    <a:pt x="1057431" y="1603093"/>
                  </a:cubicBezTo>
                  <a:cubicBezTo>
                    <a:pt x="1047477" y="1603093"/>
                    <a:pt x="1039407" y="1595023"/>
                    <a:pt x="1039407" y="1585068"/>
                  </a:cubicBezTo>
                  <a:cubicBezTo>
                    <a:pt x="1039407" y="1575114"/>
                    <a:pt x="1047477" y="1567044"/>
                    <a:pt x="1057431" y="1567044"/>
                  </a:cubicBezTo>
                  <a:close/>
                  <a:moveTo>
                    <a:pt x="1201626" y="1561036"/>
                  </a:moveTo>
                  <a:cubicBezTo>
                    <a:pt x="1211581" y="1561036"/>
                    <a:pt x="1219651" y="1569106"/>
                    <a:pt x="1219651" y="1579060"/>
                  </a:cubicBezTo>
                  <a:cubicBezTo>
                    <a:pt x="1219651" y="1589015"/>
                    <a:pt x="1211581" y="1597085"/>
                    <a:pt x="1201626" y="1597085"/>
                  </a:cubicBezTo>
                  <a:cubicBezTo>
                    <a:pt x="1191672" y="1597085"/>
                    <a:pt x="1183602" y="1589015"/>
                    <a:pt x="1183602" y="1579060"/>
                  </a:cubicBezTo>
                  <a:cubicBezTo>
                    <a:pt x="1183602" y="1569106"/>
                    <a:pt x="1191672" y="1561036"/>
                    <a:pt x="1201626" y="1561036"/>
                  </a:cubicBezTo>
                  <a:close/>
                  <a:moveTo>
                    <a:pt x="4716385" y="1555028"/>
                  </a:moveTo>
                  <a:cubicBezTo>
                    <a:pt x="4726340" y="1555028"/>
                    <a:pt x="4734410" y="1563098"/>
                    <a:pt x="4734410" y="1573052"/>
                  </a:cubicBezTo>
                  <a:cubicBezTo>
                    <a:pt x="4734410" y="1583007"/>
                    <a:pt x="4726340" y="1591077"/>
                    <a:pt x="4716385" y="1591077"/>
                  </a:cubicBezTo>
                  <a:cubicBezTo>
                    <a:pt x="4706430" y="1591077"/>
                    <a:pt x="4698361" y="1583007"/>
                    <a:pt x="4698361" y="1573052"/>
                  </a:cubicBezTo>
                  <a:cubicBezTo>
                    <a:pt x="4698361" y="1563098"/>
                    <a:pt x="4706430" y="1555028"/>
                    <a:pt x="4716385" y="1555028"/>
                  </a:cubicBezTo>
                  <a:close/>
                  <a:moveTo>
                    <a:pt x="4578198" y="1555028"/>
                  </a:moveTo>
                  <a:cubicBezTo>
                    <a:pt x="4588153" y="1555028"/>
                    <a:pt x="4596223" y="1563098"/>
                    <a:pt x="4596223" y="1573052"/>
                  </a:cubicBezTo>
                  <a:cubicBezTo>
                    <a:pt x="4596223" y="1583007"/>
                    <a:pt x="4588153" y="1591077"/>
                    <a:pt x="4578198" y="1591077"/>
                  </a:cubicBezTo>
                  <a:cubicBezTo>
                    <a:pt x="4568243" y="1591077"/>
                    <a:pt x="4560173" y="1583007"/>
                    <a:pt x="4560173" y="1573052"/>
                  </a:cubicBezTo>
                  <a:cubicBezTo>
                    <a:pt x="4560173" y="1563098"/>
                    <a:pt x="4568243" y="1555028"/>
                    <a:pt x="4578198" y="1555028"/>
                  </a:cubicBezTo>
                  <a:close/>
                  <a:moveTo>
                    <a:pt x="1333805" y="1555028"/>
                  </a:moveTo>
                  <a:cubicBezTo>
                    <a:pt x="1343760" y="1555028"/>
                    <a:pt x="1351830" y="1563098"/>
                    <a:pt x="1351830" y="1573052"/>
                  </a:cubicBezTo>
                  <a:cubicBezTo>
                    <a:pt x="1351830" y="1583007"/>
                    <a:pt x="1343760" y="1591077"/>
                    <a:pt x="1333805" y="1591077"/>
                  </a:cubicBezTo>
                  <a:cubicBezTo>
                    <a:pt x="1323851" y="1591077"/>
                    <a:pt x="1315781" y="1583007"/>
                    <a:pt x="1315781" y="1573052"/>
                  </a:cubicBezTo>
                  <a:cubicBezTo>
                    <a:pt x="1315781" y="1563098"/>
                    <a:pt x="1323851" y="1555028"/>
                    <a:pt x="1333805" y="1555028"/>
                  </a:cubicBezTo>
                  <a:close/>
                  <a:moveTo>
                    <a:pt x="4842556" y="1543011"/>
                  </a:moveTo>
                  <a:cubicBezTo>
                    <a:pt x="4852511" y="1543011"/>
                    <a:pt x="4860581" y="1551080"/>
                    <a:pt x="4860581" y="1561035"/>
                  </a:cubicBezTo>
                  <a:cubicBezTo>
                    <a:pt x="4860581" y="1570990"/>
                    <a:pt x="4852511" y="1579060"/>
                    <a:pt x="4842556" y="1579060"/>
                  </a:cubicBezTo>
                  <a:cubicBezTo>
                    <a:pt x="4832601" y="1579060"/>
                    <a:pt x="4824532" y="1570990"/>
                    <a:pt x="4824532" y="1561035"/>
                  </a:cubicBezTo>
                  <a:cubicBezTo>
                    <a:pt x="4824532" y="1551080"/>
                    <a:pt x="4832601" y="1543011"/>
                    <a:pt x="4842556" y="1543011"/>
                  </a:cubicBezTo>
                  <a:close/>
                  <a:moveTo>
                    <a:pt x="3803149" y="1537003"/>
                  </a:moveTo>
                  <a:cubicBezTo>
                    <a:pt x="3813104" y="1537003"/>
                    <a:pt x="3821174" y="1545073"/>
                    <a:pt x="3821174" y="1555027"/>
                  </a:cubicBezTo>
                  <a:cubicBezTo>
                    <a:pt x="3821174" y="1564982"/>
                    <a:pt x="3813104" y="1573052"/>
                    <a:pt x="3803149" y="1573052"/>
                  </a:cubicBezTo>
                  <a:cubicBezTo>
                    <a:pt x="3793195" y="1573052"/>
                    <a:pt x="3785125" y="1564982"/>
                    <a:pt x="3785125" y="1555027"/>
                  </a:cubicBezTo>
                  <a:cubicBezTo>
                    <a:pt x="3785125" y="1545073"/>
                    <a:pt x="3793195" y="1537003"/>
                    <a:pt x="3803149" y="1537003"/>
                  </a:cubicBezTo>
                  <a:close/>
                  <a:moveTo>
                    <a:pt x="4127588" y="1530995"/>
                  </a:moveTo>
                  <a:cubicBezTo>
                    <a:pt x="4137543" y="1530995"/>
                    <a:pt x="4145613" y="1539065"/>
                    <a:pt x="4145613" y="1549019"/>
                  </a:cubicBezTo>
                  <a:cubicBezTo>
                    <a:pt x="4145613" y="1558974"/>
                    <a:pt x="4137543" y="1567044"/>
                    <a:pt x="4127588" y="1567044"/>
                  </a:cubicBezTo>
                  <a:cubicBezTo>
                    <a:pt x="4117633" y="1567044"/>
                    <a:pt x="4109563" y="1558974"/>
                    <a:pt x="4109563" y="1549019"/>
                  </a:cubicBezTo>
                  <a:cubicBezTo>
                    <a:pt x="4109563" y="1539065"/>
                    <a:pt x="4117633" y="1530995"/>
                    <a:pt x="4127588" y="1530995"/>
                  </a:cubicBezTo>
                  <a:close/>
                  <a:moveTo>
                    <a:pt x="3634921" y="1530995"/>
                  </a:moveTo>
                  <a:cubicBezTo>
                    <a:pt x="3644876" y="1530995"/>
                    <a:pt x="3652946" y="1539065"/>
                    <a:pt x="3652946" y="1549019"/>
                  </a:cubicBezTo>
                  <a:cubicBezTo>
                    <a:pt x="3652946" y="1558974"/>
                    <a:pt x="3644876" y="1567044"/>
                    <a:pt x="3634921" y="1567044"/>
                  </a:cubicBezTo>
                  <a:cubicBezTo>
                    <a:pt x="3624966" y="1567044"/>
                    <a:pt x="3616897" y="1558974"/>
                    <a:pt x="3616897" y="1549019"/>
                  </a:cubicBezTo>
                  <a:cubicBezTo>
                    <a:pt x="3616897" y="1539065"/>
                    <a:pt x="3624966" y="1530995"/>
                    <a:pt x="3634921" y="1530995"/>
                  </a:cubicBezTo>
                  <a:close/>
                  <a:moveTo>
                    <a:pt x="3532783" y="1530995"/>
                  </a:moveTo>
                  <a:cubicBezTo>
                    <a:pt x="3542738" y="1530995"/>
                    <a:pt x="3550808" y="1539065"/>
                    <a:pt x="3550808" y="1549019"/>
                  </a:cubicBezTo>
                  <a:cubicBezTo>
                    <a:pt x="3550808" y="1558974"/>
                    <a:pt x="3542738" y="1567044"/>
                    <a:pt x="3532783" y="1567044"/>
                  </a:cubicBezTo>
                  <a:cubicBezTo>
                    <a:pt x="3522829" y="1567044"/>
                    <a:pt x="3514759" y="1558974"/>
                    <a:pt x="3514759" y="1549019"/>
                  </a:cubicBezTo>
                  <a:cubicBezTo>
                    <a:pt x="3514759" y="1539065"/>
                    <a:pt x="3522829" y="1530995"/>
                    <a:pt x="3532783" y="1530995"/>
                  </a:cubicBezTo>
                  <a:close/>
                  <a:moveTo>
                    <a:pt x="1478000" y="1530995"/>
                  </a:moveTo>
                  <a:cubicBezTo>
                    <a:pt x="1487955" y="1530995"/>
                    <a:pt x="1496025" y="1539065"/>
                    <a:pt x="1496025" y="1549019"/>
                  </a:cubicBezTo>
                  <a:cubicBezTo>
                    <a:pt x="1496025" y="1558974"/>
                    <a:pt x="1487955" y="1567044"/>
                    <a:pt x="1478000" y="1567044"/>
                  </a:cubicBezTo>
                  <a:cubicBezTo>
                    <a:pt x="1468046" y="1567044"/>
                    <a:pt x="1459976" y="1558974"/>
                    <a:pt x="1459976" y="1549019"/>
                  </a:cubicBezTo>
                  <a:cubicBezTo>
                    <a:pt x="1459976" y="1539065"/>
                    <a:pt x="1468046" y="1530995"/>
                    <a:pt x="1478000" y="1530995"/>
                  </a:cubicBezTo>
                  <a:close/>
                  <a:moveTo>
                    <a:pt x="4427995" y="1518979"/>
                  </a:moveTo>
                  <a:cubicBezTo>
                    <a:pt x="4437950" y="1518979"/>
                    <a:pt x="4446020" y="1527049"/>
                    <a:pt x="4446020" y="1537004"/>
                  </a:cubicBezTo>
                  <a:cubicBezTo>
                    <a:pt x="4446020" y="1546958"/>
                    <a:pt x="4437950" y="1555028"/>
                    <a:pt x="4427995" y="1555028"/>
                  </a:cubicBezTo>
                  <a:cubicBezTo>
                    <a:pt x="4418040" y="1555028"/>
                    <a:pt x="4409970" y="1546958"/>
                    <a:pt x="4409970" y="1537004"/>
                  </a:cubicBezTo>
                  <a:cubicBezTo>
                    <a:pt x="4409970" y="1527049"/>
                    <a:pt x="4418040" y="1518979"/>
                    <a:pt x="4427995" y="1518979"/>
                  </a:cubicBezTo>
                  <a:close/>
                  <a:moveTo>
                    <a:pt x="4980743" y="1506962"/>
                  </a:moveTo>
                  <a:cubicBezTo>
                    <a:pt x="4990698" y="1506962"/>
                    <a:pt x="4998768" y="1515032"/>
                    <a:pt x="4998768" y="1524986"/>
                  </a:cubicBezTo>
                  <a:cubicBezTo>
                    <a:pt x="4998768" y="1534941"/>
                    <a:pt x="4990698" y="1543011"/>
                    <a:pt x="4980743" y="1543011"/>
                  </a:cubicBezTo>
                  <a:cubicBezTo>
                    <a:pt x="4970789" y="1543011"/>
                    <a:pt x="4962719" y="1534941"/>
                    <a:pt x="4962719" y="1524986"/>
                  </a:cubicBezTo>
                  <a:cubicBezTo>
                    <a:pt x="4962719" y="1515032"/>
                    <a:pt x="4970789" y="1506962"/>
                    <a:pt x="4980743" y="1506962"/>
                  </a:cubicBezTo>
                  <a:close/>
                  <a:moveTo>
                    <a:pt x="961301" y="1506962"/>
                  </a:moveTo>
                  <a:cubicBezTo>
                    <a:pt x="971256" y="1506962"/>
                    <a:pt x="979326" y="1515032"/>
                    <a:pt x="979326" y="1524986"/>
                  </a:cubicBezTo>
                  <a:cubicBezTo>
                    <a:pt x="979326" y="1534941"/>
                    <a:pt x="971256" y="1543011"/>
                    <a:pt x="961301" y="1543011"/>
                  </a:cubicBezTo>
                  <a:cubicBezTo>
                    <a:pt x="951347" y="1543011"/>
                    <a:pt x="943277" y="1534941"/>
                    <a:pt x="943277" y="1524986"/>
                  </a:cubicBezTo>
                  <a:cubicBezTo>
                    <a:pt x="943277" y="1515032"/>
                    <a:pt x="951347" y="1506962"/>
                    <a:pt x="961301" y="1506962"/>
                  </a:cubicBezTo>
                  <a:close/>
                  <a:moveTo>
                    <a:pt x="859163" y="1500954"/>
                  </a:moveTo>
                  <a:cubicBezTo>
                    <a:pt x="869118" y="1500954"/>
                    <a:pt x="877188" y="1509024"/>
                    <a:pt x="877188" y="1518978"/>
                  </a:cubicBezTo>
                  <a:cubicBezTo>
                    <a:pt x="877188" y="1528933"/>
                    <a:pt x="869118" y="1537003"/>
                    <a:pt x="859163" y="1537003"/>
                  </a:cubicBezTo>
                  <a:cubicBezTo>
                    <a:pt x="849209" y="1537003"/>
                    <a:pt x="841139" y="1528933"/>
                    <a:pt x="841139" y="1518978"/>
                  </a:cubicBezTo>
                  <a:cubicBezTo>
                    <a:pt x="841139" y="1509024"/>
                    <a:pt x="849209" y="1500954"/>
                    <a:pt x="859163" y="1500954"/>
                  </a:cubicBezTo>
                  <a:close/>
                  <a:moveTo>
                    <a:pt x="4013434" y="1482930"/>
                  </a:moveTo>
                  <a:cubicBezTo>
                    <a:pt x="4023389" y="1482930"/>
                    <a:pt x="4031459" y="1490999"/>
                    <a:pt x="4031459" y="1500954"/>
                  </a:cubicBezTo>
                  <a:cubicBezTo>
                    <a:pt x="4031459" y="1510909"/>
                    <a:pt x="4023389" y="1518979"/>
                    <a:pt x="4013434" y="1518979"/>
                  </a:cubicBezTo>
                  <a:cubicBezTo>
                    <a:pt x="4003480" y="1518979"/>
                    <a:pt x="3995410" y="1510909"/>
                    <a:pt x="3995410" y="1500954"/>
                  </a:cubicBezTo>
                  <a:cubicBezTo>
                    <a:pt x="3995410" y="1490999"/>
                    <a:pt x="4003480" y="1482930"/>
                    <a:pt x="4013434" y="1482930"/>
                  </a:cubicBezTo>
                  <a:close/>
                  <a:moveTo>
                    <a:pt x="3412620" y="1482930"/>
                  </a:moveTo>
                  <a:cubicBezTo>
                    <a:pt x="3422575" y="1482930"/>
                    <a:pt x="3430645" y="1490999"/>
                    <a:pt x="3430645" y="1500954"/>
                  </a:cubicBezTo>
                  <a:cubicBezTo>
                    <a:pt x="3430645" y="1510909"/>
                    <a:pt x="3422575" y="1518979"/>
                    <a:pt x="3412620" y="1518979"/>
                  </a:cubicBezTo>
                  <a:cubicBezTo>
                    <a:pt x="3402666" y="1518979"/>
                    <a:pt x="3394596" y="1510909"/>
                    <a:pt x="3394596" y="1500954"/>
                  </a:cubicBezTo>
                  <a:cubicBezTo>
                    <a:pt x="3394596" y="1490999"/>
                    <a:pt x="3402666" y="1482930"/>
                    <a:pt x="3412620" y="1482930"/>
                  </a:cubicBezTo>
                  <a:close/>
                  <a:moveTo>
                    <a:pt x="1586148" y="1476922"/>
                  </a:moveTo>
                  <a:cubicBezTo>
                    <a:pt x="1596102" y="1476922"/>
                    <a:pt x="1604172" y="1484992"/>
                    <a:pt x="1604172" y="1494946"/>
                  </a:cubicBezTo>
                  <a:cubicBezTo>
                    <a:pt x="1604172" y="1504901"/>
                    <a:pt x="1596102" y="1512971"/>
                    <a:pt x="1586148" y="1512971"/>
                  </a:cubicBezTo>
                  <a:cubicBezTo>
                    <a:pt x="1576193" y="1512971"/>
                    <a:pt x="1568123" y="1504901"/>
                    <a:pt x="1568123" y="1494946"/>
                  </a:cubicBezTo>
                  <a:cubicBezTo>
                    <a:pt x="1568123" y="1484992"/>
                    <a:pt x="1576193" y="1476922"/>
                    <a:pt x="1586148" y="1476922"/>
                  </a:cubicBezTo>
                  <a:close/>
                  <a:moveTo>
                    <a:pt x="4271783" y="1464906"/>
                  </a:moveTo>
                  <a:cubicBezTo>
                    <a:pt x="4281738" y="1464906"/>
                    <a:pt x="4289808" y="1472976"/>
                    <a:pt x="4289808" y="1482930"/>
                  </a:cubicBezTo>
                  <a:cubicBezTo>
                    <a:pt x="4289808" y="1492885"/>
                    <a:pt x="4281738" y="1500955"/>
                    <a:pt x="4271783" y="1500955"/>
                  </a:cubicBezTo>
                  <a:cubicBezTo>
                    <a:pt x="4261828" y="1500955"/>
                    <a:pt x="4253759" y="1492885"/>
                    <a:pt x="4253759" y="1482930"/>
                  </a:cubicBezTo>
                  <a:cubicBezTo>
                    <a:pt x="4253759" y="1472976"/>
                    <a:pt x="4261828" y="1464906"/>
                    <a:pt x="4271783" y="1464906"/>
                  </a:cubicBezTo>
                  <a:close/>
                  <a:moveTo>
                    <a:pt x="1105497" y="1464906"/>
                  </a:moveTo>
                  <a:cubicBezTo>
                    <a:pt x="1115451" y="1464906"/>
                    <a:pt x="1123521" y="1472976"/>
                    <a:pt x="1123521" y="1482930"/>
                  </a:cubicBezTo>
                  <a:cubicBezTo>
                    <a:pt x="1123521" y="1492885"/>
                    <a:pt x="1115451" y="1500955"/>
                    <a:pt x="1105497" y="1500955"/>
                  </a:cubicBezTo>
                  <a:cubicBezTo>
                    <a:pt x="1095542" y="1500955"/>
                    <a:pt x="1087472" y="1492885"/>
                    <a:pt x="1087472" y="1482930"/>
                  </a:cubicBezTo>
                  <a:cubicBezTo>
                    <a:pt x="1087472" y="1472976"/>
                    <a:pt x="1095542" y="1464906"/>
                    <a:pt x="1105497" y="1464906"/>
                  </a:cubicBezTo>
                  <a:close/>
                  <a:moveTo>
                    <a:pt x="4602231" y="1452889"/>
                  </a:moveTo>
                  <a:cubicBezTo>
                    <a:pt x="4612186" y="1452889"/>
                    <a:pt x="4620256" y="1460958"/>
                    <a:pt x="4620256" y="1470913"/>
                  </a:cubicBezTo>
                  <a:cubicBezTo>
                    <a:pt x="4620256" y="1480868"/>
                    <a:pt x="4612186" y="1488938"/>
                    <a:pt x="4602231" y="1488938"/>
                  </a:cubicBezTo>
                  <a:cubicBezTo>
                    <a:pt x="4592276" y="1488938"/>
                    <a:pt x="4584207" y="1480868"/>
                    <a:pt x="4584207" y="1470913"/>
                  </a:cubicBezTo>
                  <a:cubicBezTo>
                    <a:pt x="4584207" y="1460958"/>
                    <a:pt x="4592276" y="1452889"/>
                    <a:pt x="4602231" y="1452889"/>
                  </a:cubicBezTo>
                  <a:close/>
                  <a:moveTo>
                    <a:pt x="3875247" y="1452889"/>
                  </a:moveTo>
                  <a:cubicBezTo>
                    <a:pt x="3885202" y="1452889"/>
                    <a:pt x="3893272" y="1460958"/>
                    <a:pt x="3893272" y="1470913"/>
                  </a:cubicBezTo>
                  <a:cubicBezTo>
                    <a:pt x="3893272" y="1480868"/>
                    <a:pt x="3885202" y="1488938"/>
                    <a:pt x="3875247" y="1488938"/>
                  </a:cubicBezTo>
                  <a:cubicBezTo>
                    <a:pt x="3865292" y="1488938"/>
                    <a:pt x="3857223" y="1480868"/>
                    <a:pt x="3857223" y="1470913"/>
                  </a:cubicBezTo>
                  <a:cubicBezTo>
                    <a:pt x="3857223" y="1460958"/>
                    <a:pt x="3865292" y="1452889"/>
                    <a:pt x="3875247" y="1452889"/>
                  </a:cubicBezTo>
                  <a:close/>
                  <a:moveTo>
                    <a:pt x="1706311" y="1452889"/>
                  </a:moveTo>
                  <a:cubicBezTo>
                    <a:pt x="1716265" y="1452889"/>
                    <a:pt x="1724335" y="1460958"/>
                    <a:pt x="1724335" y="1470913"/>
                  </a:cubicBezTo>
                  <a:cubicBezTo>
                    <a:pt x="1724335" y="1480868"/>
                    <a:pt x="1716265" y="1488938"/>
                    <a:pt x="1706311" y="1488938"/>
                  </a:cubicBezTo>
                  <a:cubicBezTo>
                    <a:pt x="1696356" y="1488938"/>
                    <a:pt x="1688286" y="1480868"/>
                    <a:pt x="1688286" y="1470913"/>
                  </a:cubicBezTo>
                  <a:cubicBezTo>
                    <a:pt x="1688286" y="1460958"/>
                    <a:pt x="1696356" y="1452889"/>
                    <a:pt x="1706311" y="1452889"/>
                  </a:cubicBezTo>
                  <a:close/>
                  <a:moveTo>
                    <a:pt x="1411911" y="1452889"/>
                  </a:moveTo>
                  <a:cubicBezTo>
                    <a:pt x="1421866" y="1452889"/>
                    <a:pt x="1429936" y="1460958"/>
                    <a:pt x="1429936" y="1470913"/>
                  </a:cubicBezTo>
                  <a:cubicBezTo>
                    <a:pt x="1429936" y="1480868"/>
                    <a:pt x="1421866" y="1488938"/>
                    <a:pt x="1411911" y="1488938"/>
                  </a:cubicBezTo>
                  <a:cubicBezTo>
                    <a:pt x="1401957" y="1488938"/>
                    <a:pt x="1393887" y="1480868"/>
                    <a:pt x="1393887" y="1470913"/>
                  </a:cubicBezTo>
                  <a:cubicBezTo>
                    <a:pt x="1393887" y="1460958"/>
                    <a:pt x="1401957" y="1452889"/>
                    <a:pt x="1411911" y="1452889"/>
                  </a:cubicBezTo>
                  <a:close/>
                  <a:moveTo>
                    <a:pt x="1249691" y="1452889"/>
                  </a:moveTo>
                  <a:cubicBezTo>
                    <a:pt x="1259646" y="1452889"/>
                    <a:pt x="1267716" y="1460958"/>
                    <a:pt x="1267716" y="1470913"/>
                  </a:cubicBezTo>
                  <a:cubicBezTo>
                    <a:pt x="1267716" y="1480868"/>
                    <a:pt x="1259646" y="1488938"/>
                    <a:pt x="1249691" y="1488938"/>
                  </a:cubicBezTo>
                  <a:cubicBezTo>
                    <a:pt x="1239737" y="1488938"/>
                    <a:pt x="1231667" y="1480868"/>
                    <a:pt x="1231667" y="1470913"/>
                  </a:cubicBezTo>
                  <a:cubicBezTo>
                    <a:pt x="1231667" y="1460958"/>
                    <a:pt x="1239737" y="1452889"/>
                    <a:pt x="1249691" y="1452889"/>
                  </a:cubicBezTo>
                  <a:close/>
                  <a:moveTo>
                    <a:pt x="4764451" y="1446881"/>
                  </a:moveTo>
                  <a:cubicBezTo>
                    <a:pt x="4774406" y="1446881"/>
                    <a:pt x="4782476" y="1454951"/>
                    <a:pt x="4782476" y="1464905"/>
                  </a:cubicBezTo>
                  <a:cubicBezTo>
                    <a:pt x="4782476" y="1474860"/>
                    <a:pt x="4774406" y="1482930"/>
                    <a:pt x="4764451" y="1482930"/>
                  </a:cubicBezTo>
                  <a:cubicBezTo>
                    <a:pt x="4754497" y="1482930"/>
                    <a:pt x="4746427" y="1474860"/>
                    <a:pt x="4746427" y="1464905"/>
                  </a:cubicBezTo>
                  <a:cubicBezTo>
                    <a:pt x="4746427" y="1454951"/>
                    <a:pt x="4754497" y="1446881"/>
                    <a:pt x="4764451" y="1446881"/>
                  </a:cubicBezTo>
                  <a:close/>
                  <a:moveTo>
                    <a:pt x="763032" y="1446881"/>
                  </a:moveTo>
                  <a:cubicBezTo>
                    <a:pt x="772987" y="1446881"/>
                    <a:pt x="781057" y="1454951"/>
                    <a:pt x="781057" y="1464905"/>
                  </a:cubicBezTo>
                  <a:cubicBezTo>
                    <a:pt x="781057" y="1474860"/>
                    <a:pt x="772987" y="1482930"/>
                    <a:pt x="763032" y="1482930"/>
                  </a:cubicBezTo>
                  <a:cubicBezTo>
                    <a:pt x="753078" y="1482930"/>
                    <a:pt x="745008" y="1474860"/>
                    <a:pt x="745008" y="1464905"/>
                  </a:cubicBezTo>
                  <a:cubicBezTo>
                    <a:pt x="745008" y="1454951"/>
                    <a:pt x="753078" y="1446881"/>
                    <a:pt x="763032" y="1446881"/>
                  </a:cubicBezTo>
                  <a:close/>
                  <a:moveTo>
                    <a:pt x="3731051" y="1434865"/>
                  </a:moveTo>
                  <a:cubicBezTo>
                    <a:pt x="3741006" y="1434865"/>
                    <a:pt x="3749076" y="1442935"/>
                    <a:pt x="3749076" y="1452889"/>
                  </a:cubicBezTo>
                  <a:cubicBezTo>
                    <a:pt x="3749076" y="1462844"/>
                    <a:pt x="3741006" y="1470914"/>
                    <a:pt x="3731051" y="1470914"/>
                  </a:cubicBezTo>
                  <a:cubicBezTo>
                    <a:pt x="3721096" y="1470914"/>
                    <a:pt x="3713027" y="1462844"/>
                    <a:pt x="3713027" y="1452889"/>
                  </a:cubicBezTo>
                  <a:cubicBezTo>
                    <a:pt x="3713027" y="1442935"/>
                    <a:pt x="3721096" y="1434865"/>
                    <a:pt x="3731051" y="1434865"/>
                  </a:cubicBezTo>
                  <a:close/>
                  <a:moveTo>
                    <a:pt x="3304474" y="1422849"/>
                  </a:moveTo>
                  <a:cubicBezTo>
                    <a:pt x="3314429" y="1422849"/>
                    <a:pt x="3322499" y="1430918"/>
                    <a:pt x="3322499" y="1440873"/>
                  </a:cubicBezTo>
                  <a:cubicBezTo>
                    <a:pt x="3322499" y="1450828"/>
                    <a:pt x="3314429" y="1458898"/>
                    <a:pt x="3304474" y="1458898"/>
                  </a:cubicBezTo>
                  <a:cubicBezTo>
                    <a:pt x="3294519" y="1458898"/>
                    <a:pt x="3286450" y="1450828"/>
                    <a:pt x="3286450" y="1440873"/>
                  </a:cubicBezTo>
                  <a:cubicBezTo>
                    <a:pt x="3286450" y="1430918"/>
                    <a:pt x="3294519" y="1422849"/>
                    <a:pt x="3304474" y="1422849"/>
                  </a:cubicBezTo>
                  <a:close/>
                  <a:moveTo>
                    <a:pt x="4890621" y="1416840"/>
                  </a:moveTo>
                  <a:cubicBezTo>
                    <a:pt x="4900576" y="1416840"/>
                    <a:pt x="4908646" y="1424910"/>
                    <a:pt x="4908646" y="1434864"/>
                  </a:cubicBezTo>
                  <a:cubicBezTo>
                    <a:pt x="4908646" y="1444819"/>
                    <a:pt x="4900576" y="1452889"/>
                    <a:pt x="4890621" y="1452889"/>
                  </a:cubicBezTo>
                  <a:cubicBezTo>
                    <a:pt x="4880667" y="1452889"/>
                    <a:pt x="4872597" y="1444819"/>
                    <a:pt x="4872597" y="1434864"/>
                  </a:cubicBezTo>
                  <a:cubicBezTo>
                    <a:pt x="4872597" y="1424910"/>
                    <a:pt x="4880667" y="1416840"/>
                    <a:pt x="4890621" y="1416840"/>
                  </a:cubicBezTo>
                  <a:close/>
                  <a:moveTo>
                    <a:pt x="3544799" y="1410832"/>
                  </a:moveTo>
                  <a:cubicBezTo>
                    <a:pt x="3554754" y="1410832"/>
                    <a:pt x="3562824" y="1418902"/>
                    <a:pt x="3562824" y="1428856"/>
                  </a:cubicBezTo>
                  <a:cubicBezTo>
                    <a:pt x="3562824" y="1438811"/>
                    <a:pt x="3554754" y="1446881"/>
                    <a:pt x="3544799" y="1446881"/>
                  </a:cubicBezTo>
                  <a:cubicBezTo>
                    <a:pt x="3534844" y="1446881"/>
                    <a:pt x="3526775" y="1438811"/>
                    <a:pt x="3526775" y="1428856"/>
                  </a:cubicBezTo>
                  <a:cubicBezTo>
                    <a:pt x="3526775" y="1418902"/>
                    <a:pt x="3534844" y="1410832"/>
                    <a:pt x="3544799" y="1410832"/>
                  </a:cubicBezTo>
                  <a:close/>
                  <a:moveTo>
                    <a:pt x="4488076" y="1404824"/>
                  </a:moveTo>
                  <a:cubicBezTo>
                    <a:pt x="4498031" y="1404824"/>
                    <a:pt x="4506101" y="1412894"/>
                    <a:pt x="4506101" y="1422848"/>
                  </a:cubicBezTo>
                  <a:cubicBezTo>
                    <a:pt x="4506101" y="1432803"/>
                    <a:pt x="4498031" y="1440873"/>
                    <a:pt x="4488076" y="1440873"/>
                  </a:cubicBezTo>
                  <a:cubicBezTo>
                    <a:pt x="4478121" y="1440873"/>
                    <a:pt x="4470051" y="1432803"/>
                    <a:pt x="4470051" y="1422848"/>
                  </a:cubicBezTo>
                  <a:cubicBezTo>
                    <a:pt x="4470051" y="1412894"/>
                    <a:pt x="4478121" y="1404824"/>
                    <a:pt x="4488076" y="1404824"/>
                  </a:cubicBezTo>
                  <a:close/>
                  <a:moveTo>
                    <a:pt x="5028808" y="1398816"/>
                  </a:moveTo>
                  <a:cubicBezTo>
                    <a:pt x="5038763" y="1398816"/>
                    <a:pt x="5046833" y="1406886"/>
                    <a:pt x="5046833" y="1416841"/>
                  </a:cubicBezTo>
                  <a:cubicBezTo>
                    <a:pt x="5046833" y="1426795"/>
                    <a:pt x="5038763" y="1434865"/>
                    <a:pt x="5028808" y="1434865"/>
                  </a:cubicBezTo>
                  <a:cubicBezTo>
                    <a:pt x="5018853" y="1434865"/>
                    <a:pt x="5010783" y="1426795"/>
                    <a:pt x="5010783" y="1416841"/>
                  </a:cubicBezTo>
                  <a:cubicBezTo>
                    <a:pt x="5010783" y="1406886"/>
                    <a:pt x="5018853" y="1398816"/>
                    <a:pt x="5028808" y="1398816"/>
                  </a:cubicBezTo>
                  <a:close/>
                  <a:moveTo>
                    <a:pt x="4367914" y="1398816"/>
                  </a:moveTo>
                  <a:cubicBezTo>
                    <a:pt x="4377869" y="1398816"/>
                    <a:pt x="4385939" y="1406886"/>
                    <a:pt x="4385939" y="1416841"/>
                  </a:cubicBezTo>
                  <a:cubicBezTo>
                    <a:pt x="4385939" y="1426795"/>
                    <a:pt x="4377869" y="1434865"/>
                    <a:pt x="4367914" y="1434865"/>
                  </a:cubicBezTo>
                  <a:cubicBezTo>
                    <a:pt x="4357959" y="1434865"/>
                    <a:pt x="4349889" y="1426795"/>
                    <a:pt x="4349889" y="1416841"/>
                  </a:cubicBezTo>
                  <a:cubicBezTo>
                    <a:pt x="4349889" y="1406886"/>
                    <a:pt x="4357959" y="1398816"/>
                    <a:pt x="4367914" y="1398816"/>
                  </a:cubicBezTo>
                  <a:close/>
                  <a:moveTo>
                    <a:pt x="4163637" y="1398816"/>
                  </a:moveTo>
                  <a:cubicBezTo>
                    <a:pt x="4173592" y="1398816"/>
                    <a:pt x="4181662" y="1406886"/>
                    <a:pt x="4181662" y="1416841"/>
                  </a:cubicBezTo>
                  <a:cubicBezTo>
                    <a:pt x="4181662" y="1426795"/>
                    <a:pt x="4173592" y="1434865"/>
                    <a:pt x="4163637" y="1434865"/>
                  </a:cubicBezTo>
                  <a:cubicBezTo>
                    <a:pt x="4153683" y="1434865"/>
                    <a:pt x="4145613" y="1426795"/>
                    <a:pt x="4145613" y="1416841"/>
                  </a:cubicBezTo>
                  <a:cubicBezTo>
                    <a:pt x="4145613" y="1406886"/>
                    <a:pt x="4153683" y="1398816"/>
                    <a:pt x="4163637" y="1398816"/>
                  </a:cubicBezTo>
                  <a:close/>
                  <a:moveTo>
                    <a:pt x="672910" y="1398816"/>
                  </a:moveTo>
                  <a:cubicBezTo>
                    <a:pt x="682865" y="1398816"/>
                    <a:pt x="690935" y="1406886"/>
                    <a:pt x="690935" y="1416841"/>
                  </a:cubicBezTo>
                  <a:cubicBezTo>
                    <a:pt x="690935" y="1426795"/>
                    <a:pt x="682865" y="1434865"/>
                    <a:pt x="672910" y="1434865"/>
                  </a:cubicBezTo>
                  <a:cubicBezTo>
                    <a:pt x="662956" y="1434865"/>
                    <a:pt x="654886" y="1426795"/>
                    <a:pt x="654886" y="1416841"/>
                  </a:cubicBezTo>
                  <a:cubicBezTo>
                    <a:pt x="654886" y="1406886"/>
                    <a:pt x="662956" y="1398816"/>
                    <a:pt x="672910" y="1398816"/>
                  </a:cubicBezTo>
                  <a:close/>
                  <a:moveTo>
                    <a:pt x="3190319" y="1392808"/>
                  </a:moveTo>
                  <a:cubicBezTo>
                    <a:pt x="3200274" y="1392808"/>
                    <a:pt x="3208344" y="1400877"/>
                    <a:pt x="3208344" y="1410832"/>
                  </a:cubicBezTo>
                  <a:cubicBezTo>
                    <a:pt x="3208344" y="1420787"/>
                    <a:pt x="3200274" y="1428857"/>
                    <a:pt x="3190319" y="1428857"/>
                  </a:cubicBezTo>
                  <a:cubicBezTo>
                    <a:pt x="3180364" y="1428857"/>
                    <a:pt x="3172295" y="1420787"/>
                    <a:pt x="3172295" y="1410832"/>
                  </a:cubicBezTo>
                  <a:cubicBezTo>
                    <a:pt x="3172295" y="1400877"/>
                    <a:pt x="3180364" y="1392808"/>
                    <a:pt x="3190319" y="1392808"/>
                  </a:cubicBezTo>
                  <a:close/>
                  <a:moveTo>
                    <a:pt x="1814456" y="1392808"/>
                  </a:moveTo>
                  <a:cubicBezTo>
                    <a:pt x="1824411" y="1392808"/>
                    <a:pt x="1832481" y="1400877"/>
                    <a:pt x="1832481" y="1410832"/>
                  </a:cubicBezTo>
                  <a:cubicBezTo>
                    <a:pt x="1832481" y="1420787"/>
                    <a:pt x="1824411" y="1428857"/>
                    <a:pt x="1814456" y="1428857"/>
                  </a:cubicBezTo>
                  <a:cubicBezTo>
                    <a:pt x="1804502" y="1428857"/>
                    <a:pt x="1796432" y="1420787"/>
                    <a:pt x="1796432" y="1410832"/>
                  </a:cubicBezTo>
                  <a:cubicBezTo>
                    <a:pt x="1796432" y="1400877"/>
                    <a:pt x="1804502" y="1392808"/>
                    <a:pt x="1814456" y="1392808"/>
                  </a:cubicBezTo>
                  <a:close/>
                  <a:moveTo>
                    <a:pt x="967309" y="1386800"/>
                  </a:moveTo>
                  <a:cubicBezTo>
                    <a:pt x="977264" y="1386800"/>
                    <a:pt x="985334" y="1394870"/>
                    <a:pt x="985334" y="1404824"/>
                  </a:cubicBezTo>
                  <a:cubicBezTo>
                    <a:pt x="985334" y="1414779"/>
                    <a:pt x="977264" y="1422849"/>
                    <a:pt x="967309" y="1422849"/>
                  </a:cubicBezTo>
                  <a:cubicBezTo>
                    <a:pt x="957355" y="1422849"/>
                    <a:pt x="949285" y="1414779"/>
                    <a:pt x="949285" y="1404824"/>
                  </a:cubicBezTo>
                  <a:cubicBezTo>
                    <a:pt x="949285" y="1394870"/>
                    <a:pt x="957355" y="1386800"/>
                    <a:pt x="967309" y="1386800"/>
                  </a:cubicBezTo>
                  <a:close/>
                  <a:moveTo>
                    <a:pt x="4049482" y="1374784"/>
                  </a:moveTo>
                  <a:cubicBezTo>
                    <a:pt x="4059437" y="1374784"/>
                    <a:pt x="4067507" y="1382854"/>
                    <a:pt x="4067507" y="1392808"/>
                  </a:cubicBezTo>
                  <a:cubicBezTo>
                    <a:pt x="4067507" y="1402763"/>
                    <a:pt x="4059437" y="1410833"/>
                    <a:pt x="4049482" y="1410833"/>
                  </a:cubicBezTo>
                  <a:cubicBezTo>
                    <a:pt x="4039528" y="1410833"/>
                    <a:pt x="4031458" y="1402763"/>
                    <a:pt x="4031458" y="1392808"/>
                  </a:cubicBezTo>
                  <a:cubicBezTo>
                    <a:pt x="4031458" y="1382854"/>
                    <a:pt x="4039528" y="1374784"/>
                    <a:pt x="4049482" y="1374784"/>
                  </a:cubicBezTo>
                  <a:close/>
                  <a:moveTo>
                    <a:pt x="4674329" y="1368775"/>
                  </a:moveTo>
                  <a:cubicBezTo>
                    <a:pt x="4684284" y="1368775"/>
                    <a:pt x="4692354" y="1376845"/>
                    <a:pt x="4692354" y="1386800"/>
                  </a:cubicBezTo>
                  <a:cubicBezTo>
                    <a:pt x="4692354" y="1396754"/>
                    <a:pt x="4684284" y="1404824"/>
                    <a:pt x="4674329" y="1404824"/>
                  </a:cubicBezTo>
                  <a:cubicBezTo>
                    <a:pt x="4664375" y="1404824"/>
                    <a:pt x="4656305" y="1396754"/>
                    <a:pt x="4656305" y="1386800"/>
                  </a:cubicBezTo>
                  <a:cubicBezTo>
                    <a:pt x="4656305" y="1376845"/>
                    <a:pt x="4664375" y="1368775"/>
                    <a:pt x="4674329" y="1368775"/>
                  </a:cubicBezTo>
                  <a:close/>
                  <a:moveTo>
                    <a:pt x="1526067" y="1368775"/>
                  </a:moveTo>
                  <a:cubicBezTo>
                    <a:pt x="1536021" y="1368775"/>
                    <a:pt x="1544091" y="1376845"/>
                    <a:pt x="1544091" y="1386800"/>
                  </a:cubicBezTo>
                  <a:cubicBezTo>
                    <a:pt x="1544091" y="1396754"/>
                    <a:pt x="1536021" y="1404824"/>
                    <a:pt x="1526067" y="1404824"/>
                  </a:cubicBezTo>
                  <a:cubicBezTo>
                    <a:pt x="1516112" y="1404824"/>
                    <a:pt x="1508042" y="1396754"/>
                    <a:pt x="1508042" y="1386800"/>
                  </a:cubicBezTo>
                  <a:cubicBezTo>
                    <a:pt x="1508042" y="1376845"/>
                    <a:pt x="1516112" y="1368775"/>
                    <a:pt x="1526067" y="1368775"/>
                  </a:cubicBezTo>
                  <a:close/>
                  <a:moveTo>
                    <a:pt x="1369854" y="1368775"/>
                  </a:moveTo>
                  <a:cubicBezTo>
                    <a:pt x="1379809" y="1368775"/>
                    <a:pt x="1387879" y="1376845"/>
                    <a:pt x="1387879" y="1386800"/>
                  </a:cubicBezTo>
                  <a:cubicBezTo>
                    <a:pt x="1387879" y="1396754"/>
                    <a:pt x="1379809" y="1404824"/>
                    <a:pt x="1369854" y="1404824"/>
                  </a:cubicBezTo>
                  <a:cubicBezTo>
                    <a:pt x="1359900" y="1404824"/>
                    <a:pt x="1351830" y="1396754"/>
                    <a:pt x="1351830" y="1386800"/>
                  </a:cubicBezTo>
                  <a:cubicBezTo>
                    <a:pt x="1351830" y="1376845"/>
                    <a:pt x="1359900" y="1368775"/>
                    <a:pt x="1369854" y="1368775"/>
                  </a:cubicBezTo>
                  <a:close/>
                  <a:moveTo>
                    <a:pt x="3418628" y="1362767"/>
                  </a:moveTo>
                  <a:cubicBezTo>
                    <a:pt x="3428583" y="1362767"/>
                    <a:pt x="3436653" y="1370836"/>
                    <a:pt x="3436653" y="1380791"/>
                  </a:cubicBezTo>
                  <a:cubicBezTo>
                    <a:pt x="3436653" y="1390746"/>
                    <a:pt x="3428583" y="1398816"/>
                    <a:pt x="3418628" y="1398816"/>
                  </a:cubicBezTo>
                  <a:cubicBezTo>
                    <a:pt x="3408674" y="1398816"/>
                    <a:pt x="3400604" y="1390746"/>
                    <a:pt x="3400604" y="1380791"/>
                  </a:cubicBezTo>
                  <a:cubicBezTo>
                    <a:pt x="3400604" y="1370836"/>
                    <a:pt x="3408674" y="1362767"/>
                    <a:pt x="3418628" y="1362767"/>
                  </a:cubicBezTo>
                  <a:close/>
                  <a:moveTo>
                    <a:pt x="1147553" y="1362767"/>
                  </a:moveTo>
                  <a:cubicBezTo>
                    <a:pt x="1157508" y="1362767"/>
                    <a:pt x="1165578" y="1370836"/>
                    <a:pt x="1165578" y="1380791"/>
                  </a:cubicBezTo>
                  <a:cubicBezTo>
                    <a:pt x="1165578" y="1390746"/>
                    <a:pt x="1157508" y="1398816"/>
                    <a:pt x="1147553" y="1398816"/>
                  </a:cubicBezTo>
                  <a:cubicBezTo>
                    <a:pt x="1137599" y="1398816"/>
                    <a:pt x="1129529" y="1390746"/>
                    <a:pt x="1129529" y="1380791"/>
                  </a:cubicBezTo>
                  <a:cubicBezTo>
                    <a:pt x="1129529" y="1370836"/>
                    <a:pt x="1137599" y="1362767"/>
                    <a:pt x="1147553" y="1362767"/>
                  </a:cubicBezTo>
                  <a:close/>
                  <a:moveTo>
                    <a:pt x="3646937" y="1356759"/>
                  </a:moveTo>
                  <a:cubicBezTo>
                    <a:pt x="3656892" y="1356759"/>
                    <a:pt x="3664962" y="1364829"/>
                    <a:pt x="3664962" y="1374783"/>
                  </a:cubicBezTo>
                  <a:cubicBezTo>
                    <a:pt x="3664962" y="1384738"/>
                    <a:pt x="3656892" y="1392808"/>
                    <a:pt x="3646937" y="1392808"/>
                  </a:cubicBezTo>
                  <a:cubicBezTo>
                    <a:pt x="3636982" y="1392808"/>
                    <a:pt x="3628912" y="1384738"/>
                    <a:pt x="3628912" y="1374783"/>
                  </a:cubicBezTo>
                  <a:cubicBezTo>
                    <a:pt x="3628912" y="1364829"/>
                    <a:pt x="3636982" y="1356759"/>
                    <a:pt x="3646937" y="1356759"/>
                  </a:cubicBezTo>
                  <a:close/>
                  <a:moveTo>
                    <a:pt x="1946636" y="1356759"/>
                  </a:moveTo>
                  <a:cubicBezTo>
                    <a:pt x="1956590" y="1356759"/>
                    <a:pt x="1964660" y="1364829"/>
                    <a:pt x="1964660" y="1374783"/>
                  </a:cubicBezTo>
                  <a:cubicBezTo>
                    <a:pt x="1964660" y="1384738"/>
                    <a:pt x="1956590" y="1392808"/>
                    <a:pt x="1946636" y="1392808"/>
                  </a:cubicBezTo>
                  <a:cubicBezTo>
                    <a:pt x="1936681" y="1392808"/>
                    <a:pt x="1928611" y="1384738"/>
                    <a:pt x="1928611" y="1374783"/>
                  </a:cubicBezTo>
                  <a:cubicBezTo>
                    <a:pt x="1928611" y="1364829"/>
                    <a:pt x="1936681" y="1356759"/>
                    <a:pt x="1946636" y="1356759"/>
                  </a:cubicBezTo>
                  <a:close/>
                  <a:moveTo>
                    <a:pt x="1658245" y="1350751"/>
                  </a:moveTo>
                  <a:cubicBezTo>
                    <a:pt x="1668200" y="1350751"/>
                    <a:pt x="1676270" y="1358821"/>
                    <a:pt x="1676270" y="1368775"/>
                  </a:cubicBezTo>
                  <a:cubicBezTo>
                    <a:pt x="1676270" y="1378730"/>
                    <a:pt x="1668200" y="1386800"/>
                    <a:pt x="1658245" y="1386800"/>
                  </a:cubicBezTo>
                  <a:cubicBezTo>
                    <a:pt x="1648291" y="1386800"/>
                    <a:pt x="1640221" y="1378730"/>
                    <a:pt x="1640221" y="1368775"/>
                  </a:cubicBezTo>
                  <a:cubicBezTo>
                    <a:pt x="1640221" y="1358821"/>
                    <a:pt x="1648291" y="1350751"/>
                    <a:pt x="1658245" y="1350751"/>
                  </a:cubicBezTo>
                  <a:close/>
                  <a:moveTo>
                    <a:pt x="3929320" y="1344743"/>
                  </a:moveTo>
                  <a:cubicBezTo>
                    <a:pt x="3939275" y="1344743"/>
                    <a:pt x="3947345" y="1352813"/>
                    <a:pt x="3947345" y="1362767"/>
                  </a:cubicBezTo>
                  <a:cubicBezTo>
                    <a:pt x="3947345" y="1372722"/>
                    <a:pt x="3939275" y="1380792"/>
                    <a:pt x="3929320" y="1380792"/>
                  </a:cubicBezTo>
                  <a:cubicBezTo>
                    <a:pt x="3919366" y="1380792"/>
                    <a:pt x="3911296" y="1372722"/>
                    <a:pt x="3911296" y="1362767"/>
                  </a:cubicBezTo>
                  <a:cubicBezTo>
                    <a:pt x="3911296" y="1352813"/>
                    <a:pt x="3919366" y="1344743"/>
                    <a:pt x="3929320" y="1344743"/>
                  </a:cubicBezTo>
                  <a:close/>
                  <a:moveTo>
                    <a:pt x="3088181" y="1344743"/>
                  </a:moveTo>
                  <a:cubicBezTo>
                    <a:pt x="3098136" y="1344743"/>
                    <a:pt x="3106206" y="1352813"/>
                    <a:pt x="3106206" y="1362767"/>
                  </a:cubicBezTo>
                  <a:cubicBezTo>
                    <a:pt x="3106206" y="1372722"/>
                    <a:pt x="3098136" y="1380792"/>
                    <a:pt x="3088181" y="1380792"/>
                  </a:cubicBezTo>
                  <a:cubicBezTo>
                    <a:pt x="3078227" y="1380792"/>
                    <a:pt x="3070157" y="1372722"/>
                    <a:pt x="3070157" y="1362767"/>
                  </a:cubicBezTo>
                  <a:cubicBezTo>
                    <a:pt x="3070157" y="1352813"/>
                    <a:pt x="3078227" y="1344743"/>
                    <a:pt x="3088181" y="1344743"/>
                  </a:cubicBezTo>
                  <a:close/>
                  <a:moveTo>
                    <a:pt x="853154" y="1344743"/>
                  </a:moveTo>
                  <a:cubicBezTo>
                    <a:pt x="863109" y="1344743"/>
                    <a:pt x="871179" y="1352813"/>
                    <a:pt x="871179" y="1362767"/>
                  </a:cubicBezTo>
                  <a:cubicBezTo>
                    <a:pt x="871179" y="1372722"/>
                    <a:pt x="863109" y="1380792"/>
                    <a:pt x="853154" y="1380792"/>
                  </a:cubicBezTo>
                  <a:cubicBezTo>
                    <a:pt x="843200" y="1380792"/>
                    <a:pt x="835130" y="1372722"/>
                    <a:pt x="835130" y="1362767"/>
                  </a:cubicBezTo>
                  <a:cubicBezTo>
                    <a:pt x="835130" y="1352813"/>
                    <a:pt x="843200" y="1344743"/>
                    <a:pt x="853154" y="1344743"/>
                  </a:cubicBezTo>
                  <a:close/>
                  <a:moveTo>
                    <a:pt x="4283800" y="1326718"/>
                  </a:moveTo>
                  <a:cubicBezTo>
                    <a:pt x="4293755" y="1326718"/>
                    <a:pt x="4301825" y="1334788"/>
                    <a:pt x="4301825" y="1344742"/>
                  </a:cubicBezTo>
                  <a:cubicBezTo>
                    <a:pt x="4301825" y="1354697"/>
                    <a:pt x="4293755" y="1362767"/>
                    <a:pt x="4283800" y="1362767"/>
                  </a:cubicBezTo>
                  <a:cubicBezTo>
                    <a:pt x="4273846" y="1362767"/>
                    <a:pt x="4265776" y="1354697"/>
                    <a:pt x="4265776" y="1344742"/>
                  </a:cubicBezTo>
                  <a:cubicBezTo>
                    <a:pt x="4265776" y="1334788"/>
                    <a:pt x="4273846" y="1326718"/>
                    <a:pt x="4283800" y="1326718"/>
                  </a:cubicBezTo>
                  <a:close/>
                  <a:moveTo>
                    <a:pt x="3815165" y="1326718"/>
                  </a:moveTo>
                  <a:cubicBezTo>
                    <a:pt x="3825120" y="1326718"/>
                    <a:pt x="3833190" y="1334788"/>
                    <a:pt x="3833190" y="1344742"/>
                  </a:cubicBezTo>
                  <a:cubicBezTo>
                    <a:pt x="3833190" y="1354697"/>
                    <a:pt x="3825120" y="1362767"/>
                    <a:pt x="3815165" y="1362767"/>
                  </a:cubicBezTo>
                  <a:cubicBezTo>
                    <a:pt x="3805210" y="1362767"/>
                    <a:pt x="3797141" y="1354697"/>
                    <a:pt x="3797141" y="1344742"/>
                  </a:cubicBezTo>
                  <a:cubicBezTo>
                    <a:pt x="3797141" y="1334788"/>
                    <a:pt x="3805210" y="1326718"/>
                    <a:pt x="3815165" y="1326718"/>
                  </a:cubicBezTo>
                  <a:close/>
                  <a:moveTo>
                    <a:pt x="2980034" y="1326718"/>
                  </a:moveTo>
                  <a:cubicBezTo>
                    <a:pt x="2989989" y="1326718"/>
                    <a:pt x="2998059" y="1334788"/>
                    <a:pt x="2998059" y="1344742"/>
                  </a:cubicBezTo>
                  <a:cubicBezTo>
                    <a:pt x="2998059" y="1354697"/>
                    <a:pt x="2989989" y="1362767"/>
                    <a:pt x="2980034" y="1362767"/>
                  </a:cubicBezTo>
                  <a:cubicBezTo>
                    <a:pt x="2970079" y="1362767"/>
                    <a:pt x="2962010" y="1354697"/>
                    <a:pt x="2962010" y="1344742"/>
                  </a:cubicBezTo>
                  <a:cubicBezTo>
                    <a:pt x="2962010" y="1334788"/>
                    <a:pt x="2970079" y="1326718"/>
                    <a:pt x="2980034" y="1326718"/>
                  </a:cubicBezTo>
                  <a:close/>
                  <a:moveTo>
                    <a:pt x="594806" y="1326718"/>
                  </a:moveTo>
                  <a:cubicBezTo>
                    <a:pt x="604760" y="1326718"/>
                    <a:pt x="612830" y="1334788"/>
                    <a:pt x="612830" y="1344742"/>
                  </a:cubicBezTo>
                  <a:cubicBezTo>
                    <a:pt x="612830" y="1354697"/>
                    <a:pt x="604760" y="1362767"/>
                    <a:pt x="594806" y="1362767"/>
                  </a:cubicBezTo>
                  <a:cubicBezTo>
                    <a:pt x="584851" y="1362767"/>
                    <a:pt x="576781" y="1354697"/>
                    <a:pt x="576781" y="1344742"/>
                  </a:cubicBezTo>
                  <a:cubicBezTo>
                    <a:pt x="576781" y="1334788"/>
                    <a:pt x="584851" y="1326718"/>
                    <a:pt x="594806" y="1326718"/>
                  </a:cubicBezTo>
                  <a:close/>
                  <a:moveTo>
                    <a:pt x="4836548" y="1314702"/>
                  </a:moveTo>
                  <a:cubicBezTo>
                    <a:pt x="4846503" y="1314702"/>
                    <a:pt x="4854573" y="1322772"/>
                    <a:pt x="4854573" y="1332726"/>
                  </a:cubicBezTo>
                  <a:cubicBezTo>
                    <a:pt x="4854573" y="1342681"/>
                    <a:pt x="4846503" y="1350751"/>
                    <a:pt x="4836548" y="1350751"/>
                  </a:cubicBezTo>
                  <a:cubicBezTo>
                    <a:pt x="4826593" y="1350751"/>
                    <a:pt x="4818524" y="1342681"/>
                    <a:pt x="4818524" y="1332726"/>
                  </a:cubicBezTo>
                  <a:cubicBezTo>
                    <a:pt x="4818524" y="1322772"/>
                    <a:pt x="4826593" y="1314702"/>
                    <a:pt x="4836548" y="1314702"/>
                  </a:cubicBezTo>
                  <a:close/>
                  <a:moveTo>
                    <a:pt x="4980743" y="1308694"/>
                  </a:moveTo>
                  <a:cubicBezTo>
                    <a:pt x="4990698" y="1308694"/>
                    <a:pt x="4998768" y="1316764"/>
                    <a:pt x="4998768" y="1326719"/>
                  </a:cubicBezTo>
                  <a:cubicBezTo>
                    <a:pt x="4998768" y="1336673"/>
                    <a:pt x="4990698" y="1344743"/>
                    <a:pt x="4980743" y="1344743"/>
                  </a:cubicBezTo>
                  <a:cubicBezTo>
                    <a:pt x="4970789" y="1344743"/>
                    <a:pt x="4962719" y="1336673"/>
                    <a:pt x="4962719" y="1326719"/>
                  </a:cubicBezTo>
                  <a:cubicBezTo>
                    <a:pt x="4962719" y="1316764"/>
                    <a:pt x="4970789" y="1308694"/>
                    <a:pt x="4980743" y="1308694"/>
                  </a:cubicBezTo>
                  <a:close/>
                  <a:moveTo>
                    <a:pt x="2871888" y="1302686"/>
                  </a:moveTo>
                  <a:cubicBezTo>
                    <a:pt x="2881843" y="1302686"/>
                    <a:pt x="2889913" y="1310755"/>
                    <a:pt x="2889913" y="1320710"/>
                  </a:cubicBezTo>
                  <a:cubicBezTo>
                    <a:pt x="2889913" y="1330665"/>
                    <a:pt x="2881843" y="1338735"/>
                    <a:pt x="2871888" y="1338735"/>
                  </a:cubicBezTo>
                  <a:cubicBezTo>
                    <a:pt x="2861934" y="1338735"/>
                    <a:pt x="2853864" y="1330665"/>
                    <a:pt x="2853864" y="1320710"/>
                  </a:cubicBezTo>
                  <a:cubicBezTo>
                    <a:pt x="2853864" y="1310755"/>
                    <a:pt x="2861934" y="1302686"/>
                    <a:pt x="2871888" y="1302686"/>
                  </a:cubicBezTo>
                  <a:close/>
                  <a:moveTo>
                    <a:pt x="2102847" y="1302686"/>
                  </a:moveTo>
                  <a:cubicBezTo>
                    <a:pt x="2112802" y="1302686"/>
                    <a:pt x="2120872" y="1310755"/>
                    <a:pt x="2120872" y="1320710"/>
                  </a:cubicBezTo>
                  <a:cubicBezTo>
                    <a:pt x="2120872" y="1330665"/>
                    <a:pt x="2112802" y="1338735"/>
                    <a:pt x="2102847" y="1338735"/>
                  </a:cubicBezTo>
                  <a:cubicBezTo>
                    <a:pt x="2092893" y="1338735"/>
                    <a:pt x="2084823" y="1330665"/>
                    <a:pt x="2084823" y="1320710"/>
                  </a:cubicBezTo>
                  <a:cubicBezTo>
                    <a:pt x="2084823" y="1310755"/>
                    <a:pt x="2092893" y="1302686"/>
                    <a:pt x="2102847" y="1302686"/>
                  </a:cubicBezTo>
                  <a:close/>
                  <a:moveTo>
                    <a:pt x="1273724" y="1302686"/>
                  </a:moveTo>
                  <a:cubicBezTo>
                    <a:pt x="1283679" y="1302686"/>
                    <a:pt x="1291749" y="1310755"/>
                    <a:pt x="1291749" y="1320710"/>
                  </a:cubicBezTo>
                  <a:cubicBezTo>
                    <a:pt x="1291749" y="1330665"/>
                    <a:pt x="1283679" y="1338735"/>
                    <a:pt x="1273724" y="1338735"/>
                  </a:cubicBezTo>
                  <a:cubicBezTo>
                    <a:pt x="1263770" y="1338735"/>
                    <a:pt x="1255700" y="1330665"/>
                    <a:pt x="1255700" y="1320710"/>
                  </a:cubicBezTo>
                  <a:cubicBezTo>
                    <a:pt x="1255700" y="1310755"/>
                    <a:pt x="1263770" y="1302686"/>
                    <a:pt x="1273724" y="1302686"/>
                  </a:cubicBezTo>
                  <a:close/>
                  <a:moveTo>
                    <a:pt x="1033398" y="1302686"/>
                  </a:moveTo>
                  <a:cubicBezTo>
                    <a:pt x="1043353" y="1302686"/>
                    <a:pt x="1051423" y="1310755"/>
                    <a:pt x="1051423" y="1320710"/>
                  </a:cubicBezTo>
                  <a:cubicBezTo>
                    <a:pt x="1051423" y="1330665"/>
                    <a:pt x="1043353" y="1338735"/>
                    <a:pt x="1033398" y="1338735"/>
                  </a:cubicBezTo>
                  <a:cubicBezTo>
                    <a:pt x="1023444" y="1338735"/>
                    <a:pt x="1015374" y="1330665"/>
                    <a:pt x="1015374" y="1320710"/>
                  </a:cubicBezTo>
                  <a:cubicBezTo>
                    <a:pt x="1015374" y="1310755"/>
                    <a:pt x="1023444" y="1302686"/>
                    <a:pt x="1033398" y="1302686"/>
                  </a:cubicBezTo>
                  <a:close/>
                  <a:moveTo>
                    <a:pt x="4548158" y="1296678"/>
                  </a:moveTo>
                  <a:cubicBezTo>
                    <a:pt x="4558113" y="1296678"/>
                    <a:pt x="4566183" y="1304748"/>
                    <a:pt x="4566183" y="1314702"/>
                  </a:cubicBezTo>
                  <a:cubicBezTo>
                    <a:pt x="4566183" y="1324657"/>
                    <a:pt x="4558113" y="1332727"/>
                    <a:pt x="4548158" y="1332727"/>
                  </a:cubicBezTo>
                  <a:cubicBezTo>
                    <a:pt x="4538203" y="1332727"/>
                    <a:pt x="4530133" y="1324657"/>
                    <a:pt x="4530133" y="1314702"/>
                  </a:cubicBezTo>
                  <a:cubicBezTo>
                    <a:pt x="4530133" y="1304748"/>
                    <a:pt x="4538203" y="1296678"/>
                    <a:pt x="4548158" y="1296678"/>
                  </a:cubicBezTo>
                  <a:close/>
                  <a:moveTo>
                    <a:pt x="3520767" y="1290670"/>
                  </a:moveTo>
                  <a:cubicBezTo>
                    <a:pt x="3530722" y="1290670"/>
                    <a:pt x="3538792" y="1298740"/>
                    <a:pt x="3538792" y="1308694"/>
                  </a:cubicBezTo>
                  <a:cubicBezTo>
                    <a:pt x="3538792" y="1318649"/>
                    <a:pt x="3530722" y="1326719"/>
                    <a:pt x="3520767" y="1326719"/>
                  </a:cubicBezTo>
                  <a:cubicBezTo>
                    <a:pt x="3510812" y="1326719"/>
                    <a:pt x="3502743" y="1318649"/>
                    <a:pt x="3502743" y="1308694"/>
                  </a:cubicBezTo>
                  <a:cubicBezTo>
                    <a:pt x="3502743" y="1298740"/>
                    <a:pt x="3510812" y="1290670"/>
                    <a:pt x="3520767" y="1290670"/>
                  </a:cubicBezTo>
                  <a:close/>
                  <a:moveTo>
                    <a:pt x="3244392" y="1290670"/>
                  </a:moveTo>
                  <a:cubicBezTo>
                    <a:pt x="3254347" y="1290670"/>
                    <a:pt x="3262417" y="1298740"/>
                    <a:pt x="3262417" y="1308694"/>
                  </a:cubicBezTo>
                  <a:cubicBezTo>
                    <a:pt x="3262417" y="1318649"/>
                    <a:pt x="3254347" y="1326719"/>
                    <a:pt x="3244392" y="1326719"/>
                  </a:cubicBezTo>
                  <a:cubicBezTo>
                    <a:pt x="3234437" y="1326719"/>
                    <a:pt x="3226368" y="1318649"/>
                    <a:pt x="3226368" y="1308694"/>
                  </a:cubicBezTo>
                  <a:cubicBezTo>
                    <a:pt x="3226368" y="1298740"/>
                    <a:pt x="3234437" y="1290670"/>
                    <a:pt x="3244392" y="1290670"/>
                  </a:cubicBezTo>
                  <a:close/>
                  <a:moveTo>
                    <a:pt x="757024" y="1290670"/>
                  </a:moveTo>
                  <a:cubicBezTo>
                    <a:pt x="766979" y="1290670"/>
                    <a:pt x="775049" y="1298740"/>
                    <a:pt x="775049" y="1308694"/>
                  </a:cubicBezTo>
                  <a:cubicBezTo>
                    <a:pt x="775049" y="1318649"/>
                    <a:pt x="766979" y="1326719"/>
                    <a:pt x="757024" y="1326719"/>
                  </a:cubicBezTo>
                  <a:cubicBezTo>
                    <a:pt x="747070" y="1326719"/>
                    <a:pt x="739000" y="1318649"/>
                    <a:pt x="739000" y="1308694"/>
                  </a:cubicBezTo>
                  <a:cubicBezTo>
                    <a:pt x="739000" y="1298740"/>
                    <a:pt x="747070" y="1290670"/>
                    <a:pt x="757024" y="1290670"/>
                  </a:cubicBezTo>
                  <a:close/>
                  <a:moveTo>
                    <a:pt x="4427995" y="1284661"/>
                  </a:moveTo>
                  <a:cubicBezTo>
                    <a:pt x="4437950" y="1284661"/>
                    <a:pt x="4446020" y="1292731"/>
                    <a:pt x="4446020" y="1302685"/>
                  </a:cubicBezTo>
                  <a:cubicBezTo>
                    <a:pt x="4446020" y="1312640"/>
                    <a:pt x="4437950" y="1320710"/>
                    <a:pt x="4427995" y="1320710"/>
                  </a:cubicBezTo>
                  <a:cubicBezTo>
                    <a:pt x="4418040" y="1320710"/>
                    <a:pt x="4409970" y="1312640"/>
                    <a:pt x="4409970" y="1302685"/>
                  </a:cubicBezTo>
                  <a:cubicBezTo>
                    <a:pt x="4409970" y="1292731"/>
                    <a:pt x="4418040" y="1284661"/>
                    <a:pt x="4427995" y="1284661"/>
                  </a:cubicBezTo>
                  <a:close/>
                  <a:moveTo>
                    <a:pt x="2763741" y="1278653"/>
                  </a:moveTo>
                  <a:cubicBezTo>
                    <a:pt x="2773696" y="1278653"/>
                    <a:pt x="2781766" y="1286723"/>
                    <a:pt x="2781766" y="1296678"/>
                  </a:cubicBezTo>
                  <a:cubicBezTo>
                    <a:pt x="2781766" y="1306632"/>
                    <a:pt x="2773696" y="1314702"/>
                    <a:pt x="2763741" y="1314702"/>
                  </a:cubicBezTo>
                  <a:cubicBezTo>
                    <a:pt x="2753786" y="1314702"/>
                    <a:pt x="2745717" y="1306632"/>
                    <a:pt x="2745717" y="1296678"/>
                  </a:cubicBezTo>
                  <a:cubicBezTo>
                    <a:pt x="2745717" y="1286723"/>
                    <a:pt x="2753786" y="1278653"/>
                    <a:pt x="2763741" y="1278653"/>
                  </a:cubicBezTo>
                  <a:close/>
                  <a:moveTo>
                    <a:pt x="2217002" y="1272645"/>
                  </a:moveTo>
                  <a:cubicBezTo>
                    <a:pt x="2226956" y="1272645"/>
                    <a:pt x="2235026" y="1280714"/>
                    <a:pt x="2235026" y="1290669"/>
                  </a:cubicBezTo>
                  <a:cubicBezTo>
                    <a:pt x="2235026" y="1300624"/>
                    <a:pt x="2226956" y="1308694"/>
                    <a:pt x="2217002" y="1308694"/>
                  </a:cubicBezTo>
                  <a:cubicBezTo>
                    <a:pt x="2207047" y="1308694"/>
                    <a:pt x="2198977" y="1300624"/>
                    <a:pt x="2198977" y="1290669"/>
                  </a:cubicBezTo>
                  <a:cubicBezTo>
                    <a:pt x="2198977" y="1280714"/>
                    <a:pt x="2207047" y="1272645"/>
                    <a:pt x="2217002" y="1272645"/>
                  </a:cubicBezTo>
                  <a:close/>
                  <a:moveTo>
                    <a:pt x="1874537" y="1272645"/>
                  </a:moveTo>
                  <a:cubicBezTo>
                    <a:pt x="1884492" y="1272645"/>
                    <a:pt x="1892562" y="1280714"/>
                    <a:pt x="1892562" y="1290669"/>
                  </a:cubicBezTo>
                  <a:cubicBezTo>
                    <a:pt x="1892562" y="1300624"/>
                    <a:pt x="1884492" y="1308694"/>
                    <a:pt x="1874537" y="1308694"/>
                  </a:cubicBezTo>
                  <a:cubicBezTo>
                    <a:pt x="1864583" y="1308694"/>
                    <a:pt x="1856513" y="1300624"/>
                    <a:pt x="1856513" y="1290669"/>
                  </a:cubicBezTo>
                  <a:cubicBezTo>
                    <a:pt x="1856513" y="1280714"/>
                    <a:pt x="1864583" y="1272645"/>
                    <a:pt x="1874537" y="1272645"/>
                  </a:cubicBezTo>
                  <a:close/>
                  <a:moveTo>
                    <a:pt x="3376571" y="1266637"/>
                  </a:moveTo>
                  <a:cubicBezTo>
                    <a:pt x="3386526" y="1266637"/>
                    <a:pt x="3394596" y="1274707"/>
                    <a:pt x="3394596" y="1284661"/>
                  </a:cubicBezTo>
                  <a:cubicBezTo>
                    <a:pt x="3394596" y="1294616"/>
                    <a:pt x="3386526" y="1302686"/>
                    <a:pt x="3376571" y="1302686"/>
                  </a:cubicBezTo>
                  <a:cubicBezTo>
                    <a:pt x="3366616" y="1302686"/>
                    <a:pt x="3358546" y="1294616"/>
                    <a:pt x="3358546" y="1284661"/>
                  </a:cubicBezTo>
                  <a:cubicBezTo>
                    <a:pt x="3358546" y="1274707"/>
                    <a:pt x="3366616" y="1266637"/>
                    <a:pt x="3376571" y="1266637"/>
                  </a:cubicBezTo>
                  <a:close/>
                  <a:moveTo>
                    <a:pt x="2643579" y="1266637"/>
                  </a:moveTo>
                  <a:cubicBezTo>
                    <a:pt x="2653534" y="1266637"/>
                    <a:pt x="2661604" y="1274707"/>
                    <a:pt x="2661604" y="1284661"/>
                  </a:cubicBezTo>
                  <a:cubicBezTo>
                    <a:pt x="2661604" y="1294616"/>
                    <a:pt x="2653534" y="1302686"/>
                    <a:pt x="2643579" y="1302686"/>
                  </a:cubicBezTo>
                  <a:cubicBezTo>
                    <a:pt x="2633624" y="1302686"/>
                    <a:pt x="2625555" y="1294616"/>
                    <a:pt x="2625555" y="1284661"/>
                  </a:cubicBezTo>
                  <a:cubicBezTo>
                    <a:pt x="2625555" y="1274707"/>
                    <a:pt x="2633624" y="1266637"/>
                    <a:pt x="2643579" y="1266637"/>
                  </a:cubicBezTo>
                  <a:close/>
                  <a:moveTo>
                    <a:pt x="1754375" y="1266637"/>
                  </a:moveTo>
                  <a:cubicBezTo>
                    <a:pt x="1764330" y="1266637"/>
                    <a:pt x="1772400" y="1274707"/>
                    <a:pt x="1772400" y="1284661"/>
                  </a:cubicBezTo>
                  <a:cubicBezTo>
                    <a:pt x="1772400" y="1294616"/>
                    <a:pt x="1764330" y="1302686"/>
                    <a:pt x="1754375" y="1302686"/>
                  </a:cubicBezTo>
                  <a:cubicBezTo>
                    <a:pt x="1744421" y="1302686"/>
                    <a:pt x="1736351" y="1294616"/>
                    <a:pt x="1736351" y="1284661"/>
                  </a:cubicBezTo>
                  <a:cubicBezTo>
                    <a:pt x="1736351" y="1274707"/>
                    <a:pt x="1744421" y="1266637"/>
                    <a:pt x="1754375" y="1266637"/>
                  </a:cubicBezTo>
                  <a:close/>
                  <a:moveTo>
                    <a:pt x="4740418" y="1260629"/>
                  </a:moveTo>
                  <a:cubicBezTo>
                    <a:pt x="4750373" y="1260629"/>
                    <a:pt x="4758443" y="1268699"/>
                    <a:pt x="4758443" y="1278653"/>
                  </a:cubicBezTo>
                  <a:cubicBezTo>
                    <a:pt x="4758443" y="1288608"/>
                    <a:pt x="4750373" y="1296678"/>
                    <a:pt x="4740418" y="1296678"/>
                  </a:cubicBezTo>
                  <a:cubicBezTo>
                    <a:pt x="4730464" y="1296678"/>
                    <a:pt x="4722394" y="1288608"/>
                    <a:pt x="4722394" y="1278653"/>
                  </a:cubicBezTo>
                  <a:cubicBezTo>
                    <a:pt x="4722394" y="1268699"/>
                    <a:pt x="4730464" y="1260629"/>
                    <a:pt x="4740418" y="1260629"/>
                  </a:cubicBezTo>
                  <a:close/>
                  <a:moveTo>
                    <a:pt x="4103556" y="1260629"/>
                  </a:moveTo>
                  <a:cubicBezTo>
                    <a:pt x="4113511" y="1260629"/>
                    <a:pt x="4121581" y="1268699"/>
                    <a:pt x="4121581" y="1278653"/>
                  </a:cubicBezTo>
                  <a:cubicBezTo>
                    <a:pt x="4121581" y="1288608"/>
                    <a:pt x="4113511" y="1296678"/>
                    <a:pt x="4103556" y="1296678"/>
                  </a:cubicBezTo>
                  <a:cubicBezTo>
                    <a:pt x="4093602" y="1296678"/>
                    <a:pt x="4085532" y="1288608"/>
                    <a:pt x="4085532" y="1278653"/>
                  </a:cubicBezTo>
                  <a:cubicBezTo>
                    <a:pt x="4085532" y="1268699"/>
                    <a:pt x="4093602" y="1260629"/>
                    <a:pt x="4103556" y="1260629"/>
                  </a:cubicBezTo>
                  <a:close/>
                  <a:moveTo>
                    <a:pt x="3725043" y="1260629"/>
                  </a:moveTo>
                  <a:cubicBezTo>
                    <a:pt x="3734998" y="1260629"/>
                    <a:pt x="3743068" y="1268699"/>
                    <a:pt x="3743068" y="1278653"/>
                  </a:cubicBezTo>
                  <a:cubicBezTo>
                    <a:pt x="3743068" y="1288608"/>
                    <a:pt x="3734998" y="1296678"/>
                    <a:pt x="3725043" y="1296678"/>
                  </a:cubicBezTo>
                  <a:cubicBezTo>
                    <a:pt x="3715088" y="1296678"/>
                    <a:pt x="3707019" y="1288608"/>
                    <a:pt x="3707019" y="1278653"/>
                  </a:cubicBezTo>
                  <a:cubicBezTo>
                    <a:pt x="3707019" y="1268699"/>
                    <a:pt x="3715088" y="1260629"/>
                    <a:pt x="3725043" y="1260629"/>
                  </a:cubicBezTo>
                  <a:close/>
                  <a:moveTo>
                    <a:pt x="1405904" y="1260629"/>
                  </a:moveTo>
                  <a:cubicBezTo>
                    <a:pt x="1415858" y="1260629"/>
                    <a:pt x="1423928" y="1268699"/>
                    <a:pt x="1423928" y="1278653"/>
                  </a:cubicBezTo>
                  <a:cubicBezTo>
                    <a:pt x="1423928" y="1288608"/>
                    <a:pt x="1415858" y="1296678"/>
                    <a:pt x="1405904" y="1296678"/>
                  </a:cubicBezTo>
                  <a:cubicBezTo>
                    <a:pt x="1395949" y="1296678"/>
                    <a:pt x="1387879" y="1288608"/>
                    <a:pt x="1387879" y="1278653"/>
                  </a:cubicBezTo>
                  <a:cubicBezTo>
                    <a:pt x="1387879" y="1268699"/>
                    <a:pt x="1395949" y="1260629"/>
                    <a:pt x="1405904" y="1260629"/>
                  </a:cubicBezTo>
                  <a:close/>
                  <a:moveTo>
                    <a:pt x="492666" y="1260629"/>
                  </a:moveTo>
                  <a:cubicBezTo>
                    <a:pt x="502621" y="1260629"/>
                    <a:pt x="510691" y="1268699"/>
                    <a:pt x="510691" y="1278653"/>
                  </a:cubicBezTo>
                  <a:cubicBezTo>
                    <a:pt x="510691" y="1288608"/>
                    <a:pt x="502621" y="1296678"/>
                    <a:pt x="492666" y="1296678"/>
                  </a:cubicBezTo>
                  <a:cubicBezTo>
                    <a:pt x="482712" y="1296678"/>
                    <a:pt x="474642" y="1288608"/>
                    <a:pt x="474642" y="1278653"/>
                  </a:cubicBezTo>
                  <a:cubicBezTo>
                    <a:pt x="474642" y="1268699"/>
                    <a:pt x="482712" y="1260629"/>
                    <a:pt x="492666" y="1260629"/>
                  </a:cubicBezTo>
                  <a:close/>
                  <a:moveTo>
                    <a:pt x="4229726" y="1248613"/>
                  </a:moveTo>
                  <a:cubicBezTo>
                    <a:pt x="4239681" y="1248613"/>
                    <a:pt x="4247751" y="1256683"/>
                    <a:pt x="4247751" y="1266638"/>
                  </a:cubicBezTo>
                  <a:cubicBezTo>
                    <a:pt x="4247751" y="1276592"/>
                    <a:pt x="4239681" y="1284662"/>
                    <a:pt x="4229726" y="1284662"/>
                  </a:cubicBezTo>
                  <a:cubicBezTo>
                    <a:pt x="4219772" y="1284662"/>
                    <a:pt x="4211702" y="1276592"/>
                    <a:pt x="4211702" y="1266638"/>
                  </a:cubicBezTo>
                  <a:cubicBezTo>
                    <a:pt x="4211702" y="1256683"/>
                    <a:pt x="4219772" y="1248613"/>
                    <a:pt x="4229726" y="1248613"/>
                  </a:cubicBezTo>
                  <a:close/>
                  <a:moveTo>
                    <a:pt x="2439302" y="1248613"/>
                  </a:moveTo>
                  <a:cubicBezTo>
                    <a:pt x="2449257" y="1248613"/>
                    <a:pt x="2457327" y="1256683"/>
                    <a:pt x="2457327" y="1266638"/>
                  </a:cubicBezTo>
                  <a:cubicBezTo>
                    <a:pt x="2457327" y="1276592"/>
                    <a:pt x="2449257" y="1284662"/>
                    <a:pt x="2439302" y="1284662"/>
                  </a:cubicBezTo>
                  <a:cubicBezTo>
                    <a:pt x="2429347" y="1284662"/>
                    <a:pt x="2421278" y="1276592"/>
                    <a:pt x="2421278" y="1266638"/>
                  </a:cubicBezTo>
                  <a:cubicBezTo>
                    <a:pt x="2421278" y="1256683"/>
                    <a:pt x="2429347" y="1248613"/>
                    <a:pt x="2439302" y="1248613"/>
                  </a:cubicBezTo>
                  <a:close/>
                  <a:moveTo>
                    <a:pt x="2337165" y="1248613"/>
                  </a:moveTo>
                  <a:cubicBezTo>
                    <a:pt x="2347119" y="1248613"/>
                    <a:pt x="2355189" y="1256683"/>
                    <a:pt x="2355189" y="1266638"/>
                  </a:cubicBezTo>
                  <a:cubicBezTo>
                    <a:pt x="2355189" y="1276592"/>
                    <a:pt x="2347119" y="1284662"/>
                    <a:pt x="2337165" y="1284662"/>
                  </a:cubicBezTo>
                  <a:cubicBezTo>
                    <a:pt x="2327210" y="1284662"/>
                    <a:pt x="2319140" y="1276592"/>
                    <a:pt x="2319140" y="1266638"/>
                  </a:cubicBezTo>
                  <a:cubicBezTo>
                    <a:pt x="2319140" y="1256683"/>
                    <a:pt x="2327210" y="1248613"/>
                    <a:pt x="2337165" y="1248613"/>
                  </a:cubicBezTo>
                  <a:close/>
                  <a:moveTo>
                    <a:pt x="2012725" y="1248613"/>
                  </a:moveTo>
                  <a:cubicBezTo>
                    <a:pt x="2022680" y="1248613"/>
                    <a:pt x="2030750" y="1256683"/>
                    <a:pt x="2030750" y="1266638"/>
                  </a:cubicBezTo>
                  <a:cubicBezTo>
                    <a:pt x="2030750" y="1276592"/>
                    <a:pt x="2022680" y="1284662"/>
                    <a:pt x="2012725" y="1284662"/>
                  </a:cubicBezTo>
                  <a:cubicBezTo>
                    <a:pt x="2002771" y="1284662"/>
                    <a:pt x="1994701" y="1276592"/>
                    <a:pt x="1994701" y="1266638"/>
                  </a:cubicBezTo>
                  <a:cubicBezTo>
                    <a:pt x="1994701" y="1256683"/>
                    <a:pt x="2002771" y="1248613"/>
                    <a:pt x="2012725" y="1248613"/>
                  </a:cubicBezTo>
                  <a:close/>
                  <a:moveTo>
                    <a:pt x="1165578" y="1248613"/>
                  </a:moveTo>
                  <a:cubicBezTo>
                    <a:pt x="1175532" y="1248613"/>
                    <a:pt x="1183602" y="1256683"/>
                    <a:pt x="1183602" y="1266638"/>
                  </a:cubicBezTo>
                  <a:cubicBezTo>
                    <a:pt x="1183602" y="1276592"/>
                    <a:pt x="1175532" y="1284662"/>
                    <a:pt x="1165578" y="1284662"/>
                  </a:cubicBezTo>
                  <a:cubicBezTo>
                    <a:pt x="1155623" y="1284662"/>
                    <a:pt x="1147553" y="1276592"/>
                    <a:pt x="1147553" y="1266638"/>
                  </a:cubicBezTo>
                  <a:cubicBezTo>
                    <a:pt x="1147553" y="1256683"/>
                    <a:pt x="1155623" y="1248613"/>
                    <a:pt x="1165578" y="1248613"/>
                  </a:cubicBezTo>
                  <a:close/>
                  <a:moveTo>
                    <a:pt x="3989401" y="1242605"/>
                  </a:moveTo>
                  <a:cubicBezTo>
                    <a:pt x="3999356" y="1242605"/>
                    <a:pt x="4007426" y="1250674"/>
                    <a:pt x="4007426" y="1260629"/>
                  </a:cubicBezTo>
                  <a:cubicBezTo>
                    <a:pt x="4007426" y="1270584"/>
                    <a:pt x="3999356" y="1278654"/>
                    <a:pt x="3989401" y="1278654"/>
                  </a:cubicBezTo>
                  <a:cubicBezTo>
                    <a:pt x="3979447" y="1278654"/>
                    <a:pt x="3971377" y="1270584"/>
                    <a:pt x="3971377" y="1260629"/>
                  </a:cubicBezTo>
                  <a:cubicBezTo>
                    <a:pt x="3971377" y="1250674"/>
                    <a:pt x="3979447" y="1242605"/>
                    <a:pt x="3989401" y="1242605"/>
                  </a:cubicBezTo>
                  <a:close/>
                  <a:moveTo>
                    <a:pt x="1514049" y="1242605"/>
                  </a:moveTo>
                  <a:cubicBezTo>
                    <a:pt x="1524004" y="1242605"/>
                    <a:pt x="1532074" y="1250674"/>
                    <a:pt x="1532074" y="1260629"/>
                  </a:cubicBezTo>
                  <a:cubicBezTo>
                    <a:pt x="1532074" y="1270584"/>
                    <a:pt x="1524004" y="1278654"/>
                    <a:pt x="1514049" y="1278654"/>
                  </a:cubicBezTo>
                  <a:cubicBezTo>
                    <a:pt x="1504095" y="1278654"/>
                    <a:pt x="1496025" y="1270584"/>
                    <a:pt x="1496025" y="1260629"/>
                  </a:cubicBezTo>
                  <a:cubicBezTo>
                    <a:pt x="1496025" y="1250674"/>
                    <a:pt x="1504095" y="1242605"/>
                    <a:pt x="1514049" y="1242605"/>
                  </a:cubicBezTo>
                  <a:close/>
                  <a:moveTo>
                    <a:pt x="3088181" y="1230588"/>
                  </a:moveTo>
                  <a:cubicBezTo>
                    <a:pt x="3098136" y="1230588"/>
                    <a:pt x="3106206" y="1238658"/>
                    <a:pt x="3106206" y="1248612"/>
                  </a:cubicBezTo>
                  <a:cubicBezTo>
                    <a:pt x="3106206" y="1258567"/>
                    <a:pt x="3098136" y="1266637"/>
                    <a:pt x="3088181" y="1266637"/>
                  </a:cubicBezTo>
                  <a:cubicBezTo>
                    <a:pt x="3078227" y="1266637"/>
                    <a:pt x="3070157" y="1258567"/>
                    <a:pt x="3070157" y="1248612"/>
                  </a:cubicBezTo>
                  <a:cubicBezTo>
                    <a:pt x="3070157" y="1238658"/>
                    <a:pt x="3078227" y="1230588"/>
                    <a:pt x="3088181" y="1230588"/>
                  </a:cubicBezTo>
                  <a:close/>
                  <a:moveTo>
                    <a:pt x="895212" y="1230588"/>
                  </a:moveTo>
                  <a:cubicBezTo>
                    <a:pt x="905166" y="1230588"/>
                    <a:pt x="913236" y="1238658"/>
                    <a:pt x="913236" y="1248612"/>
                  </a:cubicBezTo>
                  <a:cubicBezTo>
                    <a:pt x="913236" y="1258567"/>
                    <a:pt x="905166" y="1266637"/>
                    <a:pt x="895212" y="1266637"/>
                  </a:cubicBezTo>
                  <a:cubicBezTo>
                    <a:pt x="885257" y="1266637"/>
                    <a:pt x="877187" y="1258567"/>
                    <a:pt x="877187" y="1248612"/>
                  </a:cubicBezTo>
                  <a:cubicBezTo>
                    <a:pt x="877187" y="1238658"/>
                    <a:pt x="885257" y="1230588"/>
                    <a:pt x="895212" y="1230588"/>
                  </a:cubicBezTo>
                  <a:close/>
                  <a:moveTo>
                    <a:pt x="4626263" y="1224580"/>
                  </a:moveTo>
                  <a:cubicBezTo>
                    <a:pt x="4636218" y="1224580"/>
                    <a:pt x="4644288" y="1232650"/>
                    <a:pt x="4644288" y="1242604"/>
                  </a:cubicBezTo>
                  <a:cubicBezTo>
                    <a:pt x="4644288" y="1252559"/>
                    <a:pt x="4636218" y="1260629"/>
                    <a:pt x="4626263" y="1260629"/>
                  </a:cubicBezTo>
                  <a:cubicBezTo>
                    <a:pt x="4616308" y="1260629"/>
                    <a:pt x="4608239" y="1252559"/>
                    <a:pt x="4608239" y="1242604"/>
                  </a:cubicBezTo>
                  <a:cubicBezTo>
                    <a:pt x="4608239" y="1232650"/>
                    <a:pt x="4616308" y="1224580"/>
                    <a:pt x="4626263" y="1224580"/>
                  </a:cubicBezTo>
                  <a:close/>
                  <a:moveTo>
                    <a:pt x="2547449" y="1224580"/>
                  </a:moveTo>
                  <a:cubicBezTo>
                    <a:pt x="2557404" y="1224580"/>
                    <a:pt x="2565474" y="1232650"/>
                    <a:pt x="2565474" y="1242604"/>
                  </a:cubicBezTo>
                  <a:cubicBezTo>
                    <a:pt x="2565474" y="1252559"/>
                    <a:pt x="2557404" y="1260629"/>
                    <a:pt x="2547449" y="1260629"/>
                  </a:cubicBezTo>
                  <a:cubicBezTo>
                    <a:pt x="2537495" y="1260629"/>
                    <a:pt x="2529425" y="1252559"/>
                    <a:pt x="2529425" y="1242604"/>
                  </a:cubicBezTo>
                  <a:cubicBezTo>
                    <a:pt x="2529425" y="1232650"/>
                    <a:pt x="2537495" y="1224580"/>
                    <a:pt x="2547449" y="1224580"/>
                  </a:cubicBezTo>
                  <a:close/>
                  <a:moveTo>
                    <a:pt x="1628204" y="1224580"/>
                  </a:moveTo>
                  <a:cubicBezTo>
                    <a:pt x="1638159" y="1224580"/>
                    <a:pt x="1646229" y="1232650"/>
                    <a:pt x="1646229" y="1242604"/>
                  </a:cubicBezTo>
                  <a:cubicBezTo>
                    <a:pt x="1646229" y="1252559"/>
                    <a:pt x="1638159" y="1260629"/>
                    <a:pt x="1628204" y="1260629"/>
                  </a:cubicBezTo>
                  <a:cubicBezTo>
                    <a:pt x="1618250" y="1260629"/>
                    <a:pt x="1610180" y="1252559"/>
                    <a:pt x="1610180" y="1242604"/>
                  </a:cubicBezTo>
                  <a:cubicBezTo>
                    <a:pt x="1610180" y="1232650"/>
                    <a:pt x="1618250" y="1224580"/>
                    <a:pt x="1628204" y="1224580"/>
                  </a:cubicBezTo>
                  <a:close/>
                  <a:moveTo>
                    <a:pt x="5052841" y="1212564"/>
                  </a:moveTo>
                  <a:cubicBezTo>
                    <a:pt x="5062796" y="1212564"/>
                    <a:pt x="5070866" y="1220633"/>
                    <a:pt x="5070866" y="1230588"/>
                  </a:cubicBezTo>
                  <a:cubicBezTo>
                    <a:pt x="5070866" y="1240543"/>
                    <a:pt x="5062796" y="1248613"/>
                    <a:pt x="5052841" y="1248613"/>
                  </a:cubicBezTo>
                  <a:cubicBezTo>
                    <a:pt x="5042886" y="1248613"/>
                    <a:pt x="5034817" y="1240543"/>
                    <a:pt x="5034817" y="1230588"/>
                  </a:cubicBezTo>
                  <a:cubicBezTo>
                    <a:pt x="5034817" y="1220633"/>
                    <a:pt x="5042886" y="1212564"/>
                    <a:pt x="5052841" y="1212564"/>
                  </a:cubicBezTo>
                  <a:close/>
                  <a:moveTo>
                    <a:pt x="3845206" y="1206556"/>
                  </a:moveTo>
                  <a:cubicBezTo>
                    <a:pt x="3855161" y="1206556"/>
                    <a:pt x="3863231" y="1214626"/>
                    <a:pt x="3863231" y="1224580"/>
                  </a:cubicBezTo>
                  <a:cubicBezTo>
                    <a:pt x="3863231" y="1234535"/>
                    <a:pt x="3855161" y="1242605"/>
                    <a:pt x="3845206" y="1242605"/>
                  </a:cubicBezTo>
                  <a:cubicBezTo>
                    <a:pt x="3835251" y="1242605"/>
                    <a:pt x="3827182" y="1234535"/>
                    <a:pt x="3827182" y="1224580"/>
                  </a:cubicBezTo>
                  <a:cubicBezTo>
                    <a:pt x="3827182" y="1214626"/>
                    <a:pt x="3835251" y="1206556"/>
                    <a:pt x="3845206" y="1206556"/>
                  </a:cubicBezTo>
                  <a:close/>
                  <a:moveTo>
                    <a:pt x="3604880" y="1206556"/>
                  </a:moveTo>
                  <a:cubicBezTo>
                    <a:pt x="3614835" y="1206556"/>
                    <a:pt x="3622905" y="1214626"/>
                    <a:pt x="3622905" y="1224580"/>
                  </a:cubicBezTo>
                  <a:cubicBezTo>
                    <a:pt x="3622905" y="1234535"/>
                    <a:pt x="3614835" y="1242605"/>
                    <a:pt x="3604880" y="1242605"/>
                  </a:cubicBezTo>
                  <a:cubicBezTo>
                    <a:pt x="3594925" y="1242605"/>
                    <a:pt x="3586856" y="1234535"/>
                    <a:pt x="3586856" y="1224580"/>
                  </a:cubicBezTo>
                  <a:cubicBezTo>
                    <a:pt x="3586856" y="1214626"/>
                    <a:pt x="3594925" y="1206556"/>
                    <a:pt x="3604880" y="1206556"/>
                  </a:cubicBezTo>
                  <a:close/>
                  <a:moveTo>
                    <a:pt x="600813" y="1200548"/>
                  </a:moveTo>
                  <a:cubicBezTo>
                    <a:pt x="610768" y="1200548"/>
                    <a:pt x="618838" y="1208618"/>
                    <a:pt x="618838" y="1218572"/>
                  </a:cubicBezTo>
                  <a:cubicBezTo>
                    <a:pt x="618838" y="1228527"/>
                    <a:pt x="610768" y="1236597"/>
                    <a:pt x="600813" y="1236597"/>
                  </a:cubicBezTo>
                  <a:cubicBezTo>
                    <a:pt x="590859" y="1236597"/>
                    <a:pt x="582789" y="1228527"/>
                    <a:pt x="582789" y="1218572"/>
                  </a:cubicBezTo>
                  <a:cubicBezTo>
                    <a:pt x="582789" y="1208618"/>
                    <a:pt x="590859" y="1200548"/>
                    <a:pt x="600813" y="1200548"/>
                  </a:cubicBezTo>
                  <a:close/>
                  <a:moveTo>
                    <a:pt x="2949994" y="1194539"/>
                  </a:moveTo>
                  <a:cubicBezTo>
                    <a:pt x="2959949" y="1194539"/>
                    <a:pt x="2968019" y="1202609"/>
                    <a:pt x="2968019" y="1212563"/>
                  </a:cubicBezTo>
                  <a:cubicBezTo>
                    <a:pt x="2968019" y="1222518"/>
                    <a:pt x="2959949" y="1230588"/>
                    <a:pt x="2949994" y="1230588"/>
                  </a:cubicBezTo>
                  <a:cubicBezTo>
                    <a:pt x="2940039" y="1230588"/>
                    <a:pt x="2931970" y="1222518"/>
                    <a:pt x="2931970" y="1212563"/>
                  </a:cubicBezTo>
                  <a:cubicBezTo>
                    <a:pt x="2931970" y="1202609"/>
                    <a:pt x="2940039" y="1194539"/>
                    <a:pt x="2949994" y="1194539"/>
                  </a:cubicBezTo>
                  <a:close/>
                  <a:moveTo>
                    <a:pt x="1009366" y="1194539"/>
                  </a:moveTo>
                  <a:cubicBezTo>
                    <a:pt x="1019321" y="1194539"/>
                    <a:pt x="1027391" y="1202609"/>
                    <a:pt x="1027391" y="1212563"/>
                  </a:cubicBezTo>
                  <a:cubicBezTo>
                    <a:pt x="1027391" y="1222518"/>
                    <a:pt x="1019321" y="1230588"/>
                    <a:pt x="1009366" y="1230588"/>
                  </a:cubicBezTo>
                  <a:cubicBezTo>
                    <a:pt x="999412" y="1230588"/>
                    <a:pt x="991342" y="1222518"/>
                    <a:pt x="991342" y="1212563"/>
                  </a:cubicBezTo>
                  <a:cubicBezTo>
                    <a:pt x="991342" y="1202609"/>
                    <a:pt x="999412" y="1194539"/>
                    <a:pt x="1009366" y="1194539"/>
                  </a:cubicBezTo>
                  <a:close/>
                  <a:moveTo>
                    <a:pt x="4932678" y="1188531"/>
                  </a:moveTo>
                  <a:cubicBezTo>
                    <a:pt x="4942633" y="1188531"/>
                    <a:pt x="4950703" y="1196601"/>
                    <a:pt x="4950703" y="1206556"/>
                  </a:cubicBezTo>
                  <a:cubicBezTo>
                    <a:pt x="4950703" y="1216510"/>
                    <a:pt x="4942633" y="1224580"/>
                    <a:pt x="4932678" y="1224580"/>
                  </a:cubicBezTo>
                  <a:cubicBezTo>
                    <a:pt x="4922723" y="1224580"/>
                    <a:pt x="4914654" y="1216510"/>
                    <a:pt x="4914654" y="1206556"/>
                  </a:cubicBezTo>
                  <a:cubicBezTo>
                    <a:pt x="4914654" y="1196601"/>
                    <a:pt x="4922723" y="1188531"/>
                    <a:pt x="4932678" y="1188531"/>
                  </a:cubicBezTo>
                  <a:close/>
                  <a:moveTo>
                    <a:pt x="4361905" y="1188531"/>
                  </a:moveTo>
                  <a:cubicBezTo>
                    <a:pt x="4371860" y="1188531"/>
                    <a:pt x="4379930" y="1196601"/>
                    <a:pt x="4379930" y="1206556"/>
                  </a:cubicBezTo>
                  <a:cubicBezTo>
                    <a:pt x="4379930" y="1216510"/>
                    <a:pt x="4371860" y="1224580"/>
                    <a:pt x="4361905" y="1224580"/>
                  </a:cubicBezTo>
                  <a:cubicBezTo>
                    <a:pt x="4351950" y="1224580"/>
                    <a:pt x="4343881" y="1216510"/>
                    <a:pt x="4343881" y="1206556"/>
                  </a:cubicBezTo>
                  <a:cubicBezTo>
                    <a:pt x="4343881" y="1196601"/>
                    <a:pt x="4351950" y="1188531"/>
                    <a:pt x="4361905" y="1188531"/>
                  </a:cubicBezTo>
                  <a:close/>
                  <a:moveTo>
                    <a:pt x="3220360" y="1188531"/>
                  </a:moveTo>
                  <a:cubicBezTo>
                    <a:pt x="3230315" y="1188531"/>
                    <a:pt x="3238385" y="1196601"/>
                    <a:pt x="3238385" y="1206556"/>
                  </a:cubicBezTo>
                  <a:cubicBezTo>
                    <a:pt x="3238385" y="1216510"/>
                    <a:pt x="3230315" y="1224580"/>
                    <a:pt x="3220360" y="1224580"/>
                  </a:cubicBezTo>
                  <a:cubicBezTo>
                    <a:pt x="3210405" y="1224580"/>
                    <a:pt x="3202336" y="1216510"/>
                    <a:pt x="3202336" y="1206556"/>
                  </a:cubicBezTo>
                  <a:cubicBezTo>
                    <a:pt x="3202336" y="1196601"/>
                    <a:pt x="3210405" y="1188531"/>
                    <a:pt x="3220360" y="1188531"/>
                  </a:cubicBezTo>
                  <a:close/>
                  <a:moveTo>
                    <a:pt x="708959" y="1188531"/>
                  </a:moveTo>
                  <a:cubicBezTo>
                    <a:pt x="718914" y="1188531"/>
                    <a:pt x="726984" y="1196601"/>
                    <a:pt x="726984" y="1206556"/>
                  </a:cubicBezTo>
                  <a:cubicBezTo>
                    <a:pt x="726984" y="1216510"/>
                    <a:pt x="718914" y="1224580"/>
                    <a:pt x="708959" y="1224580"/>
                  </a:cubicBezTo>
                  <a:cubicBezTo>
                    <a:pt x="699005" y="1224580"/>
                    <a:pt x="690935" y="1216510"/>
                    <a:pt x="690935" y="1206556"/>
                  </a:cubicBezTo>
                  <a:cubicBezTo>
                    <a:pt x="690935" y="1196601"/>
                    <a:pt x="699005" y="1188531"/>
                    <a:pt x="708959" y="1188531"/>
                  </a:cubicBezTo>
                  <a:close/>
                  <a:moveTo>
                    <a:pt x="4824532" y="1182523"/>
                  </a:moveTo>
                  <a:cubicBezTo>
                    <a:pt x="4834487" y="1182523"/>
                    <a:pt x="4842557" y="1190592"/>
                    <a:pt x="4842557" y="1200547"/>
                  </a:cubicBezTo>
                  <a:cubicBezTo>
                    <a:pt x="4842557" y="1210502"/>
                    <a:pt x="4834487" y="1218572"/>
                    <a:pt x="4824532" y="1218572"/>
                  </a:cubicBezTo>
                  <a:cubicBezTo>
                    <a:pt x="4814578" y="1218572"/>
                    <a:pt x="4806508" y="1210502"/>
                    <a:pt x="4806508" y="1200547"/>
                  </a:cubicBezTo>
                  <a:cubicBezTo>
                    <a:pt x="4806508" y="1190592"/>
                    <a:pt x="4814578" y="1182523"/>
                    <a:pt x="4824532" y="1182523"/>
                  </a:cubicBezTo>
                  <a:close/>
                  <a:moveTo>
                    <a:pt x="1279732" y="1170507"/>
                  </a:moveTo>
                  <a:cubicBezTo>
                    <a:pt x="1289687" y="1170507"/>
                    <a:pt x="1297757" y="1178577"/>
                    <a:pt x="1297757" y="1188531"/>
                  </a:cubicBezTo>
                  <a:cubicBezTo>
                    <a:pt x="1297757" y="1198486"/>
                    <a:pt x="1289687" y="1206556"/>
                    <a:pt x="1279732" y="1206556"/>
                  </a:cubicBezTo>
                  <a:cubicBezTo>
                    <a:pt x="1269778" y="1206556"/>
                    <a:pt x="1261708" y="1198486"/>
                    <a:pt x="1261708" y="1188531"/>
                  </a:cubicBezTo>
                  <a:cubicBezTo>
                    <a:pt x="1261708" y="1178577"/>
                    <a:pt x="1269778" y="1170507"/>
                    <a:pt x="1279732" y="1170507"/>
                  </a:cubicBezTo>
                  <a:close/>
                  <a:moveTo>
                    <a:pt x="3478710" y="1164499"/>
                  </a:moveTo>
                  <a:cubicBezTo>
                    <a:pt x="3488665" y="1164499"/>
                    <a:pt x="3496735" y="1172569"/>
                    <a:pt x="3496735" y="1182523"/>
                  </a:cubicBezTo>
                  <a:cubicBezTo>
                    <a:pt x="3496735" y="1192478"/>
                    <a:pt x="3488665" y="1200548"/>
                    <a:pt x="3478710" y="1200548"/>
                  </a:cubicBezTo>
                  <a:cubicBezTo>
                    <a:pt x="3468756" y="1200548"/>
                    <a:pt x="3460686" y="1192478"/>
                    <a:pt x="3460686" y="1182523"/>
                  </a:cubicBezTo>
                  <a:cubicBezTo>
                    <a:pt x="3460686" y="1172569"/>
                    <a:pt x="3468756" y="1164499"/>
                    <a:pt x="3478710" y="1164499"/>
                  </a:cubicBezTo>
                  <a:close/>
                  <a:moveTo>
                    <a:pt x="2703660" y="1164499"/>
                  </a:moveTo>
                  <a:cubicBezTo>
                    <a:pt x="2713615" y="1164499"/>
                    <a:pt x="2721685" y="1172569"/>
                    <a:pt x="2721685" y="1182523"/>
                  </a:cubicBezTo>
                  <a:cubicBezTo>
                    <a:pt x="2721685" y="1192478"/>
                    <a:pt x="2713615" y="1200548"/>
                    <a:pt x="2703660" y="1200548"/>
                  </a:cubicBezTo>
                  <a:cubicBezTo>
                    <a:pt x="2693705" y="1200548"/>
                    <a:pt x="2685636" y="1192478"/>
                    <a:pt x="2685636" y="1182523"/>
                  </a:cubicBezTo>
                  <a:cubicBezTo>
                    <a:pt x="2685636" y="1172569"/>
                    <a:pt x="2693705" y="1164499"/>
                    <a:pt x="2703660" y="1164499"/>
                  </a:cubicBezTo>
                  <a:close/>
                  <a:moveTo>
                    <a:pt x="4500093" y="1158491"/>
                  </a:moveTo>
                  <a:cubicBezTo>
                    <a:pt x="4510048" y="1158491"/>
                    <a:pt x="4518118" y="1166561"/>
                    <a:pt x="4518118" y="1176516"/>
                  </a:cubicBezTo>
                  <a:cubicBezTo>
                    <a:pt x="4518118" y="1186470"/>
                    <a:pt x="4510048" y="1194540"/>
                    <a:pt x="4500093" y="1194540"/>
                  </a:cubicBezTo>
                  <a:cubicBezTo>
                    <a:pt x="4490139" y="1194540"/>
                    <a:pt x="4482069" y="1186470"/>
                    <a:pt x="4482069" y="1176516"/>
                  </a:cubicBezTo>
                  <a:cubicBezTo>
                    <a:pt x="4482069" y="1166561"/>
                    <a:pt x="4490139" y="1158491"/>
                    <a:pt x="4500093" y="1158491"/>
                  </a:cubicBezTo>
                  <a:close/>
                  <a:moveTo>
                    <a:pt x="4199686" y="1158491"/>
                  </a:moveTo>
                  <a:cubicBezTo>
                    <a:pt x="4209641" y="1158491"/>
                    <a:pt x="4217711" y="1166561"/>
                    <a:pt x="4217711" y="1176516"/>
                  </a:cubicBezTo>
                  <a:cubicBezTo>
                    <a:pt x="4217711" y="1186470"/>
                    <a:pt x="4209641" y="1194540"/>
                    <a:pt x="4199686" y="1194540"/>
                  </a:cubicBezTo>
                  <a:cubicBezTo>
                    <a:pt x="4189732" y="1194540"/>
                    <a:pt x="4181662" y="1186470"/>
                    <a:pt x="4181662" y="1176516"/>
                  </a:cubicBezTo>
                  <a:cubicBezTo>
                    <a:pt x="4181662" y="1166561"/>
                    <a:pt x="4189732" y="1158491"/>
                    <a:pt x="4199686" y="1158491"/>
                  </a:cubicBezTo>
                  <a:close/>
                  <a:moveTo>
                    <a:pt x="2132887" y="1158491"/>
                  </a:moveTo>
                  <a:cubicBezTo>
                    <a:pt x="2142842" y="1158491"/>
                    <a:pt x="2150912" y="1166561"/>
                    <a:pt x="2150912" y="1176516"/>
                  </a:cubicBezTo>
                  <a:cubicBezTo>
                    <a:pt x="2150912" y="1186470"/>
                    <a:pt x="2142842" y="1194540"/>
                    <a:pt x="2132887" y="1194540"/>
                  </a:cubicBezTo>
                  <a:cubicBezTo>
                    <a:pt x="2122933" y="1194540"/>
                    <a:pt x="2114863" y="1186470"/>
                    <a:pt x="2114863" y="1176516"/>
                  </a:cubicBezTo>
                  <a:cubicBezTo>
                    <a:pt x="2114863" y="1166561"/>
                    <a:pt x="2122933" y="1158491"/>
                    <a:pt x="2132887" y="1158491"/>
                  </a:cubicBezTo>
                  <a:close/>
                  <a:moveTo>
                    <a:pt x="1850505" y="1158491"/>
                  </a:moveTo>
                  <a:cubicBezTo>
                    <a:pt x="1860460" y="1158491"/>
                    <a:pt x="1868530" y="1166561"/>
                    <a:pt x="1868530" y="1176516"/>
                  </a:cubicBezTo>
                  <a:cubicBezTo>
                    <a:pt x="1868530" y="1186470"/>
                    <a:pt x="1860460" y="1194540"/>
                    <a:pt x="1850505" y="1194540"/>
                  </a:cubicBezTo>
                  <a:cubicBezTo>
                    <a:pt x="1840551" y="1194540"/>
                    <a:pt x="1832481" y="1186470"/>
                    <a:pt x="1832481" y="1176516"/>
                  </a:cubicBezTo>
                  <a:cubicBezTo>
                    <a:pt x="1832481" y="1166561"/>
                    <a:pt x="1840551" y="1158491"/>
                    <a:pt x="1850505" y="1158491"/>
                  </a:cubicBezTo>
                  <a:close/>
                  <a:moveTo>
                    <a:pt x="3340522" y="1152483"/>
                  </a:moveTo>
                  <a:cubicBezTo>
                    <a:pt x="3350477" y="1152483"/>
                    <a:pt x="3358547" y="1160552"/>
                    <a:pt x="3358547" y="1170507"/>
                  </a:cubicBezTo>
                  <a:cubicBezTo>
                    <a:pt x="3358547" y="1180462"/>
                    <a:pt x="3350477" y="1188532"/>
                    <a:pt x="3340522" y="1188532"/>
                  </a:cubicBezTo>
                  <a:cubicBezTo>
                    <a:pt x="3330567" y="1188532"/>
                    <a:pt x="3322498" y="1180462"/>
                    <a:pt x="3322498" y="1170507"/>
                  </a:cubicBezTo>
                  <a:cubicBezTo>
                    <a:pt x="3322498" y="1160552"/>
                    <a:pt x="3330567" y="1152483"/>
                    <a:pt x="3340522" y="1152483"/>
                  </a:cubicBezTo>
                  <a:close/>
                  <a:moveTo>
                    <a:pt x="2829831" y="1152483"/>
                  </a:moveTo>
                  <a:cubicBezTo>
                    <a:pt x="2839786" y="1152483"/>
                    <a:pt x="2847856" y="1160552"/>
                    <a:pt x="2847856" y="1170507"/>
                  </a:cubicBezTo>
                  <a:cubicBezTo>
                    <a:pt x="2847856" y="1180462"/>
                    <a:pt x="2839786" y="1188532"/>
                    <a:pt x="2829831" y="1188532"/>
                  </a:cubicBezTo>
                  <a:cubicBezTo>
                    <a:pt x="2819876" y="1188532"/>
                    <a:pt x="2811807" y="1180462"/>
                    <a:pt x="2811807" y="1170507"/>
                  </a:cubicBezTo>
                  <a:cubicBezTo>
                    <a:pt x="2811807" y="1160552"/>
                    <a:pt x="2819876" y="1152483"/>
                    <a:pt x="2829831" y="1152483"/>
                  </a:cubicBezTo>
                  <a:close/>
                  <a:moveTo>
                    <a:pt x="2253050" y="1152483"/>
                  </a:moveTo>
                  <a:cubicBezTo>
                    <a:pt x="2263005" y="1152483"/>
                    <a:pt x="2271075" y="1160552"/>
                    <a:pt x="2271075" y="1170507"/>
                  </a:cubicBezTo>
                  <a:cubicBezTo>
                    <a:pt x="2271075" y="1180462"/>
                    <a:pt x="2263005" y="1188532"/>
                    <a:pt x="2253050" y="1188532"/>
                  </a:cubicBezTo>
                  <a:cubicBezTo>
                    <a:pt x="2243096" y="1188532"/>
                    <a:pt x="2235026" y="1180462"/>
                    <a:pt x="2235026" y="1170507"/>
                  </a:cubicBezTo>
                  <a:cubicBezTo>
                    <a:pt x="2235026" y="1160552"/>
                    <a:pt x="2243096" y="1152483"/>
                    <a:pt x="2253050" y="1152483"/>
                  </a:cubicBezTo>
                  <a:close/>
                  <a:moveTo>
                    <a:pt x="1994700" y="1146474"/>
                  </a:moveTo>
                  <a:cubicBezTo>
                    <a:pt x="2004655" y="1146474"/>
                    <a:pt x="2012725" y="1154544"/>
                    <a:pt x="2012725" y="1164498"/>
                  </a:cubicBezTo>
                  <a:cubicBezTo>
                    <a:pt x="2012725" y="1174453"/>
                    <a:pt x="2004655" y="1182523"/>
                    <a:pt x="1994700" y="1182523"/>
                  </a:cubicBezTo>
                  <a:cubicBezTo>
                    <a:pt x="1984746" y="1182523"/>
                    <a:pt x="1976676" y="1174453"/>
                    <a:pt x="1976676" y="1164498"/>
                  </a:cubicBezTo>
                  <a:cubicBezTo>
                    <a:pt x="1976676" y="1154544"/>
                    <a:pt x="1984746" y="1146474"/>
                    <a:pt x="1994700" y="1146474"/>
                  </a:cubicBezTo>
                  <a:close/>
                  <a:moveTo>
                    <a:pt x="1718326" y="1146474"/>
                  </a:moveTo>
                  <a:cubicBezTo>
                    <a:pt x="1728281" y="1146474"/>
                    <a:pt x="1736351" y="1154544"/>
                    <a:pt x="1736351" y="1164498"/>
                  </a:cubicBezTo>
                  <a:cubicBezTo>
                    <a:pt x="1736351" y="1174453"/>
                    <a:pt x="1728281" y="1182523"/>
                    <a:pt x="1718326" y="1182523"/>
                  </a:cubicBezTo>
                  <a:cubicBezTo>
                    <a:pt x="1708372" y="1182523"/>
                    <a:pt x="1700302" y="1174453"/>
                    <a:pt x="1700302" y="1164498"/>
                  </a:cubicBezTo>
                  <a:cubicBezTo>
                    <a:pt x="1700302" y="1154544"/>
                    <a:pt x="1708372" y="1146474"/>
                    <a:pt x="1718326" y="1146474"/>
                  </a:cubicBezTo>
                  <a:close/>
                  <a:moveTo>
                    <a:pt x="1129529" y="1146474"/>
                  </a:moveTo>
                  <a:cubicBezTo>
                    <a:pt x="1139484" y="1146474"/>
                    <a:pt x="1147554" y="1154544"/>
                    <a:pt x="1147554" y="1164498"/>
                  </a:cubicBezTo>
                  <a:cubicBezTo>
                    <a:pt x="1147554" y="1174453"/>
                    <a:pt x="1139484" y="1182523"/>
                    <a:pt x="1129529" y="1182523"/>
                  </a:cubicBezTo>
                  <a:cubicBezTo>
                    <a:pt x="1119575" y="1182523"/>
                    <a:pt x="1111505" y="1174453"/>
                    <a:pt x="1111505" y="1164498"/>
                  </a:cubicBezTo>
                  <a:cubicBezTo>
                    <a:pt x="1111505" y="1154544"/>
                    <a:pt x="1119575" y="1146474"/>
                    <a:pt x="1129529" y="1146474"/>
                  </a:cubicBezTo>
                  <a:close/>
                  <a:moveTo>
                    <a:pt x="498674" y="1140466"/>
                  </a:moveTo>
                  <a:cubicBezTo>
                    <a:pt x="508629" y="1140466"/>
                    <a:pt x="516699" y="1148536"/>
                    <a:pt x="516699" y="1158490"/>
                  </a:cubicBezTo>
                  <a:cubicBezTo>
                    <a:pt x="516699" y="1168445"/>
                    <a:pt x="508629" y="1176515"/>
                    <a:pt x="498674" y="1176515"/>
                  </a:cubicBezTo>
                  <a:cubicBezTo>
                    <a:pt x="488720" y="1176515"/>
                    <a:pt x="480650" y="1168445"/>
                    <a:pt x="480650" y="1158490"/>
                  </a:cubicBezTo>
                  <a:cubicBezTo>
                    <a:pt x="480650" y="1148536"/>
                    <a:pt x="488720" y="1140466"/>
                    <a:pt x="498674" y="1140466"/>
                  </a:cubicBezTo>
                  <a:close/>
                  <a:moveTo>
                    <a:pt x="3707019" y="1134458"/>
                  </a:moveTo>
                  <a:cubicBezTo>
                    <a:pt x="3716974" y="1134458"/>
                    <a:pt x="3725044" y="1142528"/>
                    <a:pt x="3725044" y="1152482"/>
                  </a:cubicBezTo>
                  <a:cubicBezTo>
                    <a:pt x="3725044" y="1162437"/>
                    <a:pt x="3716974" y="1170507"/>
                    <a:pt x="3707019" y="1170507"/>
                  </a:cubicBezTo>
                  <a:cubicBezTo>
                    <a:pt x="3697064" y="1170507"/>
                    <a:pt x="3688994" y="1162437"/>
                    <a:pt x="3688994" y="1152482"/>
                  </a:cubicBezTo>
                  <a:cubicBezTo>
                    <a:pt x="3688994" y="1142528"/>
                    <a:pt x="3697064" y="1134458"/>
                    <a:pt x="3707019" y="1134458"/>
                  </a:cubicBezTo>
                  <a:close/>
                  <a:moveTo>
                    <a:pt x="799081" y="1134458"/>
                  </a:moveTo>
                  <a:cubicBezTo>
                    <a:pt x="809036" y="1134458"/>
                    <a:pt x="817106" y="1142528"/>
                    <a:pt x="817106" y="1152482"/>
                  </a:cubicBezTo>
                  <a:cubicBezTo>
                    <a:pt x="817106" y="1162437"/>
                    <a:pt x="809036" y="1170507"/>
                    <a:pt x="799081" y="1170507"/>
                  </a:cubicBezTo>
                  <a:cubicBezTo>
                    <a:pt x="789127" y="1170507"/>
                    <a:pt x="781057" y="1162437"/>
                    <a:pt x="781057" y="1152482"/>
                  </a:cubicBezTo>
                  <a:cubicBezTo>
                    <a:pt x="781057" y="1142528"/>
                    <a:pt x="789127" y="1134458"/>
                    <a:pt x="799081" y="1134458"/>
                  </a:cubicBezTo>
                  <a:close/>
                  <a:moveTo>
                    <a:pt x="384520" y="1134458"/>
                  </a:moveTo>
                  <a:cubicBezTo>
                    <a:pt x="394475" y="1134458"/>
                    <a:pt x="402545" y="1142528"/>
                    <a:pt x="402545" y="1152482"/>
                  </a:cubicBezTo>
                  <a:cubicBezTo>
                    <a:pt x="402545" y="1162437"/>
                    <a:pt x="394475" y="1170507"/>
                    <a:pt x="384520" y="1170507"/>
                  </a:cubicBezTo>
                  <a:cubicBezTo>
                    <a:pt x="374566" y="1170507"/>
                    <a:pt x="366496" y="1162437"/>
                    <a:pt x="366496" y="1152482"/>
                  </a:cubicBezTo>
                  <a:cubicBezTo>
                    <a:pt x="366496" y="1142528"/>
                    <a:pt x="374566" y="1134458"/>
                    <a:pt x="384520" y="1134458"/>
                  </a:cubicBezTo>
                  <a:close/>
                  <a:moveTo>
                    <a:pt x="3935328" y="1128450"/>
                  </a:moveTo>
                  <a:cubicBezTo>
                    <a:pt x="3945283" y="1128450"/>
                    <a:pt x="3953353" y="1136520"/>
                    <a:pt x="3953353" y="1146475"/>
                  </a:cubicBezTo>
                  <a:cubicBezTo>
                    <a:pt x="3953353" y="1156429"/>
                    <a:pt x="3945283" y="1164499"/>
                    <a:pt x="3935328" y="1164499"/>
                  </a:cubicBezTo>
                  <a:cubicBezTo>
                    <a:pt x="3925373" y="1164499"/>
                    <a:pt x="3917304" y="1156429"/>
                    <a:pt x="3917304" y="1146475"/>
                  </a:cubicBezTo>
                  <a:cubicBezTo>
                    <a:pt x="3917304" y="1136520"/>
                    <a:pt x="3925373" y="1128450"/>
                    <a:pt x="3935328" y="1128450"/>
                  </a:cubicBezTo>
                  <a:close/>
                  <a:moveTo>
                    <a:pt x="1514049" y="1128450"/>
                  </a:moveTo>
                  <a:cubicBezTo>
                    <a:pt x="1524004" y="1128450"/>
                    <a:pt x="1532074" y="1136520"/>
                    <a:pt x="1532074" y="1146475"/>
                  </a:cubicBezTo>
                  <a:cubicBezTo>
                    <a:pt x="1532074" y="1156429"/>
                    <a:pt x="1524004" y="1164499"/>
                    <a:pt x="1514049" y="1164499"/>
                  </a:cubicBezTo>
                  <a:cubicBezTo>
                    <a:pt x="1504095" y="1164499"/>
                    <a:pt x="1496025" y="1156429"/>
                    <a:pt x="1496025" y="1146475"/>
                  </a:cubicBezTo>
                  <a:cubicBezTo>
                    <a:pt x="1496025" y="1136520"/>
                    <a:pt x="1504095" y="1128450"/>
                    <a:pt x="1514049" y="1128450"/>
                  </a:cubicBezTo>
                  <a:close/>
                  <a:moveTo>
                    <a:pt x="4650296" y="1122442"/>
                  </a:moveTo>
                  <a:cubicBezTo>
                    <a:pt x="4660251" y="1122442"/>
                    <a:pt x="4668321" y="1130511"/>
                    <a:pt x="4668321" y="1140466"/>
                  </a:cubicBezTo>
                  <a:cubicBezTo>
                    <a:pt x="4668321" y="1150421"/>
                    <a:pt x="4660251" y="1158491"/>
                    <a:pt x="4650296" y="1158491"/>
                  </a:cubicBezTo>
                  <a:cubicBezTo>
                    <a:pt x="4640342" y="1158491"/>
                    <a:pt x="4632272" y="1150421"/>
                    <a:pt x="4632272" y="1140466"/>
                  </a:cubicBezTo>
                  <a:cubicBezTo>
                    <a:pt x="4632272" y="1130511"/>
                    <a:pt x="4640342" y="1122442"/>
                    <a:pt x="4650296" y="1122442"/>
                  </a:cubicBezTo>
                  <a:close/>
                  <a:moveTo>
                    <a:pt x="4073515" y="1122442"/>
                  </a:moveTo>
                  <a:cubicBezTo>
                    <a:pt x="4083470" y="1122442"/>
                    <a:pt x="4091540" y="1130511"/>
                    <a:pt x="4091540" y="1140466"/>
                  </a:cubicBezTo>
                  <a:cubicBezTo>
                    <a:pt x="4091540" y="1150421"/>
                    <a:pt x="4083470" y="1158491"/>
                    <a:pt x="4073515" y="1158491"/>
                  </a:cubicBezTo>
                  <a:cubicBezTo>
                    <a:pt x="4063561" y="1158491"/>
                    <a:pt x="4055491" y="1150421"/>
                    <a:pt x="4055491" y="1140466"/>
                  </a:cubicBezTo>
                  <a:cubicBezTo>
                    <a:pt x="4055491" y="1130511"/>
                    <a:pt x="4063561" y="1122442"/>
                    <a:pt x="4073515" y="1122442"/>
                  </a:cubicBezTo>
                  <a:close/>
                  <a:moveTo>
                    <a:pt x="2475351" y="1122442"/>
                  </a:moveTo>
                  <a:cubicBezTo>
                    <a:pt x="2485306" y="1122442"/>
                    <a:pt x="2493376" y="1130511"/>
                    <a:pt x="2493376" y="1140466"/>
                  </a:cubicBezTo>
                  <a:cubicBezTo>
                    <a:pt x="2493376" y="1150421"/>
                    <a:pt x="2485306" y="1158491"/>
                    <a:pt x="2475351" y="1158491"/>
                  </a:cubicBezTo>
                  <a:cubicBezTo>
                    <a:pt x="2465396" y="1158491"/>
                    <a:pt x="2457326" y="1150421"/>
                    <a:pt x="2457326" y="1140466"/>
                  </a:cubicBezTo>
                  <a:cubicBezTo>
                    <a:pt x="2457326" y="1130511"/>
                    <a:pt x="2465396" y="1122442"/>
                    <a:pt x="2475351" y="1122442"/>
                  </a:cubicBezTo>
                  <a:close/>
                  <a:moveTo>
                    <a:pt x="1393887" y="1122442"/>
                  </a:moveTo>
                  <a:cubicBezTo>
                    <a:pt x="1403842" y="1122442"/>
                    <a:pt x="1411912" y="1130511"/>
                    <a:pt x="1411912" y="1140466"/>
                  </a:cubicBezTo>
                  <a:cubicBezTo>
                    <a:pt x="1411912" y="1150421"/>
                    <a:pt x="1403842" y="1158491"/>
                    <a:pt x="1393887" y="1158491"/>
                  </a:cubicBezTo>
                  <a:cubicBezTo>
                    <a:pt x="1383933" y="1158491"/>
                    <a:pt x="1375863" y="1150421"/>
                    <a:pt x="1375863" y="1140466"/>
                  </a:cubicBezTo>
                  <a:cubicBezTo>
                    <a:pt x="1375863" y="1130511"/>
                    <a:pt x="1383933" y="1122442"/>
                    <a:pt x="1393887" y="1122442"/>
                  </a:cubicBezTo>
                  <a:close/>
                  <a:moveTo>
                    <a:pt x="3058140" y="1116434"/>
                  </a:moveTo>
                  <a:cubicBezTo>
                    <a:pt x="3068095" y="1116434"/>
                    <a:pt x="3076165" y="1124504"/>
                    <a:pt x="3076165" y="1134458"/>
                  </a:cubicBezTo>
                  <a:cubicBezTo>
                    <a:pt x="3076165" y="1144413"/>
                    <a:pt x="3068095" y="1152483"/>
                    <a:pt x="3058140" y="1152483"/>
                  </a:cubicBezTo>
                  <a:cubicBezTo>
                    <a:pt x="3048186" y="1152483"/>
                    <a:pt x="3040116" y="1144413"/>
                    <a:pt x="3040116" y="1134458"/>
                  </a:cubicBezTo>
                  <a:cubicBezTo>
                    <a:pt x="3040116" y="1124504"/>
                    <a:pt x="3048186" y="1116434"/>
                    <a:pt x="3058140" y="1116434"/>
                  </a:cubicBezTo>
                  <a:close/>
                  <a:moveTo>
                    <a:pt x="4800499" y="1092401"/>
                  </a:moveTo>
                  <a:cubicBezTo>
                    <a:pt x="4810454" y="1092401"/>
                    <a:pt x="4818524" y="1100470"/>
                    <a:pt x="4818524" y="1110425"/>
                  </a:cubicBezTo>
                  <a:cubicBezTo>
                    <a:pt x="4818524" y="1120380"/>
                    <a:pt x="4810454" y="1128450"/>
                    <a:pt x="4800499" y="1128450"/>
                  </a:cubicBezTo>
                  <a:cubicBezTo>
                    <a:pt x="4790545" y="1128450"/>
                    <a:pt x="4782475" y="1120380"/>
                    <a:pt x="4782475" y="1110425"/>
                  </a:cubicBezTo>
                  <a:cubicBezTo>
                    <a:pt x="4782475" y="1100470"/>
                    <a:pt x="4790545" y="1092401"/>
                    <a:pt x="4800499" y="1092401"/>
                  </a:cubicBezTo>
                  <a:close/>
                  <a:moveTo>
                    <a:pt x="2349180" y="1092401"/>
                  </a:moveTo>
                  <a:cubicBezTo>
                    <a:pt x="2359135" y="1092401"/>
                    <a:pt x="2367205" y="1100470"/>
                    <a:pt x="2367205" y="1110425"/>
                  </a:cubicBezTo>
                  <a:cubicBezTo>
                    <a:pt x="2367205" y="1120380"/>
                    <a:pt x="2359135" y="1128450"/>
                    <a:pt x="2349180" y="1128450"/>
                  </a:cubicBezTo>
                  <a:cubicBezTo>
                    <a:pt x="2339226" y="1128450"/>
                    <a:pt x="2331156" y="1120380"/>
                    <a:pt x="2331156" y="1110425"/>
                  </a:cubicBezTo>
                  <a:cubicBezTo>
                    <a:pt x="2331156" y="1100470"/>
                    <a:pt x="2339226" y="1092401"/>
                    <a:pt x="2349180" y="1092401"/>
                  </a:cubicBezTo>
                  <a:close/>
                  <a:moveTo>
                    <a:pt x="931260" y="1092401"/>
                  </a:moveTo>
                  <a:cubicBezTo>
                    <a:pt x="941215" y="1092401"/>
                    <a:pt x="949285" y="1100470"/>
                    <a:pt x="949285" y="1110425"/>
                  </a:cubicBezTo>
                  <a:cubicBezTo>
                    <a:pt x="949285" y="1120380"/>
                    <a:pt x="941215" y="1128450"/>
                    <a:pt x="931260" y="1128450"/>
                  </a:cubicBezTo>
                  <a:cubicBezTo>
                    <a:pt x="921306" y="1128450"/>
                    <a:pt x="913236" y="1120380"/>
                    <a:pt x="913236" y="1110425"/>
                  </a:cubicBezTo>
                  <a:cubicBezTo>
                    <a:pt x="913236" y="1100470"/>
                    <a:pt x="921306" y="1092401"/>
                    <a:pt x="931260" y="1092401"/>
                  </a:cubicBezTo>
                  <a:close/>
                  <a:moveTo>
                    <a:pt x="4986752" y="1086393"/>
                  </a:moveTo>
                  <a:cubicBezTo>
                    <a:pt x="4996707" y="1086393"/>
                    <a:pt x="5004777" y="1094463"/>
                    <a:pt x="5004777" y="1104417"/>
                  </a:cubicBezTo>
                  <a:cubicBezTo>
                    <a:pt x="5004777" y="1114372"/>
                    <a:pt x="4996707" y="1122442"/>
                    <a:pt x="4986752" y="1122442"/>
                  </a:cubicBezTo>
                  <a:cubicBezTo>
                    <a:pt x="4976797" y="1122442"/>
                    <a:pt x="4968728" y="1114372"/>
                    <a:pt x="4968728" y="1104417"/>
                  </a:cubicBezTo>
                  <a:cubicBezTo>
                    <a:pt x="4968728" y="1094463"/>
                    <a:pt x="4976797" y="1086393"/>
                    <a:pt x="4986752" y="1086393"/>
                  </a:cubicBezTo>
                  <a:close/>
                  <a:moveTo>
                    <a:pt x="3815165" y="1086393"/>
                  </a:moveTo>
                  <a:cubicBezTo>
                    <a:pt x="3825120" y="1086393"/>
                    <a:pt x="3833190" y="1094463"/>
                    <a:pt x="3833190" y="1104417"/>
                  </a:cubicBezTo>
                  <a:cubicBezTo>
                    <a:pt x="3833190" y="1114372"/>
                    <a:pt x="3825120" y="1122442"/>
                    <a:pt x="3815165" y="1122442"/>
                  </a:cubicBezTo>
                  <a:cubicBezTo>
                    <a:pt x="3805210" y="1122442"/>
                    <a:pt x="3797141" y="1114372"/>
                    <a:pt x="3797141" y="1104417"/>
                  </a:cubicBezTo>
                  <a:cubicBezTo>
                    <a:pt x="3797141" y="1094463"/>
                    <a:pt x="3805210" y="1086393"/>
                    <a:pt x="3815165" y="1086393"/>
                  </a:cubicBezTo>
                  <a:close/>
                  <a:moveTo>
                    <a:pt x="3586856" y="1086393"/>
                  </a:moveTo>
                  <a:cubicBezTo>
                    <a:pt x="3596811" y="1086393"/>
                    <a:pt x="3604881" y="1094463"/>
                    <a:pt x="3604881" y="1104417"/>
                  </a:cubicBezTo>
                  <a:cubicBezTo>
                    <a:pt x="3604881" y="1114372"/>
                    <a:pt x="3596811" y="1122442"/>
                    <a:pt x="3586856" y="1122442"/>
                  </a:cubicBezTo>
                  <a:cubicBezTo>
                    <a:pt x="3576901" y="1122442"/>
                    <a:pt x="3568831" y="1114372"/>
                    <a:pt x="3568831" y="1104417"/>
                  </a:cubicBezTo>
                  <a:cubicBezTo>
                    <a:pt x="3568831" y="1094463"/>
                    <a:pt x="3576901" y="1086393"/>
                    <a:pt x="3586856" y="1086393"/>
                  </a:cubicBezTo>
                  <a:close/>
                  <a:moveTo>
                    <a:pt x="3166287" y="1086393"/>
                  </a:moveTo>
                  <a:cubicBezTo>
                    <a:pt x="3176242" y="1086393"/>
                    <a:pt x="3184312" y="1094463"/>
                    <a:pt x="3184312" y="1104417"/>
                  </a:cubicBezTo>
                  <a:cubicBezTo>
                    <a:pt x="3184312" y="1114372"/>
                    <a:pt x="3176242" y="1122442"/>
                    <a:pt x="3166287" y="1122442"/>
                  </a:cubicBezTo>
                  <a:cubicBezTo>
                    <a:pt x="3156332" y="1122442"/>
                    <a:pt x="3148262" y="1114372"/>
                    <a:pt x="3148262" y="1104417"/>
                  </a:cubicBezTo>
                  <a:cubicBezTo>
                    <a:pt x="3148262" y="1094463"/>
                    <a:pt x="3156332" y="1086393"/>
                    <a:pt x="3166287" y="1086393"/>
                  </a:cubicBezTo>
                  <a:close/>
                  <a:moveTo>
                    <a:pt x="2595514" y="1086393"/>
                  </a:moveTo>
                  <a:cubicBezTo>
                    <a:pt x="2605469" y="1086393"/>
                    <a:pt x="2613539" y="1094463"/>
                    <a:pt x="2613539" y="1104417"/>
                  </a:cubicBezTo>
                  <a:cubicBezTo>
                    <a:pt x="2613539" y="1114372"/>
                    <a:pt x="2605469" y="1122442"/>
                    <a:pt x="2595514" y="1122442"/>
                  </a:cubicBezTo>
                  <a:cubicBezTo>
                    <a:pt x="2585559" y="1122442"/>
                    <a:pt x="2577489" y="1114372"/>
                    <a:pt x="2577489" y="1104417"/>
                  </a:cubicBezTo>
                  <a:cubicBezTo>
                    <a:pt x="2577489" y="1094463"/>
                    <a:pt x="2585559" y="1086393"/>
                    <a:pt x="2595514" y="1086393"/>
                  </a:cubicBezTo>
                  <a:close/>
                  <a:moveTo>
                    <a:pt x="1628204" y="1074377"/>
                  </a:moveTo>
                  <a:cubicBezTo>
                    <a:pt x="1638159" y="1074377"/>
                    <a:pt x="1646229" y="1082447"/>
                    <a:pt x="1646229" y="1092401"/>
                  </a:cubicBezTo>
                  <a:cubicBezTo>
                    <a:pt x="1646229" y="1102356"/>
                    <a:pt x="1638159" y="1110426"/>
                    <a:pt x="1628204" y="1110426"/>
                  </a:cubicBezTo>
                  <a:cubicBezTo>
                    <a:pt x="1618250" y="1110426"/>
                    <a:pt x="1610180" y="1102356"/>
                    <a:pt x="1610180" y="1092401"/>
                  </a:cubicBezTo>
                  <a:cubicBezTo>
                    <a:pt x="1610180" y="1082447"/>
                    <a:pt x="1618250" y="1074377"/>
                    <a:pt x="1628204" y="1074377"/>
                  </a:cubicBezTo>
                  <a:close/>
                  <a:moveTo>
                    <a:pt x="642870" y="1074377"/>
                  </a:moveTo>
                  <a:cubicBezTo>
                    <a:pt x="652825" y="1074377"/>
                    <a:pt x="660895" y="1082447"/>
                    <a:pt x="660895" y="1092401"/>
                  </a:cubicBezTo>
                  <a:cubicBezTo>
                    <a:pt x="660895" y="1102356"/>
                    <a:pt x="652825" y="1110426"/>
                    <a:pt x="642870" y="1110426"/>
                  </a:cubicBezTo>
                  <a:cubicBezTo>
                    <a:pt x="632916" y="1110426"/>
                    <a:pt x="624846" y="1102356"/>
                    <a:pt x="624846" y="1092401"/>
                  </a:cubicBezTo>
                  <a:cubicBezTo>
                    <a:pt x="624846" y="1082447"/>
                    <a:pt x="632916" y="1074377"/>
                    <a:pt x="642870" y="1074377"/>
                  </a:cubicBezTo>
                  <a:close/>
                  <a:moveTo>
                    <a:pt x="2925961" y="1068369"/>
                  </a:moveTo>
                  <a:cubicBezTo>
                    <a:pt x="2935916" y="1068369"/>
                    <a:pt x="2943986" y="1076439"/>
                    <a:pt x="2943986" y="1086394"/>
                  </a:cubicBezTo>
                  <a:cubicBezTo>
                    <a:pt x="2943986" y="1096348"/>
                    <a:pt x="2935916" y="1104418"/>
                    <a:pt x="2925961" y="1104418"/>
                  </a:cubicBezTo>
                  <a:cubicBezTo>
                    <a:pt x="2916006" y="1104418"/>
                    <a:pt x="2907936" y="1096348"/>
                    <a:pt x="2907936" y="1086394"/>
                  </a:cubicBezTo>
                  <a:cubicBezTo>
                    <a:pt x="2907936" y="1076439"/>
                    <a:pt x="2916006" y="1068369"/>
                    <a:pt x="2925961" y="1068369"/>
                  </a:cubicBezTo>
                  <a:close/>
                  <a:moveTo>
                    <a:pt x="3424636" y="1062360"/>
                  </a:moveTo>
                  <a:cubicBezTo>
                    <a:pt x="3434591" y="1062360"/>
                    <a:pt x="3442661" y="1070429"/>
                    <a:pt x="3442661" y="1080384"/>
                  </a:cubicBezTo>
                  <a:cubicBezTo>
                    <a:pt x="3442661" y="1090339"/>
                    <a:pt x="3434591" y="1098409"/>
                    <a:pt x="3424636" y="1098409"/>
                  </a:cubicBezTo>
                  <a:cubicBezTo>
                    <a:pt x="3414681" y="1098409"/>
                    <a:pt x="3406612" y="1090339"/>
                    <a:pt x="3406612" y="1080384"/>
                  </a:cubicBezTo>
                  <a:cubicBezTo>
                    <a:pt x="3406612" y="1070429"/>
                    <a:pt x="3414681" y="1062360"/>
                    <a:pt x="3424636" y="1062360"/>
                  </a:cubicBezTo>
                  <a:close/>
                  <a:moveTo>
                    <a:pt x="1249691" y="1062360"/>
                  </a:moveTo>
                  <a:cubicBezTo>
                    <a:pt x="1259646" y="1062360"/>
                    <a:pt x="1267716" y="1070429"/>
                    <a:pt x="1267716" y="1080384"/>
                  </a:cubicBezTo>
                  <a:cubicBezTo>
                    <a:pt x="1267716" y="1090339"/>
                    <a:pt x="1259646" y="1098409"/>
                    <a:pt x="1249691" y="1098409"/>
                  </a:cubicBezTo>
                  <a:cubicBezTo>
                    <a:pt x="1239737" y="1098409"/>
                    <a:pt x="1231667" y="1090339"/>
                    <a:pt x="1231667" y="1080384"/>
                  </a:cubicBezTo>
                  <a:cubicBezTo>
                    <a:pt x="1231667" y="1070429"/>
                    <a:pt x="1239737" y="1062360"/>
                    <a:pt x="1249691" y="1062360"/>
                  </a:cubicBezTo>
                  <a:close/>
                  <a:moveTo>
                    <a:pt x="1075456" y="1062360"/>
                  </a:moveTo>
                  <a:cubicBezTo>
                    <a:pt x="1085410" y="1062360"/>
                    <a:pt x="1093480" y="1070429"/>
                    <a:pt x="1093480" y="1080384"/>
                  </a:cubicBezTo>
                  <a:cubicBezTo>
                    <a:pt x="1093480" y="1090339"/>
                    <a:pt x="1085410" y="1098409"/>
                    <a:pt x="1075456" y="1098409"/>
                  </a:cubicBezTo>
                  <a:cubicBezTo>
                    <a:pt x="1065501" y="1098409"/>
                    <a:pt x="1057431" y="1090339"/>
                    <a:pt x="1057431" y="1080384"/>
                  </a:cubicBezTo>
                  <a:cubicBezTo>
                    <a:pt x="1057431" y="1070429"/>
                    <a:pt x="1065501" y="1062360"/>
                    <a:pt x="1075456" y="1062360"/>
                  </a:cubicBezTo>
                  <a:close/>
                  <a:moveTo>
                    <a:pt x="1928611" y="1056352"/>
                  </a:moveTo>
                  <a:cubicBezTo>
                    <a:pt x="1938566" y="1056352"/>
                    <a:pt x="1946636" y="1064422"/>
                    <a:pt x="1946636" y="1074376"/>
                  </a:cubicBezTo>
                  <a:cubicBezTo>
                    <a:pt x="1946636" y="1084331"/>
                    <a:pt x="1938566" y="1092401"/>
                    <a:pt x="1928611" y="1092401"/>
                  </a:cubicBezTo>
                  <a:cubicBezTo>
                    <a:pt x="1918657" y="1092401"/>
                    <a:pt x="1910587" y="1084331"/>
                    <a:pt x="1910587" y="1074376"/>
                  </a:cubicBezTo>
                  <a:cubicBezTo>
                    <a:pt x="1910587" y="1064422"/>
                    <a:pt x="1918657" y="1056352"/>
                    <a:pt x="1928611" y="1056352"/>
                  </a:cubicBezTo>
                  <a:close/>
                  <a:moveTo>
                    <a:pt x="2709668" y="1044336"/>
                  </a:moveTo>
                  <a:cubicBezTo>
                    <a:pt x="2719623" y="1044336"/>
                    <a:pt x="2727693" y="1052406"/>
                    <a:pt x="2727693" y="1062360"/>
                  </a:cubicBezTo>
                  <a:cubicBezTo>
                    <a:pt x="2727693" y="1072315"/>
                    <a:pt x="2719623" y="1080385"/>
                    <a:pt x="2709668" y="1080385"/>
                  </a:cubicBezTo>
                  <a:cubicBezTo>
                    <a:pt x="2699713" y="1080385"/>
                    <a:pt x="2691644" y="1072315"/>
                    <a:pt x="2691644" y="1062360"/>
                  </a:cubicBezTo>
                  <a:cubicBezTo>
                    <a:pt x="2691644" y="1052406"/>
                    <a:pt x="2699713" y="1044336"/>
                    <a:pt x="2709668" y="1044336"/>
                  </a:cubicBezTo>
                  <a:close/>
                  <a:moveTo>
                    <a:pt x="1784415" y="1044336"/>
                  </a:moveTo>
                  <a:cubicBezTo>
                    <a:pt x="1794370" y="1044336"/>
                    <a:pt x="1802440" y="1052406"/>
                    <a:pt x="1802440" y="1062360"/>
                  </a:cubicBezTo>
                  <a:cubicBezTo>
                    <a:pt x="1802440" y="1072315"/>
                    <a:pt x="1794370" y="1080385"/>
                    <a:pt x="1784415" y="1080385"/>
                  </a:cubicBezTo>
                  <a:cubicBezTo>
                    <a:pt x="1774461" y="1080385"/>
                    <a:pt x="1766391" y="1072315"/>
                    <a:pt x="1766391" y="1062360"/>
                  </a:cubicBezTo>
                  <a:cubicBezTo>
                    <a:pt x="1766391" y="1052406"/>
                    <a:pt x="1774461" y="1044336"/>
                    <a:pt x="1784415" y="1044336"/>
                  </a:cubicBezTo>
                  <a:close/>
                  <a:moveTo>
                    <a:pt x="3292457" y="1038328"/>
                  </a:moveTo>
                  <a:cubicBezTo>
                    <a:pt x="3302412" y="1038328"/>
                    <a:pt x="3310482" y="1046398"/>
                    <a:pt x="3310482" y="1056353"/>
                  </a:cubicBezTo>
                  <a:cubicBezTo>
                    <a:pt x="3310482" y="1066307"/>
                    <a:pt x="3302412" y="1074377"/>
                    <a:pt x="3292457" y="1074377"/>
                  </a:cubicBezTo>
                  <a:cubicBezTo>
                    <a:pt x="3282503" y="1074377"/>
                    <a:pt x="3274433" y="1066307"/>
                    <a:pt x="3274433" y="1056353"/>
                  </a:cubicBezTo>
                  <a:cubicBezTo>
                    <a:pt x="3274433" y="1046398"/>
                    <a:pt x="3282503" y="1038328"/>
                    <a:pt x="3292457" y="1038328"/>
                  </a:cubicBezTo>
                  <a:close/>
                  <a:moveTo>
                    <a:pt x="2198977" y="1038328"/>
                  </a:moveTo>
                  <a:cubicBezTo>
                    <a:pt x="2208932" y="1038328"/>
                    <a:pt x="2217002" y="1046398"/>
                    <a:pt x="2217002" y="1056353"/>
                  </a:cubicBezTo>
                  <a:cubicBezTo>
                    <a:pt x="2217002" y="1066307"/>
                    <a:pt x="2208932" y="1074377"/>
                    <a:pt x="2198977" y="1074377"/>
                  </a:cubicBezTo>
                  <a:cubicBezTo>
                    <a:pt x="2189023" y="1074377"/>
                    <a:pt x="2180953" y="1066307"/>
                    <a:pt x="2180953" y="1056353"/>
                  </a:cubicBezTo>
                  <a:cubicBezTo>
                    <a:pt x="2180953" y="1046398"/>
                    <a:pt x="2189023" y="1038328"/>
                    <a:pt x="2198977" y="1038328"/>
                  </a:cubicBezTo>
                  <a:close/>
                  <a:moveTo>
                    <a:pt x="2078814" y="1032320"/>
                  </a:moveTo>
                  <a:cubicBezTo>
                    <a:pt x="2088769" y="1032320"/>
                    <a:pt x="2096839" y="1040389"/>
                    <a:pt x="2096839" y="1050344"/>
                  </a:cubicBezTo>
                  <a:cubicBezTo>
                    <a:pt x="2096839" y="1060299"/>
                    <a:pt x="2088769" y="1068369"/>
                    <a:pt x="2078814" y="1068369"/>
                  </a:cubicBezTo>
                  <a:cubicBezTo>
                    <a:pt x="2068860" y="1068369"/>
                    <a:pt x="2060790" y="1060299"/>
                    <a:pt x="2060790" y="1050344"/>
                  </a:cubicBezTo>
                  <a:cubicBezTo>
                    <a:pt x="2060790" y="1040389"/>
                    <a:pt x="2068860" y="1032320"/>
                    <a:pt x="2078814" y="1032320"/>
                  </a:cubicBezTo>
                  <a:close/>
                  <a:moveTo>
                    <a:pt x="3983393" y="1026312"/>
                  </a:moveTo>
                  <a:cubicBezTo>
                    <a:pt x="3993348" y="1026312"/>
                    <a:pt x="4001418" y="1034382"/>
                    <a:pt x="4001418" y="1044336"/>
                  </a:cubicBezTo>
                  <a:cubicBezTo>
                    <a:pt x="4001418" y="1054291"/>
                    <a:pt x="3993348" y="1062361"/>
                    <a:pt x="3983393" y="1062361"/>
                  </a:cubicBezTo>
                  <a:cubicBezTo>
                    <a:pt x="3973439" y="1062361"/>
                    <a:pt x="3965369" y="1054291"/>
                    <a:pt x="3965369" y="1044336"/>
                  </a:cubicBezTo>
                  <a:cubicBezTo>
                    <a:pt x="3965369" y="1034382"/>
                    <a:pt x="3973439" y="1026312"/>
                    <a:pt x="3983393" y="1026312"/>
                  </a:cubicBezTo>
                  <a:close/>
                  <a:moveTo>
                    <a:pt x="817106" y="1020304"/>
                  </a:moveTo>
                  <a:cubicBezTo>
                    <a:pt x="823743" y="1020304"/>
                    <a:pt x="829123" y="1025684"/>
                    <a:pt x="829123" y="1032320"/>
                  </a:cubicBezTo>
                  <a:cubicBezTo>
                    <a:pt x="829123" y="1038957"/>
                    <a:pt x="823743" y="1044336"/>
                    <a:pt x="817106" y="1044336"/>
                  </a:cubicBezTo>
                  <a:cubicBezTo>
                    <a:pt x="810470" y="1044336"/>
                    <a:pt x="805090" y="1038956"/>
                    <a:pt x="805090" y="1032320"/>
                  </a:cubicBezTo>
                  <a:cubicBezTo>
                    <a:pt x="805090" y="1025684"/>
                    <a:pt x="810470" y="1020304"/>
                    <a:pt x="817106" y="1020304"/>
                  </a:cubicBezTo>
                  <a:close/>
                  <a:moveTo>
                    <a:pt x="2817815" y="1014295"/>
                  </a:moveTo>
                  <a:cubicBezTo>
                    <a:pt x="2827770" y="1014295"/>
                    <a:pt x="2835840" y="1022365"/>
                    <a:pt x="2835840" y="1032319"/>
                  </a:cubicBezTo>
                  <a:cubicBezTo>
                    <a:pt x="2835840" y="1042274"/>
                    <a:pt x="2827770" y="1050344"/>
                    <a:pt x="2817815" y="1050344"/>
                  </a:cubicBezTo>
                  <a:cubicBezTo>
                    <a:pt x="2807861" y="1050344"/>
                    <a:pt x="2799791" y="1042274"/>
                    <a:pt x="2799791" y="1032319"/>
                  </a:cubicBezTo>
                  <a:cubicBezTo>
                    <a:pt x="2799791" y="1022365"/>
                    <a:pt x="2807861" y="1014295"/>
                    <a:pt x="2817815" y="1014295"/>
                  </a:cubicBezTo>
                  <a:close/>
                  <a:moveTo>
                    <a:pt x="2445310" y="1014295"/>
                  </a:moveTo>
                  <a:cubicBezTo>
                    <a:pt x="2455265" y="1014295"/>
                    <a:pt x="2463335" y="1022365"/>
                    <a:pt x="2463335" y="1032319"/>
                  </a:cubicBezTo>
                  <a:cubicBezTo>
                    <a:pt x="2463335" y="1042274"/>
                    <a:pt x="2455265" y="1050344"/>
                    <a:pt x="2445310" y="1050344"/>
                  </a:cubicBezTo>
                  <a:cubicBezTo>
                    <a:pt x="2435355" y="1050344"/>
                    <a:pt x="2427285" y="1042274"/>
                    <a:pt x="2427285" y="1032319"/>
                  </a:cubicBezTo>
                  <a:cubicBezTo>
                    <a:pt x="2427285" y="1022365"/>
                    <a:pt x="2435355" y="1014295"/>
                    <a:pt x="2445310" y="1014295"/>
                  </a:cubicBezTo>
                  <a:close/>
                  <a:moveTo>
                    <a:pt x="420569" y="1014295"/>
                  </a:moveTo>
                  <a:cubicBezTo>
                    <a:pt x="430524" y="1014295"/>
                    <a:pt x="438594" y="1022365"/>
                    <a:pt x="438594" y="1032319"/>
                  </a:cubicBezTo>
                  <a:cubicBezTo>
                    <a:pt x="438594" y="1042274"/>
                    <a:pt x="430524" y="1050344"/>
                    <a:pt x="420569" y="1050344"/>
                  </a:cubicBezTo>
                  <a:cubicBezTo>
                    <a:pt x="410615" y="1050344"/>
                    <a:pt x="402545" y="1042274"/>
                    <a:pt x="402545" y="1032319"/>
                  </a:cubicBezTo>
                  <a:cubicBezTo>
                    <a:pt x="402545" y="1022365"/>
                    <a:pt x="410615" y="1014295"/>
                    <a:pt x="420569" y="1014295"/>
                  </a:cubicBezTo>
                  <a:close/>
                  <a:moveTo>
                    <a:pt x="1520057" y="1008287"/>
                  </a:moveTo>
                  <a:cubicBezTo>
                    <a:pt x="1530012" y="1008287"/>
                    <a:pt x="1538082" y="1016357"/>
                    <a:pt x="1538082" y="1026312"/>
                  </a:cubicBezTo>
                  <a:cubicBezTo>
                    <a:pt x="1538082" y="1036266"/>
                    <a:pt x="1530012" y="1044336"/>
                    <a:pt x="1520057" y="1044336"/>
                  </a:cubicBezTo>
                  <a:cubicBezTo>
                    <a:pt x="1510103" y="1044336"/>
                    <a:pt x="1502033" y="1036266"/>
                    <a:pt x="1502033" y="1026312"/>
                  </a:cubicBezTo>
                  <a:cubicBezTo>
                    <a:pt x="1502033" y="1016357"/>
                    <a:pt x="1510103" y="1008287"/>
                    <a:pt x="1520057" y="1008287"/>
                  </a:cubicBezTo>
                  <a:close/>
                  <a:moveTo>
                    <a:pt x="1387878" y="1008287"/>
                  </a:moveTo>
                  <a:cubicBezTo>
                    <a:pt x="1397833" y="1008287"/>
                    <a:pt x="1405903" y="1016357"/>
                    <a:pt x="1405903" y="1026312"/>
                  </a:cubicBezTo>
                  <a:cubicBezTo>
                    <a:pt x="1405903" y="1036266"/>
                    <a:pt x="1397833" y="1044336"/>
                    <a:pt x="1387878" y="1044336"/>
                  </a:cubicBezTo>
                  <a:cubicBezTo>
                    <a:pt x="1377924" y="1044336"/>
                    <a:pt x="1369854" y="1036266"/>
                    <a:pt x="1369854" y="1026312"/>
                  </a:cubicBezTo>
                  <a:cubicBezTo>
                    <a:pt x="1369854" y="1016357"/>
                    <a:pt x="1377924" y="1008287"/>
                    <a:pt x="1387878" y="1008287"/>
                  </a:cubicBezTo>
                  <a:close/>
                  <a:moveTo>
                    <a:pt x="534724" y="1008287"/>
                  </a:moveTo>
                  <a:cubicBezTo>
                    <a:pt x="544678" y="1008287"/>
                    <a:pt x="552748" y="1016357"/>
                    <a:pt x="552748" y="1026312"/>
                  </a:cubicBezTo>
                  <a:cubicBezTo>
                    <a:pt x="552748" y="1036266"/>
                    <a:pt x="544678" y="1044336"/>
                    <a:pt x="534724" y="1044336"/>
                  </a:cubicBezTo>
                  <a:cubicBezTo>
                    <a:pt x="524769" y="1044336"/>
                    <a:pt x="516699" y="1036266"/>
                    <a:pt x="516699" y="1026312"/>
                  </a:cubicBezTo>
                  <a:cubicBezTo>
                    <a:pt x="516699" y="1016357"/>
                    <a:pt x="524769" y="1008287"/>
                    <a:pt x="534724" y="1008287"/>
                  </a:cubicBezTo>
                  <a:close/>
                  <a:moveTo>
                    <a:pt x="3016083" y="1002279"/>
                  </a:moveTo>
                  <a:cubicBezTo>
                    <a:pt x="3026038" y="1002279"/>
                    <a:pt x="3034108" y="1010348"/>
                    <a:pt x="3034108" y="1020303"/>
                  </a:cubicBezTo>
                  <a:cubicBezTo>
                    <a:pt x="3034108" y="1030258"/>
                    <a:pt x="3026038" y="1038328"/>
                    <a:pt x="3016083" y="1038328"/>
                  </a:cubicBezTo>
                  <a:cubicBezTo>
                    <a:pt x="3006128" y="1038328"/>
                    <a:pt x="2998058" y="1030258"/>
                    <a:pt x="2998058" y="1020303"/>
                  </a:cubicBezTo>
                  <a:cubicBezTo>
                    <a:pt x="2998058" y="1010348"/>
                    <a:pt x="3006128" y="1002279"/>
                    <a:pt x="3016083" y="1002279"/>
                  </a:cubicBezTo>
                  <a:close/>
                  <a:moveTo>
                    <a:pt x="294398" y="996271"/>
                  </a:moveTo>
                  <a:cubicBezTo>
                    <a:pt x="304353" y="996271"/>
                    <a:pt x="312423" y="1004341"/>
                    <a:pt x="312423" y="1014295"/>
                  </a:cubicBezTo>
                  <a:cubicBezTo>
                    <a:pt x="312423" y="1024250"/>
                    <a:pt x="304353" y="1032320"/>
                    <a:pt x="294398" y="1032320"/>
                  </a:cubicBezTo>
                  <a:cubicBezTo>
                    <a:pt x="284444" y="1032320"/>
                    <a:pt x="276374" y="1024250"/>
                    <a:pt x="276374" y="1014295"/>
                  </a:cubicBezTo>
                  <a:cubicBezTo>
                    <a:pt x="276374" y="1004341"/>
                    <a:pt x="284444" y="996271"/>
                    <a:pt x="294398" y="996271"/>
                  </a:cubicBezTo>
                  <a:close/>
                  <a:moveTo>
                    <a:pt x="3676978" y="990263"/>
                  </a:moveTo>
                  <a:cubicBezTo>
                    <a:pt x="3686933" y="990263"/>
                    <a:pt x="3695003" y="998333"/>
                    <a:pt x="3695003" y="1008287"/>
                  </a:cubicBezTo>
                  <a:cubicBezTo>
                    <a:pt x="3695003" y="1018242"/>
                    <a:pt x="3686933" y="1026312"/>
                    <a:pt x="3676978" y="1026312"/>
                  </a:cubicBezTo>
                  <a:cubicBezTo>
                    <a:pt x="3667023" y="1026312"/>
                    <a:pt x="3658953" y="1018242"/>
                    <a:pt x="3658953" y="1008287"/>
                  </a:cubicBezTo>
                  <a:cubicBezTo>
                    <a:pt x="3658953" y="998333"/>
                    <a:pt x="3667023" y="990263"/>
                    <a:pt x="3676978" y="990263"/>
                  </a:cubicBezTo>
                  <a:close/>
                  <a:moveTo>
                    <a:pt x="3544799" y="984255"/>
                  </a:moveTo>
                  <a:cubicBezTo>
                    <a:pt x="3554754" y="984255"/>
                    <a:pt x="3562824" y="992325"/>
                    <a:pt x="3562824" y="1002279"/>
                  </a:cubicBezTo>
                  <a:cubicBezTo>
                    <a:pt x="3562824" y="1012234"/>
                    <a:pt x="3554754" y="1020304"/>
                    <a:pt x="3544799" y="1020304"/>
                  </a:cubicBezTo>
                  <a:cubicBezTo>
                    <a:pt x="3534844" y="1020304"/>
                    <a:pt x="3526775" y="1012234"/>
                    <a:pt x="3526775" y="1002279"/>
                  </a:cubicBezTo>
                  <a:cubicBezTo>
                    <a:pt x="3526775" y="992325"/>
                    <a:pt x="3534844" y="984255"/>
                    <a:pt x="3544799" y="984255"/>
                  </a:cubicBezTo>
                  <a:close/>
                  <a:moveTo>
                    <a:pt x="708959" y="984255"/>
                  </a:moveTo>
                  <a:cubicBezTo>
                    <a:pt x="718914" y="984255"/>
                    <a:pt x="726984" y="992325"/>
                    <a:pt x="726984" y="1002279"/>
                  </a:cubicBezTo>
                  <a:cubicBezTo>
                    <a:pt x="726984" y="1012234"/>
                    <a:pt x="718914" y="1020304"/>
                    <a:pt x="708959" y="1020304"/>
                  </a:cubicBezTo>
                  <a:cubicBezTo>
                    <a:pt x="699005" y="1020304"/>
                    <a:pt x="690935" y="1012234"/>
                    <a:pt x="690935" y="1002279"/>
                  </a:cubicBezTo>
                  <a:cubicBezTo>
                    <a:pt x="690935" y="992325"/>
                    <a:pt x="699005" y="984255"/>
                    <a:pt x="708959" y="984255"/>
                  </a:cubicBezTo>
                  <a:close/>
                  <a:moveTo>
                    <a:pt x="3803149" y="978247"/>
                  </a:moveTo>
                  <a:cubicBezTo>
                    <a:pt x="3813104" y="978247"/>
                    <a:pt x="3821174" y="986317"/>
                    <a:pt x="3821174" y="996272"/>
                  </a:cubicBezTo>
                  <a:cubicBezTo>
                    <a:pt x="3821174" y="1006226"/>
                    <a:pt x="3813104" y="1014296"/>
                    <a:pt x="3803149" y="1014296"/>
                  </a:cubicBezTo>
                  <a:cubicBezTo>
                    <a:pt x="3793195" y="1014296"/>
                    <a:pt x="3785125" y="1006226"/>
                    <a:pt x="3785125" y="996272"/>
                  </a:cubicBezTo>
                  <a:cubicBezTo>
                    <a:pt x="3785125" y="986317"/>
                    <a:pt x="3793195" y="978247"/>
                    <a:pt x="3803149" y="978247"/>
                  </a:cubicBezTo>
                  <a:close/>
                  <a:moveTo>
                    <a:pt x="1003358" y="978247"/>
                  </a:moveTo>
                  <a:cubicBezTo>
                    <a:pt x="1013313" y="978247"/>
                    <a:pt x="1021383" y="986317"/>
                    <a:pt x="1021383" y="996272"/>
                  </a:cubicBezTo>
                  <a:cubicBezTo>
                    <a:pt x="1021383" y="1006226"/>
                    <a:pt x="1013313" y="1014296"/>
                    <a:pt x="1003358" y="1014296"/>
                  </a:cubicBezTo>
                  <a:cubicBezTo>
                    <a:pt x="993404" y="1014296"/>
                    <a:pt x="985334" y="1006226"/>
                    <a:pt x="985334" y="996272"/>
                  </a:cubicBezTo>
                  <a:cubicBezTo>
                    <a:pt x="985334" y="986317"/>
                    <a:pt x="993404" y="978247"/>
                    <a:pt x="1003358" y="978247"/>
                  </a:cubicBezTo>
                  <a:close/>
                  <a:moveTo>
                    <a:pt x="3196327" y="972238"/>
                  </a:moveTo>
                  <a:cubicBezTo>
                    <a:pt x="3206282" y="972238"/>
                    <a:pt x="3214352" y="980307"/>
                    <a:pt x="3214352" y="990262"/>
                  </a:cubicBezTo>
                  <a:cubicBezTo>
                    <a:pt x="3214352" y="1000217"/>
                    <a:pt x="3206282" y="1008287"/>
                    <a:pt x="3196327" y="1008287"/>
                  </a:cubicBezTo>
                  <a:cubicBezTo>
                    <a:pt x="3186372" y="1008287"/>
                    <a:pt x="3178302" y="1000217"/>
                    <a:pt x="3178302" y="990262"/>
                  </a:cubicBezTo>
                  <a:cubicBezTo>
                    <a:pt x="3178302" y="980307"/>
                    <a:pt x="3186372" y="972238"/>
                    <a:pt x="3196327" y="972238"/>
                  </a:cubicBezTo>
                  <a:close/>
                  <a:moveTo>
                    <a:pt x="1183602" y="972238"/>
                  </a:moveTo>
                  <a:cubicBezTo>
                    <a:pt x="1193557" y="972238"/>
                    <a:pt x="1201627" y="980307"/>
                    <a:pt x="1201627" y="990262"/>
                  </a:cubicBezTo>
                  <a:cubicBezTo>
                    <a:pt x="1201627" y="1000217"/>
                    <a:pt x="1193557" y="1008287"/>
                    <a:pt x="1183602" y="1008287"/>
                  </a:cubicBezTo>
                  <a:cubicBezTo>
                    <a:pt x="1173648" y="1008287"/>
                    <a:pt x="1165578" y="1000217"/>
                    <a:pt x="1165578" y="990262"/>
                  </a:cubicBezTo>
                  <a:cubicBezTo>
                    <a:pt x="1165578" y="980307"/>
                    <a:pt x="1173648" y="972238"/>
                    <a:pt x="1183602" y="972238"/>
                  </a:cubicBezTo>
                  <a:close/>
                  <a:moveTo>
                    <a:pt x="2271074" y="960222"/>
                  </a:moveTo>
                  <a:cubicBezTo>
                    <a:pt x="2281029" y="960222"/>
                    <a:pt x="2289099" y="968292"/>
                    <a:pt x="2289099" y="978246"/>
                  </a:cubicBezTo>
                  <a:cubicBezTo>
                    <a:pt x="2289099" y="988201"/>
                    <a:pt x="2281029" y="996271"/>
                    <a:pt x="2271074" y="996271"/>
                  </a:cubicBezTo>
                  <a:cubicBezTo>
                    <a:pt x="2261120" y="996271"/>
                    <a:pt x="2253050" y="988201"/>
                    <a:pt x="2253050" y="978246"/>
                  </a:cubicBezTo>
                  <a:cubicBezTo>
                    <a:pt x="2253050" y="968292"/>
                    <a:pt x="2261120" y="960222"/>
                    <a:pt x="2271074" y="960222"/>
                  </a:cubicBezTo>
                  <a:close/>
                  <a:moveTo>
                    <a:pt x="1658245" y="960222"/>
                  </a:moveTo>
                  <a:cubicBezTo>
                    <a:pt x="1668200" y="960222"/>
                    <a:pt x="1676270" y="968292"/>
                    <a:pt x="1676270" y="978246"/>
                  </a:cubicBezTo>
                  <a:cubicBezTo>
                    <a:pt x="1676270" y="988201"/>
                    <a:pt x="1668200" y="996271"/>
                    <a:pt x="1658245" y="996271"/>
                  </a:cubicBezTo>
                  <a:cubicBezTo>
                    <a:pt x="1648291" y="996271"/>
                    <a:pt x="1640221" y="988201"/>
                    <a:pt x="1640221" y="978246"/>
                  </a:cubicBezTo>
                  <a:cubicBezTo>
                    <a:pt x="1640221" y="968292"/>
                    <a:pt x="1648291" y="960222"/>
                    <a:pt x="1658245" y="960222"/>
                  </a:cubicBezTo>
                  <a:close/>
                  <a:moveTo>
                    <a:pt x="1958651" y="954214"/>
                  </a:moveTo>
                  <a:cubicBezTo>
                    <a:pt x="1968606" y="954214"/>
                    <a:pt x="1976676" y="962284"/>
                    <a:pt x="1976676" y="972238"/>
                  </a:cubicBezTo>
                  <a:cubicBezTo>
                    <a:pt x="1976676" y="982193"/>
                    <a:pt x="1968606" y="990263"/>
                    <a:pt x="1958651" y="990263"/>
                  </a:cubicBezTo>
                  <a:cubicBezTo>
                    <a:pt x="1948697" y="990263"/>
                    <a:pt x="1940627" y="982193"/>
                    <a:pt x="1940627" y="972238"/>
                  </a:cubicBezTo>
                  <a:cubicBezTo>
                    <a:pt x="1940627" y="962284"/>
                    <a:pt x="1948697" y="954214"/>
                    <a:pt x="1958651" y="954214"/>
                  </a:cubicBezTo>
                  <a:close/>
                  <a:moveTo>
                    <a:pt x="2631562" y="948206"/>
                  </a:moveTo>
                  <a:cubicBezTo>
                    <a:pt x="2641517" y="948206"/>
                    <a:pt x="2649587" y="956276"/>
                    <a:pt x="2649587" y="966231"/>
                  </a:cubicBezTo>
                  <a:cubicBezTo>
                    <a:pt x="2649587" y="976185"/>
                    <a:pt x="2641517" y="984255"/>
                    <a:pt x="2631562" y="984255"/>
                  </a:cubicBezTo>
                  <a:cubicBezTo>
                    <a:pt x="2621608" y="984255"/>
                    <a:pt x="2613538" y="976185"/>
                    <a:pt x="2613538" y="966231"/>
                  </a:cubicBezTo>
                  <a:cubicBezTo>
                    <a:pt x="2613538" y="956276"/>
                    <a:pt x="2621608" y="948206"/>
                    <a:pt x="2631562" y="948206"/>
                  </a:cubicBezTo>
                  <a:close/>
                  <a:moveTo>
                    <a:pt x="1838489" y="948206"/>
                  </a:moveTo>
                  <a:cubicBezTo>
                    <a:pt x="1848444" y="948206"/>
                    <a:pt x="1856514" y="956276"/>
                    <a:pt x="1856514" y="966231"/>
                  </a:cubicBezTo>
                  <a:cubicBezTo>
                    <a:pt x="1856514" y="976185"/>
                    <a:pt x="1848444" y="984255"/>
                    <a:pt x="1838489" y="984255"/>
                  </a:cubicBezTo>
                  <a:cubicBezTo>
                    <a:pt x="1828535" y="984255"/>
                    <a:pt x="1820465" y="976185"/>
                    <a:pt x="1820465" y="966231"/>
                  </a:cubicBezTo>
                  <a:cubicBezTo>
                    <a:pt x="1820465" y="956276"/>
                    <a:pt x="1828535" y="948206"/>
                    <a:pt x="1838489" y="948206"/>
                  </a:cubicBezTo>
                  <a:close/>
                  <a:moveTo>
                    <a:pt x="3430644" y="942198"/>
                  </a:moveTo>
                  <a:cubicBezTo>
                    <a:pt x="3440599" y="942198"/>
                    <a:pt x="3448669" y="950267"/>
                    <a:pt x="3448669" y="960222"/>
                  </a:cubicBezTo>
                  <a:cubicBezTo>
                    <a:pt x="3448669" y="970177"/>
                    <a:pt x="3440599" y="978247"/>
                    <a:pt x="3430644" y="978247"/>
                  </a:cubicBezTo>
                  <a:cubicBezTo>
                    <a:pt x="3420689" y="978247"/>
                    <a:pt x="3412620" y="970177"/>
                    <a:pt x="3412620" y="960222"/>
                  </a:cubicBezTo>
                  <a:cubicBezTo>
                    <a:pt x="3412620" y="950267"/>
                    <a:pt x="3420689" y="942198"/>
                    <a:pt x="3430644" y="942198"/>
                  </a:cubicBezTo>
                  <a:close/>
                  <a:moveTo>
                    <a:pt x="2529424" y="942198"/>
                  </a:moveTo>
                  <a:cubicBezTo>
                    <a:pt x="2539379" y="942198"/>
                    <a:pt x="2547449" y="950267"/>
                    <a:pt x="2547449" y="960222"/>
                  </a:cubicBezTo>
                  <a:cubicBezTo>
                    <a:pt x="2547449" y="970177"/>
                    <a:pt x="2539379" y="978247"/>
                    <a:pt x="2529424" y="978247"/>
                  </a:cubicBezTo>
                  <a:cubicBezTo>
                    <a:pt x="2519469" y="978247"/>
                    <a:pt x="2511400" y="970177"/>
                    <a:pt x="2511400" y="960222"/>
                  </a:cubicBezTo>
                  <a:cubicBezTo>
                    <a:pt x="2511400" y="950267"/>
                    <a:pt x="2519469" y="942198"/>
                    <a:pt x="2529424" y="942198"/>
                  </a:cubicBezTo>
                  <a:close/>
                  <a:moveTo>
                    <a:pt x="889203" y="942198"/>
                  </a:moveTo>
                  <a:cubicBezTo>
                    <a:pt x="899158" y="942198"/>
                    <a:pt x="907228" y="950267"/>
                    <a:pt x="907228" y="960222"/>
                  </a:cubicBezTo>
                  <a:cubicBezTo>
                    <a:pt x="907228" y="970177"/>
                    <a:pt x="899158" y="978247"/>
                    <a:pt x="889203" y="978247"/>
                  </a:cubicBezTo>
                  <a:cubicBezTo>
                    <a:pt x="879249" y="978247"/>
                    <a:pt x="871179" y="970177"/>
                    <a:pt x="871179" y="960222"/>
                  </a:cubicBezTo>
                  <a:cubicBezTo>
                    <a:pt x="871179" y="950267"/>
                    <a:pt x="879249" y="942198"/>
                    <a:pt x="889203" y="942198"/>
                  </a:cubicBezTo>
                  <a:close/>
                  <a:moveTo>
                    <a:pt x="3935328" y="936190"/>
                  </a:moveTo>
                  <a:cubicBezTo>
                    <a:pt x="3945283" y="936190"/>
                    <a:pt x="3953353" y="944260"/>
                    <a:pt x="3953353" y="954214"/>
                  </a:cubicBezTo>
                  <a:cubicBezTo>
                    <a:pt x="3953353" y="964169"/>
                    <a:pt x="3945283" y="972239"/>
                    <a:pt x="3935328" y="972239"/>
                  </a:cubicBezTo>
                  <a:cubicBezTo>
                    <a:pt x="3925373" y="972239"/>
                    <a:pt x="3917304" y="964169"/>
                    <a:pt x="3917304" y="954214"/>
                  </a:cubicBezTo>
                  <a:cubicBezTo>
                    <a:pt x="3917304" y="944260"/>
                    <a:pt x="3925373" y="936190"/>
                    <a:pt x="3935328" y="936190"/>
                  </a:cubicBezTo>
                  <a:close/>
                  <a:moveTo>
                    <a:pt x="1303765" y="936190"/>
                  </a:moveTo>
                  <a:cubicBezTo>
                    <a:pt x="1313720" y="936190"/>
                    <a:pt x="1321790" y="944260"/>
                    <a:pt x="1321790" y="954214"/>
                  </a:cubicBezTo>
                  <a:cubicBezTo>
                    <a:pt x="1321790" y="964169"/>
                    <a:pt x="1313720" y="972239"/>
                    <a:pt x="1303765" y="972239"/>
                  </a:cubicBezTo>
                  <a:cubicBezTo>
                    <a:pt x="1293811" y="972239"/>
                    <a:pt x="1285741" y="964169"/>
                    <a:pt x="1285741" y="954214"/>
                  </a:cubicBezTo>
                  <a:cubicBezTo>
                    <a:pt x="1285741" y="944260"/>
                    <a:pt x="1293811" y="936190"/>
                    <a:pt x="1303765" y="936190"/>
                  </a:cubicBezTo>
                  <a:close/>
                  <a:moveTo>
                    <a:pt x="600813" y="924173"/>
                  </a:moveTo>
                  <a:cubicBezTo>
                    <a:pt x="610768" y="924173"/>
                    <a:pt x="618838" y="932243"/>
                    <a:pt x="618838" y="942197"/>
                  </a:cubicBezTo>
                  <a:cubicBezTo>
                    <a:pt x="618838" y="952152"/>
                    <a:pt x="610768" y="960222"/>
                    <a:pt x="600813" y="960222"/>
                  </a:cubicBezTo>
                  <a:cubicBezTo>
                    <a:pt x="590859" y="960222"/>
                    <a:pt x="582789" y="952152"/>
                    <a:pt x="582789" y="942197"/>
                  </a:cubicBezTo>
                  <a:cubicBezTo>
                    <a:pt x="582789" y="932243"/>
                    <a:pt x="590859" y="924173"/>
                    <a:pt x="600813" y="924173"/>
                  </a:cubicBezTo>
                  <a:close/>
                  <a:moveTo>
                    <a:pt x="3088181" y="918165"/>
                  </a:moveTo>
                  <a:cubicBezTo>
                    <a:pt x="3098136" y="918165"/>
                    <a:pt x="3106206" y="926235"/>
                    <a:pt x="3106206" y="936190"/>
                  </a:cubicBezTo>
                  <a:cubicBezTo>
                    <a:pt x="3106206" y="946144"/>
                    <a:pt x="3098136" y="954214"/>
                    <a:pt x="3088181" y="954214"/>
                  </a:cubicBezTo>
                  <a:cubicBezTo>
                    <a:pt x="3078227" y="954214"/>
                    <a:pt x="3070157" y="946144"/>
                    <a:pt x="3070157" y="936190"/>
                  </a:cubicBezTo>
                  <a:cubicBezTo>
                    <a:pt x="3070157" y="926235"/>
                    <a:pt x="3078227" y="918165"/>
                    <a:pt x="3088181" y="918165"/>
                  </a:cubicBezTo>
                  <a:close/>
                  <a:moveTo>
                    <a:pt x="2883904" y="918165"/>
                  </a:moveTo>
                  <a:cubicBezTo>
                    <a:pt x="2893859" y="918165"/>
                    <a:pt x="2901929" y="926235"/>
                    <a:pt x="2901929" y="936190"/>
                  </a:cubicBezTo>
                  <a:cubicBezTo>
                    <a:pt x="2901929" y="946144"/>
                    <a:pt x="2893859" y="954214"/>
                    <a:pt x="2883904" y="954214"/>
                  </a:cubicBezTo>
                  <a:cubicBezTo>
                    <a:pt x="2873949" y="954214"/>
                    <a:pt x="2865880" y="946144"/>
                    <a:pt x="2865880" y="936190"/>
                  </a:cubicBezTo>
                  <a:cubicBezTo>
                    <a:pt x="2865880" y="926235"/>
                    <a:pt x="2873949" y="918165"/>
                    <a:pt x="2883904" y="918165"/>
                  </a:cubicBezTo>
                  <a:close/>
                  <a:moveTo>
                    <a:pt x="2379221" y="918165"/>
                  </a:moveTo>
                  <a:cubicBezTo>
                    <a:pt x="2389176" y="918165"/>
                    <a:pt x="2397246" y="926235"/>
                    <a:pt x="2397246" y="936190"/>
                  </a:cubicBezTo>
                  <a:cubicBezTo>
                    <a:pt x="2397246" y="946144"/>
                    <a:pt x="2389176" y="954214"/>
                    <a:pt x="2379221" y="954214"/>
                  </a:cubicBezTo>
                  <a:cubicBezTo>
                    <a:pt x="2369267" y="954214"/>
                    <a:pt x="2361197" y="946144"/>
                    <a:pt x="2361197" y="936190"/>
                  </a:cubicBezTo>
                  <a:cubicBezTo>
                    <a:pt x="2361197" y="926235"/>
                    <a:pt x="2369267" y="918165"/>
                    <a:pt x="2379221" y="918165"/>
                  </a:cubicBezTo>
                  <a:close/>
                  <a:moveTo>
                    <a:pt x="2120871" y="918165"/>
                  </a:moveTo>
                  <a:cubicBezTo>
                    <a:pt x="2130826" y="918165"/>
                    <a:pt x="2138896" y="926235"/>
                    <a:pt x="2138896" y="936190"/>
                  </a:cubicBezTo>
                  <a:cubicBezTo>
                    <a:pt x="2138896" y="946144"/>
                    <a:pt x="2130826" y="954214"/>
                    <a:pt x="2120871" y="954214"/>
                  </a:cubicBezTo>
                  <a:cubicBezTo>
                    <a:pt x="2110917" y="954214"/>
                    <a:pt x="2102847" y="946144"/>
                    <a:pt x="2102847" y="936190"/>
                  </a:cubicBezTo>
                  <a:cubicBezTo>
                    <a:pt x="2102847" y="926235"/>
                    <a:pt x="2110917" y="918165"/>
                    <a:pt x="2120871" y="918165"/>
                  </a:cubicBezTo>
                  <a:close/>
                  <a:moveTo>
                    <a:pt x="3328506" y="906149"/>
                  </a:moveTo>
                  <a:cubicBezTo>
                    <a:pt x="3338461" y="906149"/>
                    <a:pt x="3346531" y="914219"/>
                    <a:pt x="3346531" y="924173"/>
                  </a:cubicBezTo>
                  <a:cubicBezTo>
                    <a:pt x="3346531" y="934128"/>
                    <a:pt x="3338461" y="942198"/>
                    <a:pt x="3328506" y="942198"/>
                  </a:cubicBezTo>
                  <a:cubicBezTo>
                    <a:pt x="3318552" y="942198"/>
                    <a:pt x="3310482" y="934128"/>
                    <a:pt x="3310482" y="924173"/>
                  </a:cubicBezTo>
                  <a:cubicBezTo>
                    <a:pt x="3310482" y="914219"/>
                    <a:pt x="3318552" y="906149"/>
                    <a:pt x="3328506" y="906149"/>
                  </a:cubicBezTo>
                  <a:close/>
                  <a:moveTo>
                    <a:pt x="1508041" y="900141"/>
                  </a:moveTo>
                  <a:cubicBezTo>
                    <a:pt x="1517996" y="900141"/>
                    <a:pt x="1526066" y="908211"/>
                    <a:pt x="1526066" y="918165"/>
                  </a:cubicBezTo>
                  <a:cubicBezTo>
                    <a:pt x="1526066" y="928120"/>
                    <a:pt x="1517996" y="936190"/>
                    <a:pt x="1508041" y="936190"/>
                  </a:cubicBezTo>
                  <a:cubicBezTo>
                    <a:pt x="1498087" y="936190"/>
                    <a:pt x="1490017" y="928120"/>
                    <a:pt x="1490017" y="918165"/>
                  </a:cubicBezTo>
                  <a:cubicBezTo>
                    <a:pt x="1490017" y="908211"/>
                    <a:pt x="1498087" y="900141"/>
                    <a:pt x="1508041" y="900141"/>
                  </a:cubicBezTo>
                  <a:close/>
                  <a:moveTo>
                    <a:pt x="2739709" y="894133"/>
                  </a:moveTo>
                  <a:cubicBezTo>
                    <a:pt x="2749664" y="894133"/>
                    <a:pt x="2757734" y="902203"/>
                    <a:pt x="2757734" y="912157"/>
                  </a:cubicBezTo>
                  <a:cubicBezTo>
                    <a:pt x="2757734" y="922112"/>
                    <a:pt x="2749664" y="930182"/>
                    <a:pt x="2739709" y="930182"/>
                  </a:cubicBezTo>
                  <a:cubicBezTo>
                    <a:pt x="2729754" y="930182"/>
                    <a:pt x="2721685" y="922112"/>
                    <a:pt x="2721685" y="912157"/>
                  </a:cubicBezTo>
                  <a:cubicBezTo>
                    <a:pt x="2721685" y="902203"/>
                    <a:pt x="2729754" y="894133"/>
                    <a:pt x="2739709" y="894133"/>
                  </a:cubicBezTo>
                  <a:close/>
                  <a:moveTo>
                    <a:pt x="360487" y="894133"/>
                  </a:moveTo>
                  <a:cubicBezTo>
                    <a:pt x="370442" y="894133"/>
                    <a:pt x="378512" y="902203"/>
                    <a:pt x="378512" y="912157"/>
                  </a:cubicBezTo>
                  <a:cubicBezTo>
                    <a:pt x="378512" y="922112"/>
                    <a:pt x="370442" y="930182"/>
                    <a:pt x="360487" y="930182"/>
                  </a:cubicBezTo>
                  <a:cubicBezTo>
                    <a:pt x="350533" y="930182"/>
                    <a:pt x="342463" y="922112"/>
                    <a:pt x="342463" y="912157"/>
                  </a:cubicBezTo>
                  <a:cubicBezTo>
                    <a:pt x="342463" y="902203"/>
                    <a:pt x="350533" y="894133"/>
                    <a:pt x="360487" y="894133"/>
                  </a:cubicBezTo>
                  <a:close/>
                  <a:moveTo>
                    <a:pt x="1093480" y="888125"/>
                  </a:moveTo>
                  <a:cubicBezTo>
                    <a:pt x="1103435" y="888125"/>
                    <a:pt x="1111505" y="896195"/>
                    <a:pt x="1111505" y="906150"/>
                  </a:cubicBezTo>
                  <a:cubicBezTo>
                    <a:pt x="1111505" y="916104"/>
                    <a:pt x="1103435" y="924174"/>
                    <a:pt x="1093480" y="924174"/>
                  </a:cubicBezTo>
                  <a:cubicBezTo>
                    <a:pt x="1083526" y="924174"/>
                    <a:pt x="1075456" y="916104"/>
                    <a:pt x="1075456" y="906150"/>
                  </a:cubicBezTo>
                  <a:cubicBezTo>
                    <a:pt x="1075456" y="896195"/>
                    <a:pt x="1083526" y="888125"/>
                    <a:pt x="1093480" y="888125"/>
                  </a:cubicBezTo>
                  <a:close/>
                  <a:moveTo>
                    <a:pt x="3707019" y="882116"/>
                  </a:moveTo>
                  <a:cubicBezTo>
                    <a:pt x="3716974" y="882116"/>
                    <a:pt x="3725044" y="890185"/>
                    <a:pt x="3725044" y="900140"/>
                  </a:cubicBezTo>
                  <a:cubicBezTo>
                    <a:pt x="3725044" y="910095"/>
                    <a:pt x="3716974" y="918165"/>
                    <a:pt x="3707019" y="918165"/>
                  </a:cubicBezTo>
                  <a:cubicBezTo>
                    <a:pt x="3697064" y="918165"/>
                    <a:pt x="3688994" y="910095"/>
                    <a:pt x="3688994" y="900140"/>
                  </a:cubicBezTo>
                  <a:cubicBezTo>
                    <a:pt x="3688994" y="890185"/>
                    <a:pt x="3697064" y="882116"/>
                    <a:pt x="3707019" y="882116"/>
                  </a:cubicBezTo>
                  <a:close/>
                  <a:moveTo>
                    <a:pt x="1742358" y="882116"/>
                  </a:moveTo>
                  <a:cubicBezTo>
                    <a:pt x="1752313" y="882116"/>
                    <a:pt x="1760383" y="890185"/>
                    <a:pt x="1760383" y="900140"/>
                  </a:cubicBezTo>
                  <a:cubicBezTo>
                    <a:pt x="1760383" y="910095"/>
                    <a:pt x="1752313" y="918165"/>
                    <a:pt x="1742358" y="918165"/>
                  </a:cubicBezTo>
                  <a:cubicBezTo>
                    <a:pt x="1732404" y="918165"/>
                    <a:pt x="1724334" y="910095"/>
                    <a:pt x="1724334" y="900140"/>
                  </a:cubicBezTo>
                  <a:cubicBezTo>
                    <a:pt x="1724334" y="890185"/>
                    <a:pt x="1732404" y="882116"/>
                    <a:pt x="1742358" y="882116"/>
                  </a:cubicBezTo>
                  <a:close/>
                  <a:moveTo>
                    <a:pt x="757024" y="876108"/>
                  </a:moveTo>
                  <a:cubicBezTo>
                    <a:pt x="766979" y="876108"/>
                    <a:pt x="775049" y="884178"/>
                    <a:pt x="775049" y="894132"/>
                  </a:cubicBezTo>
                  <a:cubicBezTo>
                    <a:pt x="775049" y="904087"/>
                    <a:pt x="766979" y="912157"/>
                    <a:pt x="757024" y="912157"/>
                  </a:cubicBezTo>
                  <a:cubicBezTo>
                    <a:pt x="747070" y="912157"/>
                    <a:pt x="739000" y="904087"/>
                    <a:pt x="739000" y="894132"/>
                  </a:cubicBezTo>
                  <a:cubicBezTo>
                    <a:pt x="739000" y="884178"/>
                    <a:pt x="747070" y="876108"/>
                    <a:pt x="757024" y="876108"/>
                  </a:cubicBezTo>
                  <a:close/>
                  <a:moveTo>
                    <a:pt x="6104265" y="870100"/>
                  </a:moveTo>
                  <a:cubicBezTo>
                    <a:pt x="6114220" y="870100"/>
                    <a:pt x="6122290" y="878170"/>
                    <a:pt x="6122290" y="888124"/>
                  </a:cubicBezTo>
                  <a:cubicBezTo>
                    <a:pt x="6122290" y="898079"/>
                    <a:pt x="6114220" y="906149"/>
                    <a:pt x="6104265" y="906149"/>
                  </a:cubicBezTo>
                  <a:cubicBezTo>
                    <a:pt x="6094310" y="906149"/>
                    <a:pt x="6086241" y="898079"/>
                    <a:pt x="6086241" y="888124"/>
                  </a:cubicBezTo>
                  <a:cubicBezTo>
                    <a:pt x="6086241" y="878170"/>
                    <a:pt x="6094310" y="870100"/>
                    <a:pt x="6104265" y="870100"/>
                  </a:cubicBezTo>
                  <a:close/>
                  <a:moveTo>
                    <a:pt x="474642" y="870100"/>
                  </a:moveTo>
                  <a:cubicBezTo>
                    <a:pt x="484597" y="870100"/>
                    <a:pt x="492667" y="878170"/>
                    <a:pt x="492667" y="888124"/>
                  </a:cubicBezTo>
                  <a:cubicBezTo>
                    <a:pt x="492667" y="898079"/>
                    <a:pt x="484597" y="906149"/>
                    <a:pt x="474642" y="906149"/>
                  </a:cubicBezTo>
                  <a:cubicBezTo>
                    <a:pt x="464688" y="906149"/>
                    <a:pt x="456618" y="898079"/>
                    <a:pt x="456618" y="888124"/>
                  </a:cubicBezTo>
                  <a:cubicBezTo>
                    <a:pt x="456618" y="878170"/>
                    <a:pt x="464688" y="870100"/>
                    <a:pt x="474642" y="870100"/>
                  </a:cubicBezTo>
                  <a:close/>
                  <a:moveTo>
                    <a:pt x="3568832" y="864092"/>
                  </a:moveTo>
                  <a:cubicBezTo>
                    <a:pt x="3578787" y="864092"/>
                    <a:pt x="3586857" y="872162"/>
                    <a:pt x="3586857" y="882116"/>
                  </a:cubicBezTo>
                  <a:cubicBezTo>
                    <a:pt x="3586857" y="892071"/>
                    <a:pt x="3578787" y="900141"/>
                    <a:pt x="3568832" y="900141"/>
                  </a:cubicBezTo>
                  <a:cubicBezTo>
                    <a:pt x="3558878" y="900141"/>
                    <a:pt x="3550808" y="892071"/>
                    <a:pt x="3550808" y="882116"/>
                  </a:cubicBezTo>
                  <a:cubicBezTo>
                    <a:pt x="3550808" y="872162"/>
                    <a:pt x="3558878" y="864092"/>
                    <a:pt x="3568832" y="864092"/>
                  </a:cubicBezTo>
                  <a:close/>
                  <a:moveTo>
                    <a:pt x="2980034" y="864092"/>
                  </a:moveTo>
                  <a:cubicBezTo>
                    <a:pt x="2989989" y="864092"/>
                    <a:pt x="2998059" y="872162"/>
                    <a:pt x="2998059" y="882116"/>
                  </a:cubicBezTo>
                  <a:cubicBezTo>
                    <a:pt x="2998059" y="892071"/>
                    <a:pt x="2989989" y="900141"/>
                    <a:pt x="2980034" y="900141"/>
                  </a:cubicBezTo>
                  <a:cubicBezTo>
                    <a:pt x="2970079" y="900141"/>
                    <a:pt x="2962010" y="892071"/>
                    <a:pt x="2962010" y="882116"/>
                  </a:cubicBezTo>
                  <a:cubicBezTo>
                    <a:pt x="2962010" y="872162"/>
                    <a:pt x="2970079" y="864092"/>
                    <a:pt x="2980034" y="864092"/>
                  </a:cubicBezTo>
                  <a:close/>
                  <a:moveTo>
                    <a:pt x="2012725" y="864092"/>
                  </a:moveTo>
                  <a:cubicBezTo>
                    <a:pt x="2022680" y="864092"/>
                    <a:pt x="2030750" y="872162"/>
                    <a:pt x="2030750" y="882116"/>
                  </a:cubicBezTo>
                  <a:cubicBezTo>
                    <a:pt x="2030750" y="892071"/>
                    <a:pt x="2022680" y="900141"/>
                    <a:pt x="2012725" y="900141"/>
                  </a:cubicBezTo>
                  <a:cubicBezTo>
                    <a:pt x="2002771" y="900141"/>
                    <a:pt x="1994701" y="892071"/>
                    <a:pt x="1994701" y="882116"/>
                  </a:cubicBezTo>
                  <a:cubicBezTo>
                    <a:pt x="1994701" y="872162"/>
                    <a:pt x="2002771" y="864092"/>
                    <a:pt x="2012725" y="864092"/>
                  </a:cubicBezTo>
                  <a:close/>
                  <a:moveTo>
                    <a:pt x="3857222" y="858084"/>
                  </a:moveTo>
                  <a:cubicBezTo>
                    <a:pt x="3867177" y="858084"/>
                    <a:pt x="3875247" y="866154"/>
                    <a:pt x="3875247" y="876109"/>
                  </a:cubicBezTo>
                  <a:cubicBezTo>
                    <a:pt x="3875247" y="886063"/>
                    <a:pt x="3867177" y="894133"/>
                    <a:pt x="3857222" y="894133"/>
                  </a:cubicBezTo>
                  <a:cubicBezTo>
                    <a:pt x="3847267" y="894133"/>
                    <a:pt x="3839197" y="886063"/>
                    <a:pt x="3839197" y="876109"/>
                  </a:cubicBezTo>
                  <a:cubicBezTo>
                    <a:pt x="3839197" y="866154"/>
                    <a:pt x="3847267" y="858084"/>
                    <a:pt x="3857222" y="858084"/>
                  </a:cubicBezTo>
                  <a:close/>
                  <a:moveTo>
                    <a:pt x="1387878" y="858084"/>
                  </a:moveTo>
                  <a:cubicBezTo>
                    <a:pt x="1397833" y="858084"/>
                    <a:pt x="1405903" y="866154"/>
                    <a:pt x="1405903" y="876109"/>
                  </a:cubicBezTo>
                  <a:cubicBezTo>
                    <a:pt x="1405903" y="886063"/>
                    <a:pt x="1397833" y="894133"/>
                    <a:pt x="1387878" y="894133"/>
                  </a:cubicBezTo>
                  <a:cubicBezTo>
                    <a:pt x="1377924" y="894133"/>
                    <a:pt x="1369854" y="886063"/>
                    <a:pt x="1369854" y="876109"/>
                  </a:cubicBezTo>
                  <a:cubicBezTo>
                    <a:pt x="1369854" y="866154"/>
                    <a:pt x="1377924" y="858084"/>
                    <a:pt x="1387878" y="858084"/>
                  </a:cubicBezTo>
                  <a:close/>
                  <a:moveTo>
                    <a:pt x="973317" y="852076"/>
                  </a:moveTo>
                  <a:cubicBezTo>
                    <a:pt x="983272" y="852076"/>
                    <a:pt x="991342" y="860145"/>
                    <a:pt x="991342" y="870100"/>
                  </a:cubicBezTo>
                  <a:cubicBezTo>
                    <a:pt x="991342" y="880055"/>
                    <a:pt x="983272" y="888125"/>
                    <a:pt x="973317" y="888125"/>
                  </a:cubicBezTo>
                  <a:cubicBezTo>
                    <a:pt x="963363" y="888125"/>
                    <a:pt x="955293" y="880055"/>
                    <a:pt x="955293" y="870100"/>
                  </a:cubicBezTo>
                  <a:cubicBezTo>
                    <a:pt x="955293" y="860145"/>
                    <a:pt x="963363" y="852076"/>
                    <a:pt x="973317" y="852076"/>
                  </a:cubicBezTo>
                  <a:close/>
                  <a:moveTo>
                    <a:pt x="228308" y="852076"/>
                  </a:moveTo>
                  <a:cubicBezTo>
                    <a:pt x="238263" y="852076"/>
                    <a:pt x="246333" y="860145"/>
                    <a:pt x="246333" y="870100"/>
                  </a:cubicBezTo>
                  <a:cubicBezTo>
                    <a:pt x="246333" y="880055"/>
                    <a:pt x="238263" y="888125"/>
                    <a:pt x="228308" y="888125"/>
                  </a:cubicBezTo>
                  <a:cubicBezTo>
                    <a:pt x="218354" y="888125"/>
                    <a:pt x="210284" y="880055"/>
                    <a:pt x="210284" y="870100"/>
                  </a:cubicBezTo>
                  <a:cubicBezTo>
                    <a:pt x="210284" y="860145"/>
                    <a:pt x="218354" y="852076"/>
                    <a:pt x="228308" y="852076"/>
                  </a:cubicBezTo>
                  <a:close/>
                  <a:moveTo>
                    <a:pt x="3196327" y="846068"/>
                  </a:moveTo>
                  <a:cubicBezTo>
                    <a:pt x="3206282" y="846068"/>
                    <a:pt x="3214352" y="854138"/>
                    <a:pt x="3214352" y="864092"/>
                  </a:cubicBezTo>
                  <a:cubicBezTo>
                    <a:pt x="3214352" y="874047"/>
                    <a:pt x="3206282" y="882117"/>
                    <a:pt x="3196327" y="882117"/>
                  </a:cubicBezTo>
                  <a:cubicBezTo>
                    <a:pt x="3186372" y="882117"/>
                    <a:pt x="3178302" y="874047"/>
                    <a:pt x="3178302" y="864092"/>
                  </a:cubicBezTo>
                  <a:cubicBezTo>
                    <a:pt x="3178302" y="854138"/>
                    <a:pt x="3186372" y="846068"/>
                    <a:pt x="3196327" y="846068"/>
                  </a:cubicBezTo>
                  <a:close/>
                  <a:moveTo>
                    <a:pt x="6218419" y="840059"/>
                  </a:moveTo>
                  <a:cubicBezTo>
                    <a:pt x="6228374" y="840059"/>
                    <a:pt x="6236444" y="848129"/>
                    <a:pt x="6236444" y="858083"/>
                  </a:cubicBezTo>
                  <a:cubicBezTo>
                    <a:pt x="6236444" y="868038"/>
                    <a:pt x="6228374" y="876108"/>
                    <a:pt x="6218419" y="876108"/>
                  </a:cubicBezTo>
                  <a:cubicBezTo>
                    <a:pt x="6208464" y="876108"/>
                    <a:pt x="6200395" y="868038"/>
                    <a:pt x="6200395" y="858083"/>
                  </a:cubicBezTo>
                  <a:cubicBezTo>
                    <a:pt x="6200395" y="848129"/>
                    <a:pt x="6208464" y="840059"/>
                    <a:pt x="6218419" y="840059"/>
                  </a:cubicBezTo>
                  <a:close/>
                  <a:moveTo>
                    <a:pt x="5978094" y="834051"/>
                  </a:moveTo>
                  <a:cubicBezTo>
                    <a:pt x="5988049" y="834051"/>
                    <a:pt x="5996119" y="842121"/>
                    <a:pt x="5996119" y="852075"/>
                  </a:cubicBezTo>
                  <a:cubicBezTo>
                    <a:pt x="5996119" y="862030"/>
                    <a:pt x="5988049" y="870100"/>
                    <a:pt x="5978094" y="870100"/>
                  </a:cubicBezTo>
                  <a:cubicBezTo>
                    <a:pt x="5968139" y="870100"/>
                    <a:pt x="5960070" y="862030"/>
                    <a:pt x="5960070" y="852075"/>
                  </a:cubicBezTo>
                  <a:cubicBezTo>
                    <a:pt x="5960070" y="842121"/>
                    <a:pt x="5968139" y="834051"/>
                    <a:pt x="5978094" y="834051"/>
                  </a:cubicBezTo>
                  <a:close/>
                  <a:moveTo>
                    <a:pt x="2198977" y="834051"/>
                  </a:moveTo>
                  <a:cubicBezTo>
                    <a:pt x="2208932" y="834051"/>
                    <a:pt x="2217002" y="842121"/>
                    <a:pt x="2217002" y="852075"/>
                  </a:cubicBezTo>
                  <a:cubicBezTo>
                    <a:pt x="2217002" y="862030"/>
                    <a:pt x="2208932" y="870100"/>
                    <a:pt x="2198977" y="870100"/>
                  </a:cubicBezTo>
                  <a:cubicBezTo>
                    <a:pt x="2189023" y="870100"/>
                    <a:pt x="2180953" y="862030"/>
                    <a:pt x="2180953" y="852075"/>
                  </a:cubicBezTo>
                  <a:cubicBezTo>
                    <a:pt x="2180953" y="842121"/>
                    <a:pt x="2189023" y="834051"/>
                    <a:pt x="2198977" y="834051"/>
                  </a:cubicBezTo>
                  <a:close/>
                  <a:moveTo>
                    <a:pt x="1622196" y="834051"/>
                  </a:moveTo>
                  <a:cubicBezTo>
                    <a:pt x="1632151" y="834051"/>
                    <a:pt x="1640221" y="842121"/>
                    <a:pt x="1640221" y="852075"/>
                  </a:cubicBezTo>
                  <a:cubicBezTo>
                    <a:pt x="1640221" y="862030"/>
                    <a:pt x="1632151" y="870100"/>
                    <a:pt x="1622196" y="870100"/>
                  </a:cubicBezTo>
                  <a:cubicBezTo>
                    <a:pt x="1612242" y="870100"/>
                    <a:pt x="1604172" y="862030"/>
                    <a:pt x="1604172" y="852075"/>
                  </a:cubicBezTo>
                  <a:cubicBezTo>
                    <a:pt x="1604172" y="842121"/>
                    <a:pt x="1612242" y="834051"/>
                    <a:pt x="1622196" y="834051"/>
                  </a:cubicBezTo>
                  <a:close/>
                  <a:moveTo>
                    <a:pt x="1201626" y="834051"/>
                  </a:moveTo>
                  <a:cubicBezTo>
                    <a:pt x="1211581" y="834051"/>
                    <a:pt x="1219651" y="842121"/>
                    <a:pt x="1219651" y="852075"/>
                  </a:cubicBezTo>
                  <a:cubicBezTo>
                    <a:pt x="1219651" y="862030"/>
                    <a:pt x="1211581" y="870100"/>
                    <a:pt x="1201626" y="870100"/>
                  </a:cubicBezTo>
                  <a:cubicBezTo>
                    <a:pt x="1191672" y="870100"/>
                    <a:pt x="1183602" y="862030"/>
                    <a:pt x="1183602" y="852075"/>
                  </a:cubicBezTo>
                  <a:cubicBezTo>
                    <a:pt x="1183602" y="842121"/>
                    <a:pt x="1191672" y="834051"/>
                    <a:pt x="1201626" y="834051"/>
                  </a:cubicBezTo>
                  <a:close/>
                  <a:moveTo>
                    <a:pt x="2469343" y="828043"/>
                  </a:moveTo>
                  <a:cubicBezTo>
                    <a:pt x="2479298" y="828043"/>
                    <a:pt x="2487368" y="836113"/>
                    <a:pt x="2487368" y="846068"/>
                  </a:cubicBezTo>
                  <a:cubicBezTo>
                    <a:pt x="2487368" y="856022"/>
                    <a:pt x="2479298" y="864092"/>
                    <a:pt x="2469343" y="864092"/>
                  </a:cubicBezTo>
                  <a:cubicBezTo>
                    <a:pt x="2459388" y="864092"/>
                    <a:pt x="2451319" y="856022"/>
                    <a:pt x="2451319" y="846068"/>
                  </a:cubicBezTo>
                  <a:cubicBezTo>
                    <a:pt x="2451319" y="836113"/>
                    <a:pt x="2459388" y="828043"/>
                    <a:pt x="2469343" y="828043"/>
                  </a:cubicBezTo>
                  <a:close/>
                  <a:moveTo>
                    <a:pt x="3448669" y="822035"/>
                  </a:moveTo>
                  <a:cubicBezTo>
                    <a:pt x="3458624" y="822035"/>
                    <a:pt x="3466694" y="830104"/>
                    <a:pt x="3466694" y="840059"/>
                  </a:cubicBezTo>
                  <a:cubicBezTo>
                    <a:pt x="3466694" y="850014"/>
                    <a:pt x="3458624" y="858084"/>
                    <a:pt x="3448669" y="858084"/>
                  </a:cubicBezTo>
                  <a:cubicBezTo>
                    <a:pt x="3438715" y="858084"/>
                    <a:pt x="3430645" y="850014"/>
                    <a:pt x="3430645" y="840059"/>
                  </a:cubicBezTo>
                  <a:cubicBezTo>
                    <a:pt x="3430645" y="830104"/>
                    <a:pt x="3438715" y="822035"/>
                    <a:pt x="3448669" y="822035"/>
                  </a:cubicBezTo>
                  <a:close/>
                  <a:moveTo>
                    <a:pt x="1874537" y="822035"/>
                  </a:moveTo>
                  <a:cubicBezTo>
                    <a:pt x="1884492" y="822035"/>
                    <a:pt x="1892562" y="830104"/>
                    <a:pt x="1892562" y="840059"/>
                  </a:cubicBezTo>
                  <a:cubicBezTo>
                    <a:pt x="1892562" y="850014"/>
                    <a:pt x="1884492" y="858084"/>
                    <a:pt x="1874537" y="858084"/>
                  </a:cubicBezTo>
                  <a:cubicBezTo>
                    <a:pt x="1864583" y="858084"/>
                    <a:pt x="1856513" y="850014"/>
                    <a:pt x="1856513" y="840059"/>
                  </a:cubicBezTo>
                  <a:cubicBezTo>
                    <a:pt x="1856513" y="830104"/>
                    <a:pt x="1864583" y="822035"/>
                    <a:pt x="1874537" y="822035"/>
                  </a:cubicBezTo>
                  <a:close/>
                  <a:moveTo>
                    <a:pt x="2823823" y="816027"/>
                  </a:moveTo>
                  <a:cubicBezTo>
                    <a:pt x="2833778" y="816027"/>
                    <a:pt x="2841848" y="824097"/>
                    <a:pt x="2841848" y="834051"/>
                  </a:cubicBezTo>
                  <a:cubicBezTo>
                    <a:pt x="2841848" y="844006"/>
                    <a:pt x="2833778" y="852076"/>
                    <a:pt x="2823823" y="852076"/>
                  </a:cubicBezTo>
                  <a:cubicBezTo>
                    <a:pt x="2813868" y="852076"/>
                    <a:pt x="2805799" y="844006"/>
                    <a:pt x="2805799" y="834051"/>
                  </a:cubicBezTo>
                  <a:cubicBezTo>
                    <a:pt x="2805799" y="824097"/>
                    <a:pt x="2813868" y="816027"/>
                    <a:pt x="2823823" y="816027"/>
                  </a:cubicBezTo>
                  <a:close/>
                  <a:moveTo>
                    <a:pt x="2595514" y="816027"/>
                  </a:moveTo>
                  <a:cubicBezTo>
                    <a:pt x="2605469" y="816027"/>
                    <a:pt x="2613539" y="824097"/>
                    <a:pt x="2613539" y="834051"/>
                  </a:cubicBezTo>
                  <a:cubicBezTo>
                    <a:pt x="2613539" y="844006"/>
                    <a:pt x="2605469" y="852076"/>
                    <a:pt x="2595514" y="852076"/>
                  </a:cubicBezTo>
                  <a:cubicBezTo>
                    <a:pt x="2585559" y="852076"/>
                    <a:pt x="2577489" y="844006"/>
                    <a:pt x="2577489" y="834051"/>
                  </a:cubicBezTo>
                  <a:cubicBezTo>
                    <a:pt x="2577489" y="824097"/>
                    <a:pt x="2585559" y="816027"/>
                    <a:pt x="2595514" y="816027"/>
                  </a:cubicBezTo>
                  <a:close/>
                  <a:moveTo>
                    <a:pt x="2307124" y="816027"/>
                  </a:moveTo>
                  <a:cubicBezTo>
                    <a:pt x="2317078" y="816027"/>
                    <a:pt x="2325148" y="824097"/>
                    <a:pt x="2325148" y="834051"/>
                  </a:cubicBezTo>
                  <a:cubicBezTo>
                    <a:pt x="2325148" y="844006"/>
                    <a:pt x="2317078" y="852076"/>
                    <a:pt x="2307124" y="852076"/>
                  </a:cubicBezTo>
                  <a:cubicBezTo>
                    <a:pt x="2297169" y="852076"/>
                    <a:pt x="2289099" y="844006"/>
                    <a:pt x="2289099" y="834051"/>
                  </a:cubicBezTo>
                  <a:cubicBezTo>
                    <a:pt x="2289099" y="824097"/>
                    <a:pt x="2297169" y="816027"/>
                    <a:pt x="2307124" y="816027"/>
                  </a:cubicBezTo>
                  <a:close/>
                  <a:moveTo>
                    <a:pt x="606821" y="816027"/>
                  </a:moveTo>
                  <a:cubicBezTo>
                    <a:pt x="616776" y="816027"/>
                    <a:pt x="624846" y="824097"/>
                    <a:pt x="624846" y="834051"/>
                  </a:cubicBezTo>
                  <a:cubicBezTo>
                    <a:pt x="624846" y="844006"/>
                    <a:pt x="616776" y="852076"/>
                    <a:pt x="606821" y="852076"/>
                  </a:cubicBezTo>
                  <a:cubicBezTo>
                    <a:pt x="596867" y="852076"/>
                    <a:pt x="588797" y="844006"/>
                    <a:pt x="588797" y="834051"/>
                  </a:cubicBezTo>
                  <a:cubicBezTo>
                    <a:pt x="588797" y="824097"/>
                    <a:pt x="596867" y="816027"/>
                    <a:pt x="606821" y="816027"/>
                  </a:cubicBezTo>
                  <a:close/>
                  <a:moveTo>
                    <a:pt x="3292457" y="791994"/>
                  </a:moveTo>
                  <a:cubicBezTo>
                    <a:pt x="3302412" y="791994"/>
                    <a:pt x="3310482" y="800063"/>
                    <a:pt x="3310482" y="810018"/>
                  </a:cubicBezTo>
                  <a:cubicBezTo>
                    <a:pt x="3310482" y="819973"/>
                    <a:pt x="3302412" y="828043"/>
                    <a:pt x="3292457" y="828043"/>
                  </a:cubicBezTo>
                  <a:cubicBezTo>
                    <a:pt x="3282503" y="828043"/>
                    <a:pt x="3274433" y="819973"/>
                    <a:pt x="3274433" y="810018"/>
                  </a:cubicBezTo>
                  <a:cubicBezTo>
                    <a:pt x="3274433" y="800063"/>
                    <a:pt x="3282503" y="791994"/>
                    <a:pt x="3292457" y="791994"/>
                  </a:cubicBezTo>
                  <a:close/>
                  <a:moveTo>
                    <a:pt x="859163" y="791994"/>
                  </a:moveTo>
                  <a:cubicBezTo>
                    <a:pt x="869118" y="791994"/>
                    <a:pt x="877188" y="800063"/>
                    <a:pt x="877188" y="810018"/>
                  </a:cubicBezTo>
                  <a:cubicBezTo>
                    <a:pt x="877188" y="819973"/>
                    <a:pt x="869118" y="828043"/>
                    <a:pt x="859163" y="828043"/>
                  </a:cubicBezTo>
                  <a:cubicBezTo>
                    <a:pt x="849209" y="828043"/>
                    <a:pt x="841139" y="819973"/>
                    <a:pt x="841139" y="810018"/>
                  </a:cubicBezTo>
                  <a:cubicBezTo>
                    <a:pt x="841139" y="800063"/>
                    <a:pt x="849209" y="791994"/>
                    <a:pt x="859163" y="791994"/>
                  </a:cubicBezTo>
                  <a:close/>
                  <a:moveTo>
                    <a:pt x="1297756" y="785986"/>
                  </a:moveTo>
                  <a:cubicBezTo>
                    <a:pt x="1307711" y="785986"/>
                    <a:pt x="1315781" y="794056"/>
                    <a:pt x="1315781" y="804010"/>
                  </a:cubicBezTo>
                  <a:cubicBezTo>
                    <a:pt x="1315781" y="813965"/>
                    <a:pt x="1307711" y="822035"/>
                    <a:pt x="1297756" y="822035"/>
                  </a:cubicBezTo>
                  <a:cubicBezTo>
                    <a:pt x="1287802" y="822035"/>
                    <a:pt x="1279732" y="813965"/>
                    <a:pt x="1279732" y="804010"/>
                  </a:cubicBezTo>
                  <a:cubicBezTo>
                    <a:pt x="1279732" y="794056"/>
                    <a:pt x="1287802" y="785986"/>
                    <a:pt x="1297756" y="785986"/>
                  </a:cubicBezTo>
                  <a:close/>
                  <a:moveTo>
                    <a:pt x="324438" y="785986"/>
                  </a:moveTo>
                  <a:cubicBezTo>
                    <a:pt x="334393" y="785986"/>
                    <a:pt x="342463" y="794056"/>
                    <a:pt x="342463" y="804010"/>
                  </a:cubicBezTo>
                  <a:cubicBezTo>
                    <a:pt x="342463" y="813965"/>
                    <a:pt x="334393" y="822035"/>
                    <a:pt x="324438" y="822035"/>
                  </a:cubicBezTo>
                  <a:cubicBezTo>
                    <a:pt x="314484" y="822035"/>
                    <a:pt x="306414" y="813965"/>
                    <a:pt x="306414" y="804010"/>
                  </a:cubicBezTo>
                  <a:cubicBezTo>
                    <a:pt x="306414" y="794056"/>
                    <a:pt x="314484" y="785986"/>
                    <a:pt x="324438" y="785986"/>
                  </a:cubicBezTo>
                  <a:close/>
                  <a:moveTo>
                    <a:pt x="3755084" y="779978"/>
                  </a:moveTo>
                  <a:cubicBezTo>
                    <a:pt x="3765039" y="779978"/>
                    <a:pt x="3773109" y="788048"/>
                    <a:pt x="3773109" y="798002"/>
                  </a:cubicBezTo>
                  <a:cubicBezTo>
                    <a:pt x="3773109" y="807957"/>
                    <a:pt x="3765039" y="816027"/>
                    <a:pt x="3755084" y="816027"/>
                  </a:cubicBezTo>
                  <a:cubicBezTo>
                    <a:pt x="3745129" y="816027"/>
                    <a:pt x="3737060" y="807957"/>
                    <a:pt x="3737060" y="798002"/>
                  </a:cubicBezTo>
                  <a:cubicBezTo>
                    <a:pt x="3737060" y="788048"/>
                    <a:pt x="3745129" y="779978"/>
                    <a:pt x="3755084" y="779978"/>
                  </a:cubicBezTo>
                  <a:close/>
                  <a:moveTo>
                    <a:pt x="1496026" y="779978"/>
                  </a:moveTo>
                  <a:cubicBezTo>
                    <a:pt x="1505980" y="779978"/>
                    <a:pt x="1514050" y="788048"/>
                    <a:pt x="1514050" y="798002"/>
                  </a:cubicBezTo>
                  <a:cubicBezTo>
                    <a:pt x="1514050" y="807957"/>
                    <a:pt x="1505980" y="816027"/>
                    <a:pt x="1496026" y="816027"/>
                  </a:cubicBezTo>
                  <a:cubicBezTo>
                    <a:pt x="1486071" y="816027"/>
                    <a:pt x="1478001" y="807957"/>
                    <a:pt x="1478001" y="798002"/>
                  </a:cubicBezTo>
                  <a:cubicBezTo>
                    <a:pt x="1478001" y="788048"/>
                    <a:pt x="1486071" y="779978"/>
                    <a:pt x="1496026" y="779978"/>
                  </a:cubicBezTo>
                  <a:close/>
                  <a:moveTo>
                    <a:pt x="3622905" y="767962"/>
                  </a:moveTo>
                  <a:cubicBezTo>
                    <a:pt x="3632860" y="767962"/>
                    <a:pt x="3640930" y="776032"/>
                    <a:pt x="3640930" y="785987"/>
                  </a:cubicBezTo>
                  <a:cubicBezTo>
                    <a:pt x="3640930" y="795941"/>
                    <a:pt x="3632860" y="804011"/>
                    <a:pt x="3622905" y="804011"/>
                  </a:cubicBezTo>
                  <a:cubicBezTo>
                    <a:pt x="3612951" y="804011"/>
                    <a:pt x="3604881" y="795941"/>
                    <a:pt x="3604881" y="785987"/>
                  </a:cubicBezTo>
                  <a:cubicBezTo>
                    <a:pt x="3604881" y="776032"/>
                    <a:pt x="3612951" y="767962"/>
                    <a:pt x="3622905" y="767962"/>
                  </a:cubicBezTo>
                  <a:close/>
                  <a:moveTo>
                    <a:pt x="3112213" y="767962"/>
                  </a:moveTo>
                  <a:cubicBezTo>
                    <a:pt x="3122168" y="767962"/>
                    <a:pt x="3130238" y="776032"/>
                    <a:pt x="3130238" y="785987"/>
                  </a:cubicBezTo>
                  <a:cubicBezTo>
                    <a:pt x="3130238" y="795941"/>
                    <a:pt x="3122168" y="804011"/>
                    <a:pt x="3112213" y="804011"/>
                  </a:cubicBezTo>
                  <a:cubicBezTo>
                    <a:pt x="3102259" y="804011"/>
                    <a:pt x="3094189" y="795941"/>
                    <a:pt x="3094189" y="785987"/>
                  </a:cubicBezTo>
                  <a:cubicBezTo>
                    <a:pt x="3094189" y="776032"/>
                    <a:pt x="3102259" y="767962"/>
                    <a:pt x="3112213" y="767962"/>
                  </a:cubicBezTo>
                  <a:close/>
                  <a:moveTo>
                    <a:pt x="714968" y="767962"/>
                  </a:moveTo>
                  <a:cubicBezTo>
                    <a:pt x="724922" y="767962"/>
                    <a:pt x="732992" y="776032"/>
                    <a:pt x="732992" y="785987"/>
                  </a:cubicBezTo>
                  <a:cubicBezTo>
                    <a:pt x="732992" y="795941"/>
                    <a:pt x="724922" y="804011"/>
                    <a:pt x="714968" y="804011"/>
                  </a:cubicBezTo>
                  <a:cubicBezTo>
                    <a:pt x="705013" y="804011"/>
                    <a:pt x="696943" y="795941"/>
                    <a:pt x="696943" y="785987"/>
                  </a:cubicBezTo>
                  <a:cubicBezTo>
                    <a:pt x="696943" y="776032"/>
                    <a:pt x="705013" y="767962"/>
                    <a:pt x="714968" y="767962"/>
                  </a:cubicBezTo>
                  <a:close/>
                  <a:moveTo>
                    <a:pt x="2986042" y="761954"/>
                  </a:moveTo>
                  <a:cubicBezTo>
                    <a:pt x="2995997" y="761954"/>
                    <a:pt x="3004067" y="770023"/>
                    <a:pt x="3004067" y="779978"/>
                  </a:cubicBezTo>
                  <a:cubicBezTo>
                    <a:pt x="3004067" y="789933"/>
                    <a:pt x="2995997" y="798003"/>
                    <a:pt x="2986042" y="798003"/>
                  </a:cubicBezTo>
                  <a:cubicBezTo>
                    <a:pt x="2976087" y="798003"/>
                    <a:pt x="2968017" y="789933"/>
                    <a:pt x="2968017" y="779978"/>
                  </a:cubicBezTo>
                  <a:cubicBezTo>
                    <a:pt x="2968017" y="770023"/>
                    <a:pt x="2976087" y="761954"/>
                    <a:pt x="2986042" y="761954"/>
                  </a:cubicBezTo>
                  <a:close/>
                  <a:moveTo>
                    <a:pt x="1736351" y="761954"/>
                  </a:moveTo>
                  <a:cubicBezTo>
                    <a:pt x="1746305" y="761954"/>
                    <a:pt x="1754375" y="770023"/>
                    <a:pt x="1754375" y="779978"/>
                  </a:cubicBezTo>
                  <a:cubicBezTo>
                    <a:pt x="1754375" y="789933"/>
                    <a:pt x="1746305" y="798003"/>
                    <a:pt x="1736351" y="798003"/>
                  </a:cubicBezTo>
                  <a:cubicBezTo>
                    <a:pt x="1726396" y="798003"/>
                    <a:pt x="1718326" y="789933"/>
                    <a:pt x="1718326" y="779978"/>
                  </a:cubicBezTo>
                  <a:cubicBezTo>
                    <a:pt x="1718326" y="770023"/>
                    <a:pt x="1726396" y="761954"/>
                    <a:pt x="1736351" y="761954"/>
                  </a:cubicBezTo>
                  <a:close/>
                  <a:moveTo>
                    <a:pt x="5863939" y="755946"/>
                  </a:moveTo>
                  <a:cubicBezTo>
                    <a:pt x="5873894" y="755946"/>
                    <a:pt x="5881964" y="764016"/>
                    <a:pt x="5881964" y="773970"/>
                  </a:cubicBezTo>
                  <a:cubicBezTo>
                    <a:pt x="5881964" y="783925"/>
                    <a:pt x="5873894" y="791995"/>
                    <a:pt x="5863939" y="791995"/>
                  </a:cubicBezTo>
                  <a:cubicBezTo>
                    <a:pt x="5853984" y="791995"/>
                    <a:pt x="5845915" y="783925"/>
                    <a:pt x="5845915" y="773970"/>
                  </a:cubicBezTo>
                  <a:cubicBezTo>
                    <a:pt x="5845915" y="764016"/>
                    <a:pt x="5853984" y="755946"/>
                    <a:pt x="5863939" y="755946"/>
                  </a:cubicBezTo>
                  <a:close/>
                  <a:moveTo>
                    <a:pt x="2685636" y="755946"/>
                  </a:moveTo>
                  <a:cubicBezTo>
                    <a:pt x="2695591" y="755946"/>
                    <a:pt x="2703661" y="764016"/>
                    <a:pt x="2703661" y="773970"/>
                  </a:cubicBezTo>
                  <a:cubicBezTo>
                    <a:pt x="2703661" y="783925"/>
                    <a:pt x="2695591" y="791995"/>
                    <a:pt x="2685636" y="791995"/>
                  </a:cubicBezTo>
                  <a:cubicBezTo>
                    <a:pt x="2675681" y="791995"/>
                    <a:pt x="2667611" y="783925"/>
                    <a:pt x="2667611" y="773970"/>
                  </a:cubicBezTo>
                  <a:cubicBezTo>
                    <a:pt x="2667611" y="764016"/>
                    <a:pt x="2675681" y="755946"/>
                    <a:pt x="2685636" y="755946"/>
                  </a:cubicBezTo>
                  <a:close/>
                  <a:moveTo>
                    <a:pt x="1069447" y="755946"/>
                  </a:moveTo>
                  <a:cubicBezTo>
                    <a:pt x="1079402" y="755946"/>
                    <a:pt x="1087472" y="764016"/>
                    <a:pt x="1087472" y="773970"/>
                  </a:cubicBezTo>
                  <a:cubicBezTo>
                    <a:pt x="1087472" y="783925"/>
                    <a:pt x="1079402" y="791995"/>
                    <a:pt x="1069447" y="791995"/>
                  </a:cubicBezTo>
                  <a:cubicBezTo>
                    <a:pt x="1059493" y="791995"/>
                    <a:pt x="1051423" y="783925"/>
                    <a:pt x="1051423" y="773970"/>
                  </a:cubicBezTo>
                  <a:cubicBezTo>
                    <a:pt x="1051423" y="764016"/>
                    <a:pt x="1059493" y="755946"/>
                    <a:pt x="1069447" y="755946"/>
                  </a:cubicBezTo>
                  <a:close/>
                  <a:moveTo>
                    <a:pt x="3935328" y="749937"/>
                  </a:moveTo>
                  <a:cubicBezTo>
                    <a:pt x="3945283" y="749937"/>
                    <a:pt x="3953353" y="758007"/>
                    <a:pt x="3953353" y="767961"/>
                  </a:cubicBezTo>
                  <a:cubicBezTo>
                    <a:pt x="3953353" y="777916"/>
                    <a:pt x="3945283" y="785986"/>
                    <a:pt x="3935328" y="785986"/>
                  </a:cubicBezTo>
                  <a:cubicBezTo>
                    <a:pt x="3925373" y="785986"/>
                    <a:pt x="3917304" y="777916"/>
                    <a:pt x="3917304" y="767961"/>
                  </a:cubicBezTo>
                  <a:cubicBezTo>
                    <a:pt x="3917304" y="758007"/>
                    <a:pt x="3925373" y="749937"/>
                    <a:pt x="3935328" y="749937"/>
                  </a:cubicBezTo>
                  <a:close/>
                  <a:moveTo>
                    <a:pt x="2114863" y="749937"/>
                  </a:moveTo>
                  <a:cubicBezTo>
                    <a:pt x="2124818" y="749937"/>
                    <a:pt x="2132888" y="758007"/>
                    <a:pt x="2132888" y="767961"/>
                  </a:cubicBezTo>
                  <a:cubicBezTo>
                    <a:pt x="2132888" y="777916"/>
                    <a:pt x="2124818" y="785986"/>
                    <a:pt x="2114863" y="785986"/>
                  </a:cubicBezTo>
                  <a:cubicBezTo>
                    <a:pt x="2104909" y="785986"/>
                    <a:pt x="2096839" y="777916"/>
                    <a:pt x="2096839" y="767961"/>
                  </a:cubicBezTo>
                  <a:cubicBezTo>
                    <a:pt x="2096839" y="758007"/>
                    <a:pt x="2104909" y="749937"/>
                    <a:pt x="2114863" y="749937"/>
                  </a:cubicBezTo>
                  <a:close/>
                  <a:moveTo>
                    <a:pt x="2006717" y="749937"/>
                  </a:moveTo>
                  <a:cubicBezTo>
                    <a:pt x="2016671" y="749937"/>
                    <a:pt x="2024741" y="758007"/>
                    <a:pt x="2024741" y="767961"/>
                  </a:cubicBezTo>
                  <a:cubicBezTo>
                    <a:pt x="2024741" y="777916"/>
                    <a:pt x="2016671" y="785986"/>
                    <a:pt x="2006717" y="785986"/>
                  </a:cubicBezTo>
                  <a:cubicBezTo>
                    <a:pt x="1996762" y="785986"/>
                    <a:pt x="1988692" y="777916"/>
                    <a:pt x="1988692" y="767961"/>
                  </a:cubicBezTo>
                  <a:cubicBezTo>
                    <a:pt x="1988692" y="758007"/>
                    <a:pt x="1996762" y="749937"/>
                    <a:pt x="2006717" y="749937"/>
                  </a:cubicBezTo>
                  <a:close/>
                  <a:moveTo>
                    <a:pt x="6116281" y="737921"/>
                  </a:moveTo>
                  <a:cubicBezTo>
                    <a:pt x="6126236" y="737921"/>
                    <a:pt x="6134306" y="745991"/>
                    <a:pt x="6134306" y="755946"/>
                  </a:cubicBezTo>
                  <a:cubicBezTo>
                    <a:pt x="6134306" y="765900"/>
                    <a:pt x="6126236" y="773970"/>
                    <a:pt x="6116281" y="773970"/>
                  </a:cubicBezTo>
                  <a:cubicBezTo>
                    <a:pt x="6106327" y="773970"/>
                    <a:pt x="6098257" y="765900"/>
                    <a:pt x="6098257" y="755946"/>
                  </a:cubicBezTo>
                  <a:cubicBezTo>
                    <a:pt x="6098257" y="745991"/>
                    <a:pt x="6106327" y="737921"/>
                    <a:pt x="6116281" y="737921"/>
                  </a:cubicBezTo>
                  <a:close/>
                  <a:moveTo>
                    <a:pt x="2397246" y="737921"/>
                  </a:moveTo>
                  <a:cubicBezTo>
                    <a:pt x="2407200" y="737921"/>
                    <a:pt x="2415270" y="745991"/>
                    <a:pt x="2415270" y="755946"/>
                  </a:cubicBezTo>
                  <a:cubicBezTo>
                    <a:pt x="2415270" y="765900"/>
                    <a:pt x="2407200" y="773970"/>
                    <a:pt x="2397246" y="773970"/>
                  </a:cubicBezTo>
                  <a:cubicBezTo>
                    <a:pt x="2387291" y="773970"/>
                    <a:pt x="2379221" y="765900"/>
                    <a:pt x="2379221" y="755946"/>
                  </a:cubicBezTo>
                  <a:cubicBezTo>
                    <a:pt x="2379221" y="745991"/>
                    <a:pt x="2387291" y="737921"/>
                    <a:pt x="2397246" y="737921"/>
                  </a:cubicBezTo>
                  <a:close/>
                  <a:moveTo>
                    <a:pt x="522707" y="731913"/>
                  </a:moveTo>
                  <a:cubicBezTo>
                    <a:pt x="532662" y="731913"/>
                    <a:pt x="540732" y="739982"/>
                    <a:pt x="540732" y="749937"/>
                  </a:cubicBezTo>
                  <a:cubicBezTo>
                    <a:pt x="540732" y="759892"/>
                    <a:pt x="532662" y="767962"/>
                    <a:pt x="522707" y="767962"/>
                  </a:cubicBezTo>
                  <a:cubicBezTo>
                    <a:pt x="512753" y="767962"/>
                    <a:pt x="504683" y="759892"/>
                    <a:pt x="504683" y="749937"/>
                  </a:cubicBezTo>
                  <a:cubicBezTo>
                    <a:pt x="504683" y="739982"/>
                    <a:pt x="512753" y="731913"/>
                    <a:pt x="522707" y="731913"/>
                  </a:cubicBezTo>
                  <a:close/>
                  <a:moveTo>
                    <a:pt x="414561" y="731913"/>
                  </a:moveTo>
                  <a:cubicBezTo>
                    <a:pt x="424516" y="731913"/>
                    <a:pt x="432586" y="739982"/>
                    <a:pt x="432586" y="749937"/>
                  </a:cubicBezTo>
                  <a:cubicBezTo>
                    <a:pt x="432586" y="759892"/>
                    <a:pt x="424516" y="767962"/>
                    <a:pt x="414561" y="767962"/>
                  </a:cubicBezTo>
                  <a:cubicBezTo>
                    <a:pt x="404607" y="767962"/>
                    <a:pt x="396537" y="759892"/>
                    <a:pt x="396537" y="749937"/>
                  </a:cubicBezTo>
                  <a:cubicBezTo>
                    <a:pt x="396537" y="739982"/>
                    <a:pt x="404607" y="731913"/>
                    <a:pt x="414561" y="731913"/>
                  </a:cubicBezTo>
                  <a:close/>
                  <a:moveTo>
                    <a:pt x="6236444" y="725905"/>
                  </a:moveTo>
                  <a:cubicBezTo>
                    <a:pt x="6246399" y="725905"/>
                    <a:pt x="6254469" y="733975"/>
                    <a:pt x="6254469" y="743929"/>
                  </a:cubicBezTo>
                  <a:cubicBezTo>
                    <a:pt x="6254469" y="753884"/>
                    <a:pt x="6246399" y="761954"/>
                    <a:pt x="6236444" y="761954"/>
                  </a:cubicBezTo>
                  <a:cubicBezTo>
                    <a:pt x="6226490" y="761954"/>
                    <a:pt x="6218420" y="753884"/>
                    <a:pt x="6218420" y="743929"/>
                  </a:cubicBezTo>
                  <a:cubicBezTo>
                    <a:pt x="6218420" y="733975"/>
                    <a:pt x="6226490" y="725905"/>
                    <a:pt x="6236444" y="725905"/>
                  </a:cubicBezTo>
                  <a:close/>
                  <a:moveTo>
                    <a:pt x="961301" y="725905"/>
                  </a:moveTo>
                  <a:cubicBezTo>
                    <a:pt x="971256" y="725905"/>
                    <a:pt x="979326" y="733975"/>
                    <a:pt x="979326" y="743929"/>
                  </a:cubicBezTo>
                  <a:cubicBezTo>
                    <a:pt x="979326" y="753884"/>
                    <a:pt x="971256" y="761954"/>
                    <a:pt x="961301" y="761954"/>
                  </a:cubicBezTo>
                  <a:cubicBezTo>
                    <a:pt x="951347" y="761954"/>
                    <a:pt x="943277" y="753884"/>
                    <a:pt x="943277" y="743929"/>
                  </a:cubicBezTo>
                  <a:cubicBezTo>
                    <a:pt x="943277" y="733975"/>
                    <a:pt x="951347" y="725905"/>
                    <a:pt x="961301" y="725905"/>
                  </a:cubicBezTo>
                  <a:close/>
                  <a:moveTo>
                    <a:pt x="3400604" y="719897"/>
                  </a:moveTo>
                  <a:cubicBezTo>
                    <a:pt x="3410559" y="719897"/>
                    <a:pt x="3418629" y="727967"/>
                    <a:pt x="3418629" y="737921"/>
                  </a:cubicBezTo>
                  <a:cubicBezTo>
                    <a:pt x="3418629" y="747876"/>
                    <a:pt x="3410559" y="755946"/>
                    <a:pt x="3400604" y="755946"/>
                  </a:cubicBezTo>
                  <a:cubicBezTo>
                    <a:pt x="3390649" y="755946"/>
                    <a:pt x="3382580" y="747876"/>
                    <a:pt x="3382580" y="737921"/>
                  </a:cubicBezTo>
                  <a:cubicBezTo>
                    <a:pt x="3382580" y="727967"/>
                    <a:pt x="3390649" y="719897"/>
                    <a:pt x="3400604" y="719897"/>
                  </a:cubicBezTo>
                  <a:close/>
                  <a:moveTo>
                    <a:pt x="6002126" y="713889"/>
                  </a:moveTo>
                  <a:cubicBezTo>
                    <a:pt x="6012081" y="713889"/>
                    <a:pt x="6020151" y="721959"/>
                    <a:pt x="6020151" y="731913"/>
                  </a:cubicBezTo>
                  <a:cubicBezTo>
                    <a:pt x="6020151" y="741868"/>
                    <a:pt x="6012081" y="749938"/>
                    <a:pt x="6002126" y="749938"/>
                  </a:cubicBezTo>
                  <a:cubicBezTo>
                    <a:pt x="5992172" y="749938"/>
                    <a:pt x="5984102" y="741868"/>
                    <a:pt x="5984102" y="731913"/>
                  </a:cubicBezTo>
                  <a:cubicBezTo>
                    <a:pt x="5984102" y="721959"/>
                    <a:pt x="5992172" y="713889"/>
                    <a:pt x="6002126" y="713889"/>
                  </a:cubicBezTo>
                  <a:close/>
                  <a:moveTo>
                    <a:pt x="1610179" y="713889"/>
                  </a:moveTo>
                  <a:cubicBezTo>
                    <a:pt x="1620134" y="713889"/>
                    <a:pt x="1628204" y="721959"/>
                    <a:pt x="1628204" y="731913"/>
                  </a:cubicBezTo>
                  <a:cubicBezTo>
                    <a:pt x="1628204" y="741868"/>
                    <a:pt x="1620134" y="749938"/>
                    <a:pt x="1610179" y="749938"/>
                  </a:cubicBezTo>
                  <a:cubicBezTo>
                    <a:pt x="1600225" y="749938"/>
                    <a:pt x="1592155" y="741868"/>
                    <a:pt x="1592155" y="731913"/>
                  </a:cubicBezTo>
                  <a:cubicBezTo>
                    <a:pt x="1592155" y="721959"/>
                    <a:pt x="1600225" y="713889"/>
                    <a:pt x="1610179" y="713889"/>
                  </a:cubicBezTo>
                  <a:close/>
                  <a:moveTo>
                    <a:pt x="3520767" y="707881"/>
                  </a:moveTo>
                  <a:cubicBezTo>
                    <a:pt x="3530722" y="707881"/>
                    <a:pt x="3538792" y="715951"/>
                    <a:pt x="3538792" y="725906"/>
                  </a:cubicBezTo>
                  <a:cubicBezTo>
                    <a:pt x="3538792" y="735860"/>
                    <a:pt x="3530722" y="743930"/>
                    <a:pt x="3520767" y="743930"/>
                  </a:cubicBezTo>
                  <a:cubicBezTo>
                    <a:pt x="3510812" y="743930"/>
                    <a:pt x="3502743" y="735860"/>
                    <a:pt x="3502743" y="725906"/>
                  </a:cubicBezTo>
                  <a:cubicBezTo>
                    <a:pt x="3502743" y="715951"/>
                    <a:pt x="3510812" y="707881"/>
                    <a:pt x="3520767" y="707881"/>
                  </a:cubicBezTo>
                  <a:close/>
                  <a:moveTo>
                    <a:pt x="2895920" y="701872"/>
                  </a:moveTo>
                  <a:cubicBezTo>
                    <a:pt x="2905875" y="701872"/>
                    <a:pt x="2913945" y="709941"/>
                    <a:pt x="2913945" y="719896"/>
                  </a:cubicBezTo>
                  <a:cubicBezTo>
                    <a:pt x="2913945" y="729851"/>
                    <a:pt x="2905875" y="737921"/>
                    <a:pt x="2895920" y="737921"/>
                  </a:cubicBezTo>
                  <a:cubicBezTo>
                    <a:pt x="2885965" y="737921"/>
                    <a:pt x="2877895" y="729851"/>
                    <a:pt x="2877895" y="719896"/>
                  </a:cubicBezTo>
                  <a:cubicBezTo>
                    <a:pt x="2877895" y="709941"/>
                    <a:pt x="2885965" y="701872"/>
                    <a:pt x="2895920" y="701872"/>
                  </a:cubicBezTo>
                  <a:close/>
                  <a:moveTo>
                    <a:pt x="2547449" y="701872"/>
                  </a:moveTo>
                  <a:cubicBezTo>
                    <a:pt x="2557404" y="701872"/>
                    <a:pt x="2565474" y="709941"/>
                    <a:pt x="2565474" y="719896"/>
                  </a:cubicBezTo>
                  <a:cubicBezTo>
                    <a:pt x="2565474" y="729851"/>
                    <a:pt x="2557404" y="737921"/>
                    <a:pt x="2547449" y="737921"/>
                  </a:cubicBezTo>
                  <a:cubicBezTo>
                    <a:pt x="2537495" y="737921"/>
                    <a:pt x="2529425" y="729851"/>
                    <a:pt x="2529425" y="719896"/>
                  </a:cubicBezTo>
                  <a:cubicBezTo>
                    <a:pt x="2529425" y="709941"/>
                    <a:pt x="2537495" y="701872"/>
                    <a:pt x="2547449" y="701872"/>
                  </a:cubicBezTo>
                  <a:close/>
                  <a:moveTo>
                    <a:pt x="2241034" y="701872"/>
                  </a:moveTo>
                  <a:cubicBezTo>
                    <a:pt x="2250989" y="701872"/>
                    <a:pt x="2259059" y="709941"/>
                    <a:pt x="2259059" y="719896"/>
                  </a:cubicBezTo>
                  <a:cubicBezTo>
                    <a:pt x="2259059" y="729851"/>
                    <a:pt x="2250989" y="737921"/>
                    <a:pt x="2241034" y="737921"/>
                  </a:cubicBezTo>
                  <a:cubicBezTo>
                    <a:pt x="2231080" y="737921"/>
                    <a:pt x="2223010" y="729851"/>
                    <a:pt x="2223010" y="719896"/>
                  </a:cubicBezTo>
                  <a:cubicBezTo>
                    <a:pt x="2223010" y="709941"/>
                    <a:pt x="2231080" y="701872"/>
                    <a:pt x="2241034" y="701872"/>
                  </a:cubicBezTo>
                  <a:close/>
                  <a:moveTo>
                    <a:pt x="1411911" y="701872"/>
                  </a:moveTo>
                  <a:cubicBezTo>
                    <a:pt x="1421866" y="701872"/>
                    <a:pt x="1429936" y="709941"/>
                    <a:pt x="1429936" y="719896"/>
                  </a:cubicBezTo>
                  <a:cubicBezTo>
                    <a:pt x="1429936" y="729851"/>
                    <a:pt x="1421866" y="737921"/>
                    <a:pt x="1411911" y="737921"/>
                  </a:cubicBezTo>
                  <a:cubicBezTo>
                    <a:pt x="1401957" y="737921"/>
                    <a:pt x="1393887" y="729851"/>
                    <a:pt x="1393887" y="719896"/>
                  </a:cubicBezTo>
                  <a:cubicBezTo>
                    <a:pt x="1393887" y="709941"/>
                    <a:pt x="1401957" y="701872"/>
                    <a:pt x="1411911" y="701872"/>
                  </a:cubicBezTo>
                  <a:close/>
                  <a:moveTo>
                    <a:pt x="1165578" y="701872"/>
                  </a:moveTo>
                  <a:cubicBezTo>
                    <a:pt x="1175532" y="701872"/>
                    <a:pt x="1183602" y="709941"/>
                    <a:pt x="1183602" y="719896"/>
                  </a:cubicBezTo>
                  <a:cubicBezTo>
                    <a:pt x="1183602" y="729851"/>
                    <a:pt x="1175532" y="737921"/>
                    <a:pt x="1165578" y="737921"/>
                  </a:cubicBezTo>
                  <a:cubicBezTo>
                    <a:pt x="1155623" y="737921"/>
                    <a:pt x="1147553" y="729851"/>
                    <a:pt x="1147553" y="719896"/>
                  </a:cubicBezTo>
                  <a:cubicBezTo>
                    <a:pt x="1147553" y="709941"/>
                    <a:pt x="1155623" y="701872"/>
                    <a:pt x="1165578" y="701872"/>
                  </a:cubicBezTo>
                  <a:close/>
                  <a:moveTo>
                    <a:pt x="168227" y="701872"/>
                  </a:moveTo>
                  <a:cubicBezTo>
                    <a:pt x="178182" y="701872"/>
                    <a:pt x="186252" y="709941"/>
                    <a:pt x="186252" y="719896"/>
                  </a:cubicBezTo>
                  <a:cubicBezTo>
                    <a:pt x="186252" y="729851"/>
                    <a:pt x="178182" y="737921"/>
                    <a:pt x="168227" y="737921"/>
                  </a:cubicBezTo>
                  <a:cubicBezTo>
                    <a:pt x="158273" y="737921"/>
                    <a:pt x="150203" y="729851"/>
                    <a:pt x="150203" y="719896"/>
                  </a:cubicBezTo>
                  <a:cubicBezTo>
                    <a:pt x="150203" y="709941"/>
                    <a:pt x="158273" y="701872"/>
                    <a:pt x="168227" y="701872"/>
                  </a:cubicBezTo>
                  <a:close/>
                  <a:moveTo>
                    <a:pt x="1910586" y="695864"/>
                  </a:moveTo>
                  <a:cubicBezTo>
                    <a:pt x="1920541" y="695864"/>
                    <a:pt x="1928611" y="703934"/>
                    <a:pt x="1928611" y="713888"/>
                  </a:cubicBezTo>
                  <a:cubicBezTo>
                    <a:pt x="1928611" y="723843"/>
                    <a:pt x="1920541" y="731913"/>
                    <a:pt x="1910586" y="731913"/>
                  </a:cubicBezTo>
                  <a:cubicBezTo>
                    <a:pt x="1900632" y="731913"/>
                    <a:pt x="1892562" y="723843"/>
                    <a:pt x="1892562" y="713888"/>
                  </a:cubicBezTo>
                  <a:cubicBezTo>
                    <a:pt x="1892562" y="703934"/>
                    <a:pt x="1900632" y="695864"/>
                    <a:pt x="1910586" y="695864"/>
                  </a:cubicBezTo>
                  <a:close/>
                  <a:moveTo>
                    <a:pt x="3833190" y="689856"/>
                  </a:moveTo>
                  <a:cubicBezTo>
                    <a:pt x="3843145" y="689856"/>
                    <a:pt x="3851215" y="697926"/>
                    <a:pt x="3851215" y="707880"/>
                  </a:cubicBezTo>
                  <a:cubicBezTo>
                    <a:pt x="3851215" y="717835"/>
                    <a:pt x="3843145" y="725905"/>
                    <a:pt x="3833190" y="725905"/>
                  </a:cubicBezTo>
                  <a:cubicBezTo>
                    <a:pt x="3823236" y="725905"/>
                    <a:pt x="3815166" y="717835"/>
                    <a:pt x="3815166" y="707880"/>
                  </a:cubicBezTo>
                  <a:cubicBezTo>
                    <a:pt x="3815166" y="697926"/>
                    <a:pt x="3823236" y="689856"/>
                    <a:pt x="3833190" y="689856"/>
                  </a:cubicBezTo>
                  <a:close/>
                  <a:moveTo>
                    <a:pt x="2787774" y="689856"/>
                  </a:moveTo>
                  <a:cubicBezTo>
                    <a:pt x="2797729" y="689856"/>
                    <a:pt x="2805799" y="697926"/>
                    <a:pt x="2805799" y="707880"/>
                  </a:cubicBezTo>
                  <a:cubicBezTo>
                    <a:pt x="2805799" y="717835"/>
                    <a:pt x="2797729" y="725905"/>
                    <a:pt x="2787774" y="725905"/>
                  </a:cubicBezTo>
                  <a:cubicBezTo>
                    <a:pt x="2777820" y="725905"/>
                    <a:pt x="2769750" y="717835"/>
                    <a:pt x="2769750" y="707880"/>
                  </a:cubicBezTo>
                  <a:cubicBezTo>
                    <a:pt x="2769750" y="697926"/>
                    <a:pt x="2777820" y="689856"/>
                    <a:pt x="2787774" y="689856"/>
                  </a:cubicBezTo>
                  <a:close/>
                  <a:moveTo>
                    <a:pt x="5737768" y="677840"/>
                  </a:moveTo>
                  <a:cubicBezTo>
                    <a:pt x="5747723" y="677840"/>
                    <a:pt x="5755793" y="685910"/>
                    <a:pt x="5755793" y="695865"/>
                  </a:cubicBezTo>
                  <a:cubicBezTo>
                    <a:pt x="5755793" y="705819"/>
                    <a:pt x="5747723" y="713889"/>
                    <a:pt x="5737768" y="713889"/>
                  </a:cubicBezTo>
                  <a:cubicBezTo>
                    <a:pt x="5727813" y="713889"/>
                    <a:pt x="5719744" y="705819"/>
                    <a:pt x="5719744" y="695865"/>
                  </a:cubicBezTo>
                  <a:cubicBezTo>
                    <a:pt x="5719744" y="685910"/>
                    <a:pt x="5727813" y="677840"/>
                    <a:pt x="5737768" y="677840"/>
                  </a:cubicBezTo>
                  <a:close/>
                  <a:moveTo>
                    <a:pt x="781057" y="677840"/>
                  </a:moveTo>
                  <a:cubicBezTo>
                    <a:pt x="791012" y="677840"/>
                    <a:pt x="799082" y="685910"/>
                    <a:pt x="799082" y="695865"/>
                  </a:cubicBezTo>
                  <a:cubicBezTo>
                    <a:pt x="799082" y="705819"/>
                    <a:pt x="791012" y="713889"/>
                    <a:pt x="781057" y="713889"/>
                  </a:cubicBezTo>
                  <a:cubicBezTo>
                    <a:pt x="771103" y="713889"/>
                    <a:pt x="763033" y="705819"/>
                    <a:pt x="763033" y="695865"/>
                  </a:cubicBezTo>
                  <a:cubicBezTo>
                    <a:pt x="763033" y="685910"/>
                    <a:pt x="771103" y="677840"/>
                    <a:pt x="781057" y="677840"/>
                  </a:cubicBezTo>
                  <a:close/>
                  <a:moveTo>
                    <a:pt x="276373" y="677840"/>
                  </a:moveTo>
                  <a:cubicBezTo>
                    <a:pt x="286328" y="677840"/>
                    <a:pt x="294398" y="685910"/>
                    <a:pt x="294398" y="695865"/>
                  </a:cubicBezTo>
                  <a:cubicBezTo>
                    <a:pt x="294398" y="705819"/>
                    <a:pt x="286328" y="713889"/>
                    <a:pt x="276373" y="713889"/>
                  </a:cubicBezTo>
                  <a:cubicBezTo>
                    <a:pt x="266419" y="713889"/>
                    <a:pt x="258349" y="705819"/>
                    <a:pt x="258349" y="695865"/>
                  </a:cubicBezTo>
                  <a:cubicBezTo>
                    <a:pt x="258349" y="685910"/>
                    <a:pt x="266419" y="677840"/>
                    <a:pt x="276373" y="677840"/>
                  </a:cubicBezTo>
                  <a:close/>
                  <a:moveTo>
                    <a:pt x="1784415" y="671832"/>
                  </a:moveTo>
                  <a:cubicBezTo>
                    <a:pt x="1794370" y="671832"/>
                    <a:pt x="1802440" y="679901"/>
                    <a:pt x="1802440" y="689856"/>
                  </a:cubicBezTo>
                  <a:cubicBezTo>
                    <a:pt x="1802440" y="699811"/>
                    <a:pt x="1794370" y="707881"/>
                    <a:pt x="1784415" y="707881"/>
                  </a:cubicBezTo>
                  <a:cubicBezTo>
                    <a:pt x="1774461" y="707881"/>
                    <a:pt x="1766391" y="699811"/>
                    <a:pt x="1766391" y="689856"/>
                  </a:cubicBezTo>
                  <a:cubicBezTo>
                    <a:pt x="1766391" y="679901"/>
                    <a:pt x="1774461" y="671832"/>
                    <a:pt x="1784415" y="671832"/>
                  </a:cubicBezTo>
                  <a:close/>
                  <a:moveTo>
                    <a:pt x="3713027" y="665824"/>
                  </a:moveTo>
                  <a:cubicBezTo>
                    <a:pt x="3722982" y="665824"/>
                    <a:pt x="3731052" y="673894"/>
                    <a:pt x="3731052" y="683848"/>
                  </a:cubicBezTo>
                  <a:cubicBezTo>
                    <a:pt x="3731052" y="693803"/>
                    <a:pt x="3722982" y="701873"/>
                    <a:pt x="3713027" y="701873"/>
                  </a:cubicBezTo>
                  <a:cubicBezTo>
                    <a:pt x="3703073" y="701873"/>
                    <a:pt x="3695003" y="693803"/>
                    <a:pt x="3695003" y="683848"/>
                  </a:cubicBezTo>
                  <a:cubicBezTo>
                    <a:pt x="3695003" y="673894"/>
                    <a:pt x="3703073" y="665824"/>
                    <a:pt x="3713027" y="665824"/>
                  </a:cubicBezTo>
                  <a:close/>
                  <a:moveTo>
                    <a:pt x="3274433" y="665824"/>
                  </a:moveTo>
                  <a:cubicBezTo>
                    <a:pt x="3284388" y="665824"/>
                    <a:pt x="3292458" y="673894"/>
                    <a:pt x="3292458" y="683848"/>
                  </a:cubicBezTo>
                  <a:cubicBezTo>
                    <a:pt x="3292458" y="693803"/>
                    <a:pt x="3284388" y="701873"/>
                    <a:pt x="3274433" y="701873"/>
                  </a:cubicBezTo>
                  <a:cubicBezTo>
                    <a:pt x="3264478" y="701873"/>
                    <a:pt x="3256409" y="693803"/>
                    <a:pt x="3256409" y="683848"/>
                  </a:cubicBezTo>
                  <a:cubicBezTo>
                    <a:pt x="3256409" y="673894"/>
                    <a:pt x="3264478" y="665824"/>
                    <a:pt x="3274433" y="665824"/>
                  </a:cubicBezTo>
                  <a:close/>
                  <a:moveTo>
                    <a:pt x="1291748" y="665824"/>
                  </a:moveTo>
                  <a:cubicBezTo>
                    <a:pt x="1301703" y="665824"/>
                    <a:pt x="1309773" y="673894"/>
                    <a:pt x="1309773" y="683848"/>
                  </a:cubicBezTo>
                  <a:cubicBezTo>
                    <a:pt x="1309773" y="693803"/>
                    <a:pt x="1301703" y="701873"/>
                    <a:pt x="1291748" y="701873"/>
                  </a:cubicBezTo>
                  <a:cubicBezTo>
                    <a:pt x="1281794" y="701873"/>
                    <a:pt x="1273724" y="693803"/>
                    <a:pt x="1273724" y="683848"/>
                  </a:cubicBezTo>
                  <a:cubicBezTo>
                    <a:pt x="1273724" y="673894"/>
                    <a:pt x="1281794" y="665824"/>
                    <a:pt x="1291748" y="665824"/>
                  </a:cubicBezTo>
                  <a:close/>
                  <a:moveTo>
                    <a:pt x="636862" y="665824"/>
                  </a:moveTo>
                  <a:cubicBezTo>
                    <a:pt x="646817" y="665824"/>
                    <a:pt x="654887" y="673894"/>
                    <a:pt x="654887" y="683848"/>
                  </a:cubicBezTo>
                  <a:cubicBezTo>
                    <a:pt x="654887" y="693803"/>
                    <a:pt x="646817" y="701873"/>
                    <a:pt x="636862" y="701873"/>
                  </a:cubicBezTo>
                  <a:cubicBezTo>
                    <a:pt x="626908" y="701873"/>
                    <a:pt x="618838" y="693803"/>
                    <a:pt x="618838" y="683848"/>
                  </a:cubicBezTo>
                  <a:cubicBezTo>
                    <a:pt x="618838" y="673894"/>
                    <a:pt x="626908" y="665824"/>
                    <a:pt x="636862" y="665824"/>
                  </a:cubicBezTo>
                  <a:close/>
                  <a:moveTo>
                    <a:pt x="3172295" y="659815"/>
                  </a:moveTo>
                  <a:cubicBezTo>
                    <a:pt x="3182250" y="659815"/>
                    <a:pt x="3190320" y="667885"/>
                    <a:pt x="3190320" y="677839"/>
                  </a:cubicBezTo>
                  <a:cubicBezTo>
                    <a:pt x="3190320" y="687794"/>
                    <a:pt x="3182250" y="695864"/>
                    <a:pt x="3172295" y="695864"/>
                  </a:cubicBezTo>
                  <a:cubicBezTo>
                    <a:pt x="3162341" y="695864"/>
                    <a:pt x="3154271" y="687794"/>
                    <a:pt x="3154271" y="677839"/>
                  </a:cubicBezTo>
                  <a:cubicBezTo>
                    <a:pt x="3154271" y="667885"/>
                    <a:pt x="3162341" y="659815"/>
                    <a:pt x="3172295" y="659815"/>
                  </a:cubicBezTo>
                  <a:close/>
                  <a:moveTo>
                    <a:pt x="6314550" y="647799"/>
                  </a:moveTo>
                  <a:cubicBezTo>
                    <a:pt x="6324504" y="647799"/>
                    <a:pt x="6332574" y="655869"/>
                    <a:pt x="6332574" y="665824"/>
                  </a:cubicBezTo>
                  <a:cubicBezTo>
                    <a:pt x="6332574" y="675778"/>
                    <a:pt x="6324505" y="683848"/>
                    <a:pt x="6314550" y="683848"/>
                  </a:cubicBezTo>
                  <a:cubicBezTo>
                    <a:pt x="6304595" y="683848"/>
                    <a:pt x="6296525" y="675778"/>
                    <a:pt x="6296525" y="665824"/>
                  </a:cubicBezTo>
                  <a:cubicBezTo>
                    <a:pt x="6296525" y="655869"/>
                    <a:pt x="6304594" y="647799"/>
                    <a:pt x="6314550" y="647799"/>
                  </a:cubicBezTo>
                  <a:close/>
                  <a:moveTo>
                    <a:pt x="3040116" y="647799"/>
                  </a:moveTo>
                  <a:cubicBezTo>
                    <a:pt x="3050071" y="647799"/>
                    <a:pt x="3058141" y="655869"/>
                    <a:pt x="3058141" y="665824"/>
                  </a:cubicBezTo>
                  <a:cubicBezTo>
                    <a:pt x="3058141" y="675778"/>
                    <a:pt x="3050071" y="683848"/>
                    <a:pt x="3040116" y="683848"/>
                  </a:cubicBezTo>
                  <a:cubicBezTo>
                    <a:pt x="3030161" y="683848"/>
                    <a:pt x="3022092" y="675778"/>
                    <a:pt x="3022092" y="665824"/>
                  </a:cubicBezTo>
                  <a:cubicBezTo>
                    <a:pt x="3022092" y="655869"/>
                    <a:pt x="3030161" y="647799"/>
                    <a:pt x="3040116" y="647799"/>
                  </a:cubicBezTo>
                  <a:close/>
                  <a:moveTo>
                    <a:pt x="4025450" y="641791"/>
                  </a:moveTo>
                  <a:cubicBezTo>
                    <a:pt x="4035405" y="641791"/>
                    <a:pt x="4043475" y="649860"/>
                    <a:pt x="4043475" y="659815"/>
                  </a:cubicBezTo>
                  <a:cubicBezTo>
                    <a:pt x="4043475" y="669770"/>
                    <a:pt x="4035405" y="677840"/>
                    <a:pt x="4025450" y="677840"/>
                  </a:cubicBezTo>
                  <a:cubicBezTo>
                    <a:pt x="4015495" y="677840"/>
                    <a:pt x="4007426" y="669770"/>
                    <a:pt x="4007426" y="659815"/>
                  </a:cubicBezTo>
                  <a:cubicBezTo>
                    <a:pt x="4007426" y="649860"/>
                    <a:pt x="4015495" y="641791"/>
                    <a:pt x="4025450" y="641791"/>
                  </a:cubicBezTo>
                  <a:close/>
                  <a:moveTo>
                    <a:pt x="5948053" y="629775"/>
                  </a:moveTo>
                  <a:cubicBezTo>
                    <a:pt x="5958008" y="629775"/>
                    <a:pt x="5966078" y="637845"/>
                    <a:pt x="5966078" y="647799"/>
                  </a:cubicBezTo>
                  <a:cubicBezTo>
                    <a:pt x="5966078" y="657754"/>
                    <a:pt x="5958008" y="665824"/>
                    <a:pt x="5948053" y="665824"/>
                  </a:cubicBezTo>
                  <a:cubicBezTo>
                    <a:pt x="5938098" y="665824"/>
                    <a:pt x="5930029" y="657754"/>
                    <a:pt x="5930029" y="647799"/>
                  </a:cubicBezTo>
                  <a:cubicBezTo>
                    <a:pt x="5930029" y="637845"/>
                    <a:pt x="5938098" y="629775"/>
                    <a:pt x="5948053" y="629775"/>
                  </a:cubicBezTo>
                  <a:close/>
                  <a:moveTo>
                    <a:pt x="2673619" y="629775"/>
                  </a:moveTo>
                  <a:cubicBezTo>
                    <a:pt x="2683574" y="629775"/>
                    <a:pt x="2691644" y="637845"/>
                    <a:pt x="2691644" y="647799"/>
                  </a:cubicBezTo>
                  <a:cubicBezTo>
                    <a:pt x="2691644" y="657754"/>
                    <a:pt x="2683574" y="665824"/>
                    <a:pt x="2673619" y="665824"/>
                  </a:cubicBezTo>
                  <a:cubicBezTo>
                    <a:pt x="2663664" y="665824"/>
                    <a:pt x="2655595" y="657754"/>
                    <a:pt x="2655595" y="647799"/>
                  </a:cubicBezTo>
                  <a:cubicBezTo>
                    <a:pt x="2655595" y="637845"/>
                    <a:pt x="2663664" y="629775"/>
                    <a:pt x="2673619" y="629775"/>
                  </a:cubicBezTo>
                  <a:close/>
                  <a:moveTo>
                    <a:pt x="2331156" y="629775"/>
                  </a:moveTo>
                  <a:cubicBezTo>
                    <a:pt x="2341111" y="629775"/>
                    <a:pt x="2349181" y="637845"/>
                    <a:pt x="2349181" y="647799"/>
                  </a:cubicBezTo>
                  <a:cubicBezTo>
                    <a:pt x="2349181" y="657754"/>
                    <a:pt x="2341111" y="665824"/>
                    <a:pt x="2331156" y="665824"/>
                  </a:cubicBezTo>
                  <a:cubicBezTo>
                    <a:pt x="2321202" y="665824"/>
                    <a:pt x="2313132" y="657754"/>
                    <a:pt x="2313132" y="647799"/>
                  </a:cubicBezTo>
                  <a:cubicBezTo>
                    <a:pt x="2313132" y="637845"/>
                    <a:pt x="2321202" y="629775"/>
                    <a:pt x="2331156" y="629775"/>
                  </a:cubicBezTo>
                  <a:close/>
                  <a:moveTo>
                    <a:pt x="1514049" y="629775"/>
                  </a:moveTo>
                  <a:cubicBezTo>
                    <a:pt x="1524004" y="629775"/>
                    <a:pt x="1532074" y="637845"/>
                    <a:pt x="1532074" y="647799"/>
                  </a:cubicBezTo>
                  <a:cubicBezTo>
                    <a:pt x="1532074" y="657754"/>
                    <a:pt x="1524004" y="665824"/>
                    <a:pt x="1514049" y="665824"/>
                  </a:cubicBezTo>
                  <a:cubicBezTo>
                    <a:pt x="1504095" y="665824"/>
                    <a:pt x="1496025" y="657754"/>
                    <a:pt x="1496025" y="647799"/>
                  </a:cubicBezTo>
                  <a:cubicBezTo>
                    <a:pt x="1496025" y="637845"/>
                    <a:pt x="1504095" y="629775"/>
                    <a:pt x="1514049" y="629775"/>
                  </a:cubicBezTo>
                  <a:close/>
                  <a:moveTo>
                    <a:pt x="901219" y="629775"/>
                  </a:moveTo>
                  <a:cubicBezTo>
                    <a:pt x="911174" y="629775"/>
                    <a:pt x="919244" y="637845"/>
                    <a:pt x="919244" y="647799"/>
                  </a:cubicBezTo>
                  <a:cubicBezTo>
                    <a:pt x="919244" y="657754"/>
                    <a:pt x="911174" y="665824"/>
                    <a:pt x="901219" y="665824"/>
                  </a:cubicBezTo>
                  <a:cubicBezTo>
                    <a:pt x="891265" y="665824"/>
                    <a:pt x="883195" y="657754"/>
                    <a:pt x="883195" y="647799"/>
                  </a:cubicBezTo>
                  <a:cubicBezTo>
                    <a:pt x="883195" y="637845"/>
                    <a:pt x="891265" y="629775"/>
                    <a:pt x="901219" y="629775"/>
                  </a:cubicBezTo>
                  <a:close/>
                  <a:moveTo>
                    <a:pt x="5827891" y="617758"/>
                  </a:moveTo>
                  <a:cubicBezTo>
                    <a:pt x="5837846" y="617758"/>
                    <a:pt x="5845916" y="625828"/>
                    <a:pt x="5845916" y="635783"/>
                  </a:cubicBezTo>
                  <a:cubicBezTo>
                    <a:pt x="5845916" y="645737"/>
                    <a:pt x="5837846" y="653807"/>
                    <a:pt x="5827891" y="653807"/>
                  </a:cubicBezTo>
                  <a:cubicBezTo>
                    <a:pt x="5817936" y="653807"/>
                    <a:pt x="5809867" y="645737"/>
                    <a:pt x="5809867" y="635783"/>
                  </a:cubicBezTo>
                  <a:cubicBezTo>
                    <a:pt x="5809867" y="625828"/>
                    <a:pt x="5817936" y="617758"/>
                    <a:pt x="5827891" y="617758"/>
                  </a:cubicBezTo>
                  <a:close/>
                  <a:moveTo>
                    <a:pt x="2469343" y="617758"/>
                  </a:moveTo>
                  <a:cubicBezTo>
                    <a:pt x="2479298" y="617758"/>
                    <a:pt x="2487368" y="625828"/>
                    <a:pt x="2487368" y="635783"/>
                  </a:cubicBezTo>
                  <a:cubicBezTo>
                    <a:pt x="2487368" y="645737"/>
                    <a:pt x="2479298" y="653807"/>
                    <a:pt x="2469343" y="653807"/>
                  </a:cubicBezTo>
                  <a:cubicBezTo>
                    <a:pt x="2459388" y="653807"/>
                    <a:pt x="2451319" y="645737"/>
                    <a:pt x="2451319" y="635783"/>
                  </a:cubicBezTo>
                  <a:cubicBezTo>
                    <a:pt x="2451319" y="625828"/>
                    <a:pt x="2459388" y="617758"/>
                    <a:pt x="2469343" y="617758"/>
                  </a:cubicBezTo>
                  <a:close/>
                  <a:moveTo>
                    <a:pt x="6110273" y="611750"/>
                  </a:moveTo>
                  <a:cubicBezTo>
                    <a:pt x="6120228" y="611750"/>
                    <a:pt x="6128298" y="619819"/>
                    <a:pt x="6128298" y="629774"/>
                  </a:cubicBezTo>
                  <a:cubicBezTo>
                    <a:pt x="6128298" y="639729"/>
                    <a:pt x="6120228" y="647799"/>
                    <a:pt x="6110273" y="647799"/>
                  </a:cubicBezTo>
                  <a:cubicBezTo>
                    <a:pt x="6100318" y="647799"/>
                    <a:pt x="6092248" y="639729"/>
                    <a:pt x="6092248" y="629774"/>
                  </a:cubicBezTo>
                  <a:cubicBezTo>
                    <a:pt x="6092248" y="619819"/>
                    <a:pt x="6100318" y="611750"/>
                    <a:pt x="6110273" y="611750"/>
                  </a:cubicBezTo>
                  <a:close/>
                  <a:moveTo>
                    <a:pt x="3598872" y="611750"/>
                  </a:moveTo>
                  <a:cubicBezTo>
                    <a:pt x="3608827" y="611750"/>
                    <a:pt x="3616897" y="619819"/>
                    <a:pt x="3616897" y="629774"/>
                  </a:cubicBezTo>
                  <a:cubicBezTo>
                    <a:pt x="3616897" y="639729"/>
                    <a:pt x="3608827" y="647799"/>
                    <a:pt x="3598872" y="647799"/>
                  </a:cubicBezTo>
                  <a:cubicBezTo>
                    <a:pt x="3588918" y="647799"/>
                    <a:pt x="3580848" y="639729"/>
                    <a:pt x="3580848" y="629774"/>
                  </a:cubicBezTo>
                  <a:cubicBezTo>
                    <a:pt x="3580848" y="619819"/>
                    <a:pt x="3588918" y="611750"/>
                    <a:pt x="3598872" y="611750"/>
                  </a:cubicBezTo>
                  <a:close/>
                  <a:moveTo>
                    <a:pt x="2150912" y="611750"/>
                  </a:moveTo>
                  <a:cubicBezTo>
                    <a:pt x="2160867" y="611750"/>
                    <a:pt x="2168937" y="619819"/>
                    <a:pt x="2168937" y="629774"/>
                  </a:cubicBezTo>
                  <a:cubicBezTo>
                    <a:pt x="2168937" y="639729"/>
                    <a:pt x="2160867" y="647799"/>
                    <a:pt x="2150912" y="647799"/>
                  </a:cubicBezTo>
                  <a:cubicBezTo>
                    <a:pt x="2140958" y="647799"/>
                    <a:pt x="2132888" y="639729"/>
                    <a:pt x="2132888" y="629774"/>
                  </a:cubicBezTo>
                  <a:cubicBezTo>
                    <a:pt x="2132888" y="619819"/>
                    <a:pt x="2140958" y="611750"/>
                    <a:pt x="2150912" y="611750"/>
                  </a:cubicBezTo>
                  <a:close/>
                  <a:moveTo>
                    <a:pt x="2036758" y="605742"/>
                  </a:moveTo>
                  <a:cubicBezTo>
                    <a:pt x="2046712" y="605742"/>
                    <a:pt x="2054782" y="613812"/>
                    <a:pt x="2054782" y="623766"/>
                  </a:cubicBezTo>
                  <a:cubicBezTo>
                    <a:pt x="2054782" y="633721"/>
                    <a:pt x="2046712" y="641791"/>
                    <a:pt x="2036758" y="641791"/>
                  </a:cubicBezTo>
                  <a:cubicBezTo>
                    <a:pt x="2026803" y="641791"/>
                    <a:pt x="2018733" y="633721"/>
                    <a:pt x="2018733" y="623766"/>
                  </a:cubicBezTo>
                  <a:cubicBezTo>
                    <a:pt x="2018733" y="613812"/>
                    <a:pt x="2026803" y="605742"/>
                    <a:pt x="2036758" y="605742"/>
                  </a:cubicBezTo>
                  <a:close/>
                  <a:moveTo>
                    <a:pt x="1652236" y="605742"/>
                  </a:moveTo>
                  <a:cubicBezTo>
                    <a:pt x="1662191" y="605742"/>
                    <a:pt x="1670261" y="613812"/>
                    <a:pt x="1670261" y="623766"/>
                  </a:cubicBezTo>
                  <a:cubicBezTo>
                    <a:pt x="1670261" y="633721"/>
                    <a:pt x="1662191" y="641791"/>
                    <a:pt x="1652236" y="641791"/>
                  </a:cubicBezTo>
                  <a:cubicBezTo>
                    <a:pt x="1642282" y="641791"/>
                    <a:pt x="1634212" y="633721"/>
                    <a:pt x="1634212" y="623766"/>
                  </a:cubicBezTo>
                  <a:cubicBezTo>
                    <a:pt x="1634212" y="613812"/>
                    <a:pt x="1642282" y="605742"/>
                    <a:pt x="1652236" y="605742"/>
                  </a:cubicBezTo>
                  <a:close/>
                  <a:moveTo>
                    <a:pt x="1027390" y="605742"/>
                  </a:moveTo>
                  <a:cubicBezTo>
                    <a:pt x="1037345" y="605742"/>
                    <a:pt x="1045415" y="613812"/>
                    <a:pt x="1045415" y="623766"/>
                  </a:cubicBezTo>
                  <a:cubicBezTo>
                    <a:pt x="1045415" y="633721"/>
                    <a:pt x="1037345" y="641791"/>
                    <a:pt x="1027390" y="641791"/>
                  </a:cubicBezTo>
                  <a:cubicBezTo>
                    <a:pt x="1017436" y="641791"/>
                    <a:pt x="1009366" y="633721"/>
                    <a:pt x="1009366" y="623766"/>
                  </a:cubicBezTo>
                  <a:cubicBezTo>
                    <a:pt x="1009366" y="613812"/>
                    <a:pt x="1017436" y="605742"/>
                    <a:pt x="1027390" y="605742"/>
                  </a:cubicBezTo>
                  <a:close/>
                  <a:moveTo>
                    <a:pt x="504684" y="605742"/>
                  </a:moveTo>
                  <a:cubicBezTo>
                    <a:pt x="514638" y="605742"/>
                    <a:pt x="522708" y="613812"/>
                    <a:pt x="522708" y="623766"/>
                  </a:cubicBezTo>
                  <a:cubicBezTo>
                    <a:pt x="522708" y="633721"/>
                    <a:pt x="514638" y="641791"/>
                    <a:pt x="504684" y="641791"/>
                  </a:cubicBezTo>
                  <a:cubicBezTo>
                    <a:pt x="494729" y="641791"/>
                    <a:pt x="486659" y="633721"/>
                    <a:pt x="486659" y="623766"/>
                  </a:cubicBezTo>
                  <a:cubicBezTo>
                    <a:pt x="486659" y="613812"/>
                    <a:pt x="494729" y="605742"/>
                    <a:pt x="504684" y="605742"/>
                  </a:cubicBezTo>
                  <a:close/>
                  <a:moveTo>
                    <a:pt x="378512" y="605742"/>
                  </a:moveTo>
                  <a:cubicBezTo>
                    <a:pt x="388467" y="605742"/>
                    <a:pt x="396537" y="613812"/>
                    <a:pt x="396537" y="623766"/>
                  </a:cubicBezTo>
                  <a:cubicBezTo>
                    <a:pt x="396537" y="633721"/>
                    <a:pt x="388467" y="641791"/>
                    <a:pt x="378512" y="641791"/>
                  </a:cubicBezTo>
                  <a:cubicBezTo>
                    <a:pt x="368558" y="641791"/>
                    <a:pt x="360488" y="633721"/>
                    <a:pt x="360488" y="623766"/>
                  </a:cubicBezTo>
                  <a:cubicBezTo>
                    <a:pt x="360488" y="613812"/>
                    <a:pt x="368558" y="605742"/>
                    <a:pt x="378512" y="605742"/>
                  </a:cubicBezTo>
                  <a:close/>
                  <a:moveTo>
                    <a:pt x="3358547" y="599734"/>
                  </a:moveTo>
                  <a:cubicBezTo>
                    <a:pt x="3368502" y="599734"/>
                    <a:pt x="3376572" y="607804"/>
                    <a:pt x="3376572" y="617758"/>
                  </a:cubicBezTo>
                  <a:cubicBezTo>
                    <a:pt x="3376572" y="627713"/>
                    <a:pt x="3368502" y="635783"/>
                    <a:pt x="3358547" y="635783"/>
                  </a:cubicBezTo>
                  <a:cubicBezTo>
                    <a:pt x="3348593" y="635783"/>
                    <a:pt x="3340523" y="627713"/>
                    <a:pt x="3340523" y="617758"/>
                  </a:cubicBezTo>
                  <a:cubicBezTo>
                    <a:pt x="3340523" y="607804"/>
                    <a:pt x="3348593" y="599734"/>
                    <a:pt x="3358547" y="599734"/>
                  </a:cubicBezTo>
                  <a:close/>
                  <a:moveTo>
                    <a:pt x="3887263" y="593726"/>
                  </a:moveTo>
                  <a:cubicBezTo>
                    <a:pt x="3897218" y="593726"/>
                    <a:pt x="3905288" y="601796"/>
                    <a:pt x="3905288" y="611750"/>
                  </a:cubicBezTo>
                  <a:cubicBezTo>
                    <a:pt x="3905288" y="621705"/>
                    <a:pt x="3897218" y="629775"/>
                    <a:pt x="3887263" y="629775"/>
                  </a:cubicBezTo>
                  <a:cubicBezTo>
                    <a:pt x="3877308" y="629775"/>
                    <a:pt x="3869238" y="621705"/>
                    <a:pt x="3869238" y="611750"/>
                  </a:cubicBezTo>
                  <a:cubicBezTo>
                    <a:pt x="3869238" y="601796"/>
                    <a:pt x="3877308" y="593726"/>
                    <a:pt x="3887263" y="593726"/>
                  </a:cubicBezTo>
                  <a:close/>
                  <a:moveTo>
                    <a:pt x="5623614" y="587718"/>
                  </a:moveTo>
                  <a:cubicBezTo>
                    <a:pt x="5633569" y="587718"/>
                    <a:pt x="5641639" y="595788"/>
                    <a:pt x="5641639" y="605743"/>
                  </a:cubicBezTo>
                  <a:cubicBezTo>
                    <a:pt x="5641639" y="615697"/>
                    <a:pt x="5633569" y="623767"/>
                    <a:pt x="5623614" y="623767"/>
                  </a:cubicBezTo>
                  <a:cubicBezTo>
                    <a:pt x="5613659" y="623767"/>
                    <a:pt x="5605590" y="615697"/>
                    <a:pt x="5605590" y="605743"/>
                  </a:cubicBezTo>
                  <a:cubicBezTo>
                    <a:pt x="5605590" y="595788"/>
                    <a:pt x="5613659" y="587718"/>
                    <a:pt x="5623614" y="587718"/>
                  </a:cubicBezTo>
                  <a:close/>
                  <a:moveTo>
                    <a:pt x="4157629" y="587718"/>
                  </a:moveTo>
                  <a:cubicBezTo>
                    <a:pt x="4167584" y="587718"/>
                    <a:pt x="4175654" y="595788"/>
                    <a:pt x="4175654" y="605743"/>
                  </a:cubicBezTo>
                  <a:cubicBezTo>
                    <a:pt x="4175654" y="615697"/>
                    <a:pt x="4167584" y="623767"/>
                    <a:pt x="4157629" y="623767"/>
                  </a:cubicBezTo>
                  <a:cubicBezTo>
                    <a:pt x="4147674" y="623767"/>
                    <a:pt x="4139604" y="615697"/>
                    <a:pt x="4139604" y="605743"/>
                  </a:cubicBezTo>
                  <a:cubicBezTo>
                    <a:pt x="4139604" y="595788"/>
                    <a:pt x="4147674" y="587718"/>
                    <a:pt x="4157629" y="587718"/>
                  </a:cubicBezTo>
                  <a:close/>
                  <a:moveTo>
                    <a:pt x="1886555" y="587718"/>
                  </a:moveTo>
                  <a:cubicBezTo>
                    <a:pt x="1896509" y="587718"/>
                    <a:pt x="1904579" y="595788"/>
                    <a:pt x="1904579" y="605743"/>
                  </a:cubicBezTo>
                  <a:cubicBezTo>
                    <a:pt x="1904579" y="615697"/>
                    <a:pt x="1896509" y="623767"/>
                    <a:pt x="1886555" y="623767"/>
                  </a:cubicBezTo>
                  <a:cubicBezTo>
                    <a:pt x="1876600" y="623767"/>
                    <a:pt x="1868530" y="615697"/>
                    <a:pt x="1868530" y="605743"/>
                  </a:cubicBezTo>
                  <a:cubicBezTo>
                    <a:pt x="1868530" y="595788"/>
                    <a:pt x="1876600" y="587718"/>
                    <a:pt x="1886555" y="587718"/>
                  </a:cubicBezTo>
                  <a:close/>
                  <a:moveTo>
                    <a:pt x="1147553" y="587718"/>
                  </a:moveTo>
                  <a:cubicBezTo>
                    <a:pt x="1157508" y="587718"/>
                    <a:pt x="1165578" y="595788"/>
                    <a:pt x="1165578" y="605743"/>
                  </a:cubicBezTo>
                  <a:cubicBezTo>
                    <a:pt x="1165578" y="615697"/>
                    <a:pt x="1157508" y="623767"/>
                    <a:pt x="1147553" y="623767"/>
                  </a:cubicBezTo>
                  <a:cubicBezTo>
                    <a:pt x="1137599" y="623767"/>
                    <a:pt x="1129529" y="615697"/>
                    <a:pt x="1129529" y="605743"/>
                  </a:cubicBezTo>
                  <a:cubicBezTo>
                    <a:pt x="1129529" y="595788"/>
                    <a:pt x="1137599" y="587718"/>
                    <a:pt x="1147553" y="587718"/>
                  </a:cubicBezTo>
                  <a:close/>
                  <a:moveTo>
                    <a:pt x="6212411" y="581710"/>
                  </a:moveTo>
                  <a:cubicBezTo>
                    <a:pt x="6222366" y="581710"/>
                    <a:pt x="6230436" y="589779"/>
                    <a:pt x="6230436" y="599734"/>
                  </a:cubicBezTo>
                  <a:cubicBezTo>
                    <a:pt x="6230436" y="609689"/>
                    <a:pt x="6222366" y="617759"/>
                    <a:pt x="6212411" y="617759"/>
                  </a:cubicBezTo>
                  <a:cubicBezTo>
                    <a:pt x="6202457" y="617759"/>
                    <a:pt x="6194387" y="609689"/>
                    <a:pt x="6194387" y="599734"/>
                  </a:cubicBezTo>
                  <a:cubicBezTo>
                    <a:pt x="6194387" y="589779"/>
                    <a:pt x="6202457" y="581710"/>
                    <a:pt x="6212411" y="581710"/>
                  </a:cubicBezTo>
                  <a:close/>
                  <a:moveTo>
                    <a:pt x="3478710" y="581710"/>
                  </a:moveTo>
                  <a:cubicBezTo>
                    <a:pt x="3488665" y="581710"/>
                    <a:pt x="3496735" y="589779"/>
                    <a:pt x="3496735" y="599734"/>
                  </a:cubicBezTo>
                  <a:cubicBezTo>
                    <a:pt x="3496735" y="609689"/>
                    <a:pt x="3488665" y="617759"/>
                    <a:pt x="3478710" y="617759"/>
                  </a:cubicBezTo>
                  <a:cubicBezTo>
                    <a:pt x="3468756" y="617759"/>
                    <a:pt x="3460686" y="609689"/>
                    <a:pt x="3460686" y="599734"/>
                  </a:cubicBezTo>
                  <a:cubicBezTo>
                    <a:pt x="3460686" y="589779"/>
                    <a:pt x="3468756" y="581710"/>
                    <a:pt x="3478710" y="581710"/>
                  </a:cubicBezTo>
                  <a:close/>
                  <a:moveTo>
                    <a:pt x="2883904" y="581710"/>
                  </a:moveTo>
                  <a:cubicBezTo>
                    <a:pt x="2893859" y="581710"/>
                    <a:pt x="2901929" y="589779"/>
                    <a:pt x="2901929" y="599734"/>
                  </a:cubicBezTo>
                  <a:cubicBezTo>
                    <a:pt x="2901929" y="609689"/>
                    <a:pt x="2893859" y="617759"/>
                    <a:pt x="2883904" y="617759"/>
                  </a:cubicBezTo>
                  <a:cubicBezTo>
                    <a:pt x="2873949" y="617759"/>
                    <a:pt x="2865880" y="609689"/>
                    <a:pt x="2865880" y="599734"/>
                  </a:cubicBezTo>
                  <a:cubicBezTo>
                    <a:pt x="2865880" y="589779"/>
                    <a:pt x="2873949" y="581710"/>
                    <a:pt x="2883904" y="581710"/>
                  </a:cubicBezTo>
                  <a:close/>
                  <a:moveTo>
                    <a:pt x="4488076" y="575702"/>
                  </a:moveTo>
                  <a:cubicBezTo>
                    <a:pt x="4498031" y="575702"/>
                    <a:pt x="4506101" y="583772"/>
                    <a:pt x="4506101" y="593726"/>
                  </a:cubicBezTo>
                  <a:cubicBezTo>
                    <a:pt x="4506101" y="603681"/>
                    <a:pt x="4498031" y="611751"/>
                    <a:pt x="4488076" y="611751"/>
                  </a:cubicBezTo>
                  <a:cubicBezTo>
                    <a:pt x="4478121" y="611751"/>
                    <a:pt x="4470051" y="603681"/>
                    <a:pt x="4470051" y="593726"/>
                  </a:cubicBezTo>
                  <a:cubicBezTo>
                    <a:pt x="4470051" y="583772"/>
                    <a:pt x="4478121" y="575702"/>
                    <a:pt x="4488076" y="575702"/>
                  </a:cubicBezTo>
                  <a:close/>
                  <a:moveTo>
                    <a:pt x="4313840" y="575702"/>
                  </a:moveTo>
                  <a:cubicBezTo>
                    <a:pt x="4323795" y="575702"/>
                    <a:pt x="4331865" y="583772"/>
                    <a:pt x="4331865" y="593726"/>
                  </a:cubicBezTo>
                  <a:cubicBezTo>
                    <a:pt x="4331865" y="603681"/>
                    <a:pt x="4323795" y="611751"/>
                    <a:pt x="4313840" y="611751"/>
                  </a:cubicBezTo>
                  <a:cubicBezTo>
                    <a:pt x="4303886" y="611751"/>
                    <a:pt x="4295816" y="603681"/>
                    <a:pt x="4295816" y="593726"/>
                  </a:cubicBezTo>
                  <a:cubicBezTo>
                    <a:pt x="4295816" y="583772"/>
                    <a:pt x="4303886" y="575702"/>
                    <a:pt x="4313840" y="575702"/>
                  </a:cubicBezTo>
                  <a:close/>
                  <a:moveTo>
                    <a:pt x="1381870" y="569693"/>
                  </a:moveTo>
                  <a:cubicBezTo>
                    <a:pt x="1391825" y="569693"/>
                    <a:pt x="1399895" y="577763"/>
                    <a:pt x="1399895" y="587717"/>
                  </a:cubicBezTo>
                  <a:cubicBezTo>
                    <a:pt x="1399895" y="597672"/>
                    <a:pt x="1391825" y="605742"/>
                    <a:pt x="1381870" y="605742"/>
                  </a:cubicBezTo>
                  <a:cubicBezTo>
                    <a:pt x="1371916" y="605742"/>
                    <a:pt x="1363846" y="597672"/>
                    <a:pt x="1363846" y="587717"/>
                  </a:cubicBezTo>
                  <a:cubicBezTo>
                    <a:pt x="1363846" y="577763"/>
                    <a:pt x="1371916" y="569693"/>
                    <a:pt x="1381870" y="569693"/>
                  </a:cubicBezTo>
                  <a:close/>
                  <a:moveTo>
                    <a:pt x="126170" y="563685"/>
                  </a:moveTo>
                  <a:cubicBezTo>
                    <a:pt x="136125" y="563685"/>
                    <a:pt x="144195" y="571755"/>
                    <a:pt x="144195" y="581709"/>
                  </a:cubicBezTo>
                  <a:cubicBezTo>
                    <a:pt x="144195" y="591664"/>
                    <a:pt x="136125" y="599734"/>
                    <a:pt x="126170" y="599734"/>
                  </a:cubicBezTo>
                  <a:cubicBezTo>
                    <a:pt x="116216" y="599734"/>
                    <a:pt x="108146" y="591664"/>
                    <a:pt x="108146" y="581709"/>
                  </a:cubicBezTo>
                  <a:cubicBezTo>
                    <a:pt x="108146" y="571755"/>
                    <a:pt x="116216" y="563685"/>
                    <a:pt x="126170" y="563685"/>
                  </a:cubicBezTo>
                  <a:close/>
                  <a:moveTo>
                    <a:pt x="2583497" y="557677"/>
                  </a:moveTo>
                  <a:cubicBezTo>
                    <a:pt x="2593452" y="557677"/>
                    <a:pt x="2601522" y="565747"/>
                    <a:pt x="2601522" y="575702"/>
                  </a:cubicBezTo>
                  <a:cubicBezTo>
                    <a:pt x="2601522" y="585656"/>
                    <a:pt x="2593452" y="593726"/>
                    <a:pt x="2583497" y="593726"/>
                  </a:cubicBezTo>
                  <a:cubicBezTo>
                    <a:pt x="2573542" y="593726"/>
                    <a:pt x="2565473" y="585656"/>
                    <a:pt x="2565473" y="575702"/>
                  </a:cubicBezTo>
                  <a:cubicBezTo>
                    <a:pt x="2565473" y="565747"/>
                    <a:pt x="2573542" y="557677"/>
                    <a:pt x="2583497" y="557677"/>
                  </a:cubicBezTo>
                  <a:close/>
                  <a:moveTo>
                    <a:pt x="246333" y="557677"/>
                  </a:moveTo>
                  <a:cubicBezTo>
                    <a:pt x="256288" y="557677"/>
                    <a:pt x="264358" y="565747"/>
                    <a:pt x="264358" y="575702"/>
                  </a:cubicBezTo>
                  <a:cubicBezTo>
                    <a:pt x="264358" y="585656"/>
                    <a:pt x="256288" y="593726"/>
                    <a:pt x="246333" y="593726"/>
                  </a:cubicBezTo>
                  <a:cubicBezTo>
                    <a:pt x="236379" y="593726"/>
                    <a:pt x="228309" y="585656"/>
                    <a:pt x="228309" y="575702"/>
                  </a:cubicBezTo>
                  <a:cubicBezTo>
                    <a:pt x="228309" y="565747"/>
                    <a:pt x="236379" y="557677"/>
                    <a:pt x="246333" y="557677"/>
                  </a:cubicBezTo>
                  <a:close/>
                  <a:moveTo>
                    <a:pt x="1736351" y="551669"/>
                  </a:moveTo>
                  <a:cubicBezTo>
                    <a:pt x="1746305" y="551669"/>
                    <a:pt x="1754375" y="559738"/>
                    <a:pt x="1754375" y="569693"/>
                  </a:cubicBezTo>
                  <a:cubicBezTo>
                    <a:pt x="1754375" y="579648"/>
                    <a:pt x="1746305" y="587718"/>
                    <a:pt x="1736351" y="587718"/>
                  </a:cubicBezTo>
                  <a:cubicBezTo>
                    <a:pt x="1726396" y="587718"/>
                    <a:pt x="1718326" y="579648"/>
                    <a:pt x="1718326" y="569693"/>
                  </a:cubicBezTo>
                  <a:cubicBezTo>
                    <a:pt x="1718326" y="559738"/>
                    <a:pt x="1726396" y="551669"/>
                    <a:pt x="1736351" y="551669"/>
                  </a:cubicBezTo>
                  <a:close/>
                  <a:moveTo>
                    <a:pt x="3731051" y="545661"/>
                  </a:moveTo>
                  <a:cubicBezTo>
                    <a:pt x="3741006" y="545661"/>
                    <a:pt x="3749076" y="553731"/>
                    <a:pt x="3749076" y="563685"/>
                  </a:cubicBezTo>
                  <a:cubicBezTo>
                    <a:pt x="3749076" y="573640"/>
                    <a:pt x="3741006" y="581710"/>
                    <a:pt x="3731051" y="581710"/>
                  </a:cubicBezTo>
                  <a:cubicBezTo>
                    <a:pt x="3721096" y="581710"/>
                    <a:pt x="3713027" y="573640"/>
                    <a:pt x="3713027" y="563685"/>
                  </a:cubicBezTo>
                  <a:cubicBezTo>
                    <a:pt x="3713027" y="553731"/>
                    <a:pt x="3721096" y="545661"/>
                    <a:pt x="3731051" y="545661"/>
                  </a:cubicBezTo>
                  <a:close/>
                  <a:moveTo>
                    <a:pt x="2763741" y="545661"/>
                  </a:moveTo>
                  <a:cubicBezTo>
                    <a:pt x="2773696" y="545661"/>
                    <a:pt x="2781766" y="553731"/>
                    <a:pt x="2781766" y="563685"/>
                  </a:cubicBezTo>
                  <a:cubicBezTo>
                    <a:pt x="2781766" y="573640"/>
                    <a:pt x="2773696" y="581710"/>
                    <a:pt x="2763741" y="581710"/>
                  </a:cubicBezTo>
                  <a:cubicBezTo>
                    <a:pt x="2753786" y="581710"/>
                    <a:pt x="2745717" y="573640"/>
                    <a:pt x="2745717" y="563685"/>
                  </a:cubicBezTo>
                  <a:cubicBezTo>
                    <a:pt x="2745717" y="553731"/>
                    <a:pt x="2753786" y="545661"/>
                    <a:pt x="2763741" y="545661"/>
                  </a:cubicBezTo>
                  <a:close/>
                  <a:moveTo>
                    <a:pt x="726984" y="545661"/>
                  </a:moveTo>
                  <a:cubicBezTo>
                    <a:pt x="736939" y="545661"/>
                    <a:pt x="745009" y="553731"/>
                    <a:pt x="745009" y="563685"/>
                  </a:cubicBezTo>
                  <a:cubicBezTo>
                    <a:pt x="745009" y="573640"/>
                    <a:pt x="736939" y="581710"/>
                    <a:pt x="726984" y="581710"/>
                  </a:cubicBezTo>
                  <a:cubicBezTo>
                    <a:pt x="717030" y="581710"/>
                    <a:pt x="708960" y="573640"/>
                    <a:pt x="708960" y="563685"/>
                  </a:cubicBezTo>
                  <a:cubicBezTo>
                    <a:pt x="708960" y="553731"/>
                    <a:pt x="717030" y="545661"/>
                    <a:pt x="726984" y="545661"/>
                  </a:cubicBezTo>
                  <a:close/>
                  <a:moveTo>
                    <a:pt x="3136246" y="539653"/>
                  </a:moveTo>
                  <a:cubicBezTo>
                    <a:pt x="3146201" y="539653"/>
                    <a:pt x="3154271" y="547723"/>
                    <a:pt x="3154271" y="557677"/>
                  </a:cubicBezTo>
                  <a:cubicBezTo>
                    <a:pt x="3154271" y="567632"/>
                    <a:pt x="3146201" y="575702"/>
                    <a:pt x="3136246" y="575702"/>
                  </a:cubicBezTo>
                  <a:cubicBezTo>
                    <a:pt x="3126291" y="575702"/>
                    <a:pt x="3118221" y="567632"/>
                    <a:pt x="3118221" y="557677"/>
                  </a:cubicBezTo>
                  <a:cubicBezTo>
                    <a:pt x="3118221" y="547723"/>
                    <a:pt x="3126291" y="539653"/>
                    <a:pt x="3136246" y="539653"/>
                  </a:cubicBezTo>
                  <a:close/>
                  <a:moveTo>
                    <a:pt x="3004067" y="539653"/>
                  </a:moveTo>
                  <a:cubicBezTo>
                    <a:pt x="3014022" y="539653"/>
                    <a:pt x="3022092" y="547723"/>
                    <a:pt x="3022092" y="557677"/>
                  </a:cubicBezTo>
                  <a:cubicBezTo>
                    <a:pt x="3022092" y="567632"/>
                    <a:pt x="3014022" y="575702"/>
                    <a:pt x="3004067" y="575702"/>
                  </a:cubicBezTo>
                  <a:cubicBezTo>
                    <a:pt x="2994112" y="575702"/>
                    <a:pt x="2986043" y="567632"/>
                    <a:pt x="2986043" y="557677"/>
                  </a:cubicBezTo>
                  <a:cubicBezTo>
                    <a:pt x="2986043" y="547723"/>
                    <a:pt x="2994112" y="539653"/>
                    <a:pt x="3004067" y="539653"/>
                  </a:cubicBezTo>
                  <a:close/>
                  <a:moveTo>
                    <a:pt x="835130" y="539653"/>
                  </a:moveTo>
                  <a:cubicBezTo>
                    <a:pt x="841767" y="539653"/>
                    <a:pt x="847146" y="545033"/>
                    <a:pt x="847146" y="551669"/>
                  </a:cubicBezTo>
                  <a:cubicBezTo>
                    <a:pt x="847146" y="558306"/>
                    <a:pt x="841767" y="563685"/>
                    <a:pt x="835130" y="563685"/>
                  </a:cubicBezTo>
                  <a:cubicBezTo>
                    <a:pt x="828494" y="563685"/>
                    <a:pt x="823114" y="558305"/>
                    <a:pt x="823114" y="551669"/>
                  </a:cubicBezTo>
                  <a:cubicBezTo>
                    <a:pt x="823114" y="545033"/>
                    <a:pt x="828494" y="539653"/>
                    <a:pt x="835130" y="539653"/>
                  </a:cubicBezTo>
                  <a:close/>
                  <a:moveTo>
                    <a:pt x="612829" y="539653"/>
                  </a:moveTo>
                  <a:cubicBezTo>
                    <a:pt x="622784" y="539653"/>
                    <a:pt x="630854" y="547723"/>
                    <a:pt x="630854" y="557677"/>
                  </a:cubicBezTo>
                  <a:cubicBezTo>
                    <a:pt x="630854" y="567632"/>
                    <a:pt x="622784" y="575702"/>
                    <a:pt x="612829" y="575702"/>
                  </a:cubicBezTo>
                  <a:cubicBezTo>
                    <a:pt x="602875" y="575702"/>
                    <a:pt x="594805" y="567632"/>
                    <a:pt x="594805" y="557677"/>
                  </a:cubicBezTo>
                  <a:cubicBezTo>
                    <a:pt x="594805" y="547723"/>
                    <a:pt x="602875" y="539653"/>
                    <a:pt x="612829" y="539653"/>
                  </a:cubicBezTo>
                  <a:close/>
                  <a:moveTo>
                    <a:pt x="6014143" y="533645"/>
                  </a:moveTo>
                  <a:cubicBezTo>
                    <a:pt x="6024098" y="533645"/>
                    <a:pt x="6032168" y="541715"/>
                    <a:pt x="6032168" y="551669"/>
                  </a:cubicBezTo>
                  <a:cubicBezTo>
                    <a:pt x="6032168" y="561624"/>
                    <a:pt x="6024098" y="569694"/>
                    <a:pt x="6014143" y="569694"/>
                  </a:cubicBezTo>
                  <a:cubicBezTo>
                    <a:pt x="6004188" y="569694"/>
                    <a:pt x="5996119" y="561624"/>
                    <a:pt x="5996119" y="551669"/>
                  </a:cubicBezTo>
                  <a:cubicBezTo>
                    <a:pt x="5996119" y="541715"/>
                    <a:pt x="6004188" y="533645"/>
                    <a:pt x="6014143" y="533645"/>
                  </a:cubicBezTo>
                  <a:close/>
                  <a:moveTo>
                    <a:pt x="5725752" y="533645"/>
                  </a:moveTo>
                  <a:cubicBezTo>
                    <a:pt x="5735707" y="533645"/>
                    <a:pt x="5743777" y="541715"/>
                    <a:pt x="5743777" y="551669"/>
                  </a:cubicBezTo>
                  <a:cubicBezTo>
                    <a:pt x="5743777" y="561624"/>
                    <a:pt x="5735707" y="569694"/>
                    <a:pt x="5725752" y="569694"/>
                  </a:cubicBezTo>
                  <a:cubicBezTo>
                    <a:pt x="5715798" y="569694"/>
                    <a:pt x="5707728" y="561624"/>
                    <a:pt x="5707728" y="551669"/>
                  </a:cubicBezTo>
                  <a:cubicBezTo>
                    <a:pt x="5707728" y="541715"/>
                    <a:pt x="5715798" y="533645"/>
                    <a:pt x="5725752" y="533645"/>
                  </a:cubicBezTo>
                  <a:close/>
                  <a:moveTo>
                    <a:pt x="4013434" y="533645"/>
                  </a:moveTo>
                  <a:cubicBezTo>
                    <a:pt x="4023389" y="533645"/>
                    <a:pt x="4031459" y="541715"/>
                    <a:pt x="4031459" y="551669"/>
                  </a:cubicBezTo>
                  <a:cubicBezTo>
                    <a:pt x="4031459" y="561624"/>
                    <a:pt x="4023389" y="569694"/>
                    <a:pt x="4013434" y="569694"/>
                  </a:cubicBezTo>
                  <a:cubicBezTo>
                    <a:pt x="4003480" y="569694"/>
                    <a:pt x="3995410" y="561624"/>
                    <a:pt x="3995410" y="551669"/>
                  </a:cubicBezTo>
                  <a:cubicBezTo>
                    <a:pt x="3995410" y="541715"/>
                    <a:pt x="4003480" y="533645"/>
                    <a:pt x="4013434" y="533645"/>
                  </a:cubicBezTo>
                  <a:close/>
                  <a:moveTo>
                    <a:pt x="2223009" y="533645"/>
                  </a:moveTo>
                  <a:cubicBezTo>
                    <a:pt x="2232964" y="533645"/>
                    <a:pt x="2241034" y="541715"/>
                    <a:pt x="2241034" y="551669"/>
                  </a:cubicBezTo>
                  <a:cubicBezTo>
                    <a:pt x="2241034" y="561624"/>
                    <a:pt x="2232964" y="569694"/>
                    <a:pt x="2223009" y="569694"/>
                  </a:cubicBezTo>
                  <a:cubicBezTo>
                    <a:pt x="2213055" y="569694"/>
                    <a:pt x="2204985" y="561624"/>
                    <a:pt x="2204985" y="551669"/>
                  </a:cubicBezTo>
                  <a:cubicBezTo>
                    <a:pt x="2204985" y="541715"/>
                    <a:pt x="2213055" y="533645"/>
                    <a:pt x="2223009" y="533645"/>
                  </a:cubicBezTo>
                  <a:close/>
                  <a:moveTo>
                    <a:pt x="1249691" y="533645"/>
                  </a:moveTo>
                  <a:cubicBezTo>
                    <a:pt x="1259646" y="533645"/>
                    <a:pt x="1267716" y="541715"/>
                    <a:pt x="1267716" y="551669"/>
                  </a:cubicBezTo>
                  <a:cubicBezTo>
                    <a:pt x="1267716" y="561624"/>
                    <a:pt x="1259646" y="569694"/>
                    <a:pt x="1249691" y="569694"/>
                  </a:cubicBezTo>
                  <a:cubicBezTo>
                    <a:pt x="1239737" y="569694"/>
                    <a:pt x="1231667" y="561624"/>
                    <a:pt x="1231667" y="551669"/>
                  </a:cubicBezTo>
                  <a:cubicBezTo>
                    <a:pt x="1231667" y="541715"/>
                    <a:pt x="1239737" y="533645"/>
                    <a:pt x="1249691" y="533645"/>
                  </a:cubicBezTo>
                  <a:close/>
                  <a:moveTo>
                    <a:pt x="2409261" y="527636"/>
                  </a:moveTo>
                  <a:cubicBezTo>
                    <a:pt x="2419216" y="527636"/>
                    <a:pt x="2427286" y="535706"/>
                    <a:pt x="2427286" y="545661"/>
                  </a:cubicBezTo>
                  <a:cubicBezTo>
                    <a:pt x="2427286" y="555615"/>
                    <a:pt x="2419216" y="563685"/>
                    <a:pt x="2409261" y="563685"/>
                  </a:cubicBezTo>
                  <a:cubicBezTo>
                    <a:pt x="2399307" y="563685"/>
                    <a:pt x="2391237" y="555615"/>
                    <a:pt x="2391237" y="545661"/>
                  </a:cubicBezTo>
                  <a:cubicBezTo>
                    <a:pt x="2391237" y="535706"/>
                    <a:pt x="2399307" y="527636"/>
                    <a:pt x="2409261" y="527636"/>
                  </a:cubicBezTo>
                  <a:close/>
                  <a:moveTo>
                    <a:pt x="5527484" y="521628"/>
                  </a:moveTo>
                  <a:cubicBezTo>
                    <a:pt x="5537439" y="521628"/>
                    <a:pt x="5545509" y="529697"/>
                    <a:pt x="5545509" y="539652"/>
                  </a:cubicBezTo>
                  <a:cubicBezTo>
                    <a:pt x="5545509" y="549607"/>
                    <a:pt x="5537439" y="557677"/>
                    <a:pt x="5527484" y="557677"/>
                  </a:cubicBezTo>
                  <a:cubicBezTo>
                    <a:pt x="5517529" y="557677"/>
                    <a:pt x="5509460" y="549607"/>
                    <a:pt x="5509460" y="539652"/>
                  </a:cubicBezTo>
                  <a:cubicBezTo>
                    <a:pt x="5509460" y="529697"/>
                    <a:pt x="5517529" y="521628"/>
                    <a:pt x="5527484" y="521628"/>
                  </a:cubicBezTo>
                  <a:close/>
                  <a:moveTo>
                    <a:pt x="4830540" y="521628"/>
                  </a:moveTo>
                  <a:cubicBezTo>
                    <a:pt x="4840495" y="521628"/>
                    <a:pt x="4848565" y="529697"/>
                    <a:pt x="4848565" y="539652"/>
                  </a:cubicBezTo>
                  <a:cubicBezTo>
                    <a:pt x="4848565" y="549607"/>
                    <a:pt x="4840495" y="557677"/>
                    <a:pt x="4830540" y="557677"/>
                  </a:cubicBezTo>
                  <a:cubicBezTo>
                    <a:pt x="4820586" y="557677"/>
                    <a:pt x="4812516" y="549607"/>
                    <a:pt x="4812516" y="539652"/>
                  </a:cubicBezTo>
                  <a:cubicBezTo>
                    <a:pt x="4812516" y="529697"/>
                    <a:pt x="4820586" y="521628"/>
                    <a:pt x="4830540" y="521628"/>
                  </a:cubicBezTo>
                  <a:close/>
                  <a:moveTo>
                    <a:pt x="1514049" y="521628"/>
                  </a:moveTo>
                  <a:cubicBezTo>
                    <a:pt x="1524004" y="521628"/>
                    <a:pt x="1532074" y="529697"/>
                    <a:pt x="1532074" y="539652"/>
                  </a:cubicBezTo>
                  <a:cubicBezTo>
                    <a:pt x="1532074" y="549607"/>
                    <a:pt x="1524004" y="557677"/>
                    <a:pt x="1514049" y="557677"/>
                  </a:cubicBezTo>
                  <a:cubicBezTo>
                    <a:pt x="1504095" y="557677"/>
                    <a:pt x="1496025" y="549607"/>
                    <a:pt x="1496025" y="539652"/>
                  </a:cubicBezTo>
                  <a:cubicBezTo>
                    <a:pt x="1496025" y="529697"/>
                    <a:pt x="1504095" y="521628"/>
                    <a:pt x="1514049" y="521628"/>
                  </a:cubicBezTo>
                  <a:close/>
                  <a:moveTo>
                    <a:pt x="6332574" y="515620"/>
                  </a:moveTo>
                  <a:cubicBezTo>
                    <a:pt x="6342528" y="515620"/>
                    <a:pt x="6350598" y="523690"/>
                    <a:pt x="6350598" y="533644"/>
                  </a:cubicBezTo>
                  <a:cubicBezTo>
                    <a:pt x="6350598" y="543599"/>
                    <a:pt x="6342529" y="551669"/>
                    <a:pt x="6332574" y="551669"/>
                  </a:cubicBezTo>
                  <a:cubicBezTo>
                    <a:pt x="6322620" y="551669"/>
                    <a:pt x="6314549" y="543599"/>
                    <a:pt x="6314549" y="533644"/>
                  </a:cubicBezTo>
                  <a:cubicBezTo>
                    <a:pt x="6314549" y="523690"/>
                    <a:pt x="6322619" y="515620"/>
                    <a:pt x="6332574" y="515620"/>
                  </a:cubicBezTo>
                  <a:close/>
                  <a:moveTo>
                    <a:pt x="5893980" y="509612"/>
                  </a:moveTo>
                  <a:cubicBezTo>
                    <a:pt x="5903935" y="509612"/>
                    <a:pt x="5912005" y="517682"/>
                    <a:pt x="5912005" y="527636"/>
                  </a:cubicBezTo>
                  <a:cubicBezTo>
                    <a:pt x="5912005" y="537591"/>
                    <a:pt x="5903935" y="545661"/>
                    <a:pt x="5893980" y="545661"/>
                  </a:cubicBezTo>
                  <a:cubicBezTo>
                    <a:pt x="5884025" y="545661"/>
                    <a:pt x="5875956" y="537591"/>
                    <a:pt x="5875956" y="527636"/>
                  </a:cubicBezTo>
                  <a:cubicBezTo>
                    <a:pt x="5875956" y="517682"/>
                    <a:pt x="5884025" y="509612"/>
                    <a:pt x="5893980" y="509612"/>
                  </a:cubicBezTo>
                  <a:close/>
                  <a:moveTo>
                    <a:pt x="3244392" y="509612"/>
                  </a:moveTo>
                  <a:cubicBezTo>
                    <a:pt x="3254347" y="509612"/>
                    <a:pt x="3262417" y="517682"/>
                    <a:pt x="3262417" y="527636"/>
                  </a:cubicBezTo>
                  <a:cubicBezTo>
                    <a:pt x="3262417" y="537591"/>
                    <a:pt x="3254347" y="545661"/>
                    <a:pt x="3244392" y="545661"/>
                  </a:cubicBezTo>
                  <a:cubicBezTo>
                    <a:pt x="3234437" y="545661"/>
                    <a:pt x="3226368" y="537591"/>
                    <a:pt x="3226368" y="527636"/>
                  </a:cubicBezTo>
                  <a:cubicBezTo>
                    <a:pt x="3226368" y="517682"/>
                    <a:pt x="3234437" y="509612"/>
                    <a:pt x="3244392" y="509612"/>
                  </a:cubicBezTo>
                  <a:close/>
                  <a:moveTo>
                    <a:pt x="1982684" y="509612"/>
                  </a:moveTo>
                  <a:cubicBezTo>
                    <a:pt x="1992639" y="509612"/>
                    <a:pt x="2000709" y="517682"/>
                    <a:pt x="2000709" y="527636"/>
                  </a:cubicBezTo>
                  <a:cubicBezTo>
                    <a:pt x="2000709" y="537591"/>
                    <a:pt x="1992639" y="545661"/>
                    <a:pt x="1982684" y="545661"/>
                  </a:cubicBezTo>
                  <a:cubicBezTo>
                    <a:pt x="1972730" y="545661"/>
                    <a:pt x="1964660" y="537591"/>
                    <a:pt x="1964660" y="527636"/>
                  </a:cubicBezTo>
                  <a:cubicBezTo>
                    <a:pt x="1964660" y="517682"/>
                    <a:pt x="1972730" y="509612"/>
                    <a:pt x="1982684" y="509612"/>
                  </a:cubicBezTo>
                  <a:close/>
                  <a:moveTo>
                    <a:pt x="5040825" y="503604"/>
                  </a:moveTo>
                  <a:cubicBezTo>
                    <a:pt x="5050780" y="503604"/>
                    <a:pt x="5058850" y="511674"/>
                    <a:pt x="5058850" y="521628"/>
                  </a:cubicBezTo>
                  <a:cubicBezTo>
                    <a:pt x="5058850" y="531583"/>
                    <a:pt x="5050780" y="539653"/>
                    <a:pt x="5040825" y="539653"/>
                  </a:cubicBezTo>
                  <a:cubicBezTo>
                    <a:pt x="5030871" y="539653"/>
                    <a:pt x="5022801" y="531583"/>
                    <a:pt x="5022801" y="521628"/>
                  </a:cubicBezTo>
                  <a:cubicBezTo>
                    <a:pt x="5022801" y="511674"/>
                    <a:pt x="5030871" y="503604"/>
                    <a:pt x="5040825" y="503604"/>
                  </a:cubicBezTo>
                  <a:close/>
                  <a:moveTo>
                    <a:pt x="4926670" y="503604"/>
                  </a:moveTo>
                  <a:cubicBezTo>
                    <a:pt x="4936625" y="503604"/>
                    <a:pt x="4944695" y="511674"/>
                    <a:pt x="4944695" y="521628"/>
                  </a:cubicBezTo>
                  <a:cubicBezTo>
                    <a:pt x="4944695" y="531583"/>
                    <a:pt x="4936625" y="539653"/>
                    <a:pt x="4926670" y="539653"/>
                  </a:cubicBezTo>
                  <a:cubicBezTo>
                    <a:pt x="4916715" y="539653"/>
                    <a:pt x="4908646" y="531583"/>
                    <a:pt x="4908646" y="521628"/>
                  </a:cubicBezTo>
                  <a:cubicBezTo>
                    <a:pt x="4908646" y="511674"/>
                    <a:pt x="4916715" y="503604"/>
                    <a:pt x="4926670" y="503604"/>
                  </a:cubicBezTo>
                  <a:close/>
                  <a:moveTo>
                    <a:pt x="5419337" y="497596"/>
                  </a:moveTo>
                  <a:cubicBezTo>
                    <a:pt x="5429292" y="497596"/>
                    <a:pt x="5437362" y="505666"/>
                    <a:pt x="5437362" y="515621"/>
                  </a:cubicBezTo>
                  <a:cubicBezTo>
                    <a:pt x="5437362" y="525575"/>
                    <a:pt x="5429292" y="533645"/>
                    <a:pt x="5419337" y="533645"/>
                  </a:cubicBezTo>
                  <a:cubicBezTo>
                    <a:pt x="5409382" y="533645"/>
                    <a:pt x="5401312" y="525575"/>
                    <a:pt x="5401312" y="515621"/>
                  </a:cubicBezTo>
                  <a:cubicBezTo>
                    <a:pt x="5401312" y="505666"/>
                    <a:pt x="5409382" y="497596"/>
                    <a:pt x="5419337" y="497596"/>
                  </a:cubicBezTo>
                  <a:close/>
                  <a:moveTo>
                    <a:pt x="3610889" y="497596"/>
                  </a:moveTo>
                  <a:cubicBezTo>
                    <a:pt x="3620844" y="497596"/>
                    <a:pt x="3628914" y="505666"/>
                    <a:pt x="3628914" y="515621"/>
                  </a:cubicBezTo>
                  <a:cubicBezTo>
                    <a:pt x="3628914" y="525575"/>
                    <a:pt x="3620844" y="533645"/>
                    <a:pt x="3610889" y="533645"/>
                  </a:cubicBezTo>
                  <a:cubicBezTo>
                    <a:pt x="3600934" y="533645"/>
                    <a:pt x="3592865" y="525575"/>
                    <a:pt x="3592865" y="515621"/>
                  </a:cubicBezTo>
                  <a:cubicBezTo>
                    <a:pt x="3592865" y="505666"/>
                    <a:pt x="3600934" y="497596"/>
                    <a:pt x="3610889" y="497596"/>
                  </a:cubicBezTo>
                  <a:close/>
                  <a:moveTo>
                    <a:pt x="967309" y="497596"/>
                  </a:moveTo>
                  <a:cubicBezTo>
                    <a:pt x="977264" y="497596"/>
                    <a:pt x="985334" y="505666"/>
                    <a:pt x="985334" y="515621"/>
                  </a:cubicBezTo>
                  <a:cubicBezTo>
                    <a:pt x="985334" y="525575"/>
                    <a:pt x="977264" y="533645"/>
                    <a:pt x="967309" y="533645"/>
                  </a:cubicBezTo>
                  <a:cubicBezTo>
                    <a:pt x="957355" y="533645"/>
                    <a:pt x="949285" y="525575"/>
                    <a:pt x="949285" y="515621"/>
                  </a:cubicBezTo>
                  <a:cubicBezTo>
                    <a:pt x="949285" y="505666"/>
                    <a:pt x="957355" y="497596"/>
                    <a:pt x="967309" y="497596"/>
                  </a:cubicBezTo>
                  <a:close/>
                  <a:moveTo>
                    <a:pt x="450609" y="497596"/>
                  </a:moveTo>
                  <a:cubicBezTo>
                    <a:pt x="460564" y="497596"/>
                    <a:pt x="468634" y="505666"/>
                    <a:pt x="468634" y="515621"/>
                  </a:cubicBezTo>
                  <a:cubicBezTo>
                    <a:pt x="468634" y="525575"/>
                    <a:pt x="460564" y="533645"/>
                    <a:pt x="450609" y="533645"/>
                  </a:cubicBezTo>
                  <a:cubicBezTo>
                    <a:pt x="440655" y="533645"/>
                    <a:pt x="432585" y="525575"/>
                    <a:pt x="432585" y="515621"/>
                  </a:cubicBezTo>
                  <a:cubicBezTo>
                    <a:pt x="432585" y="505666"/>
                    <a:pt x="440655" y="497596"/>
                    <a:pt x="450609" y="497596"/>
                  </a:cubicBezTo>
                  <a:close/>
                  <a:moveTo>
                    <a:pt x="4632272" y="485580"/>
                  </a:moveTo>
                  <a:cubicBezTo>
                    <a:pt x="4642227" y="485580"/>
                    <a:pt x="4650297" y="493650"/>
                    <a:pt x="4650297" y="503604"/>
                  </a:cubicBezTo>
                  <a:cubicBezTo>
                    <a:pt x="4650297" y="513559"/>
                    <a:pt x="4642227" y="521629"/>
                    <a:pt x="4632272" y="521629"/>
                  </a:cubicBezTo>
                  <a:cubicBezTo>
                    <a:pt x="4622317" y="521629"/>
                    <a:pt x="4614248" y="513559"/>
                    <a:pt x="4614248" y="503604"/>
                  </a:cubicBezTo>
                  <a:cubicBezTo>
                    <a:pt x="4614248" y="493650"/>
                    <a:pt x="4622317" y="485580"/>
                    <a:pt x="4632272" y="485580"/>
                  </a:cubicBezTo>
                  <a:close/>
                  <a:moveTo>
                    <a:pt x="4379930" y="485580"/>
                  </a:moveTo>
                  <a:cubicBezTo>
                    <a:pt x="4389885" y="485580"/>
                    <a:pt x="4397955" y="493650"/>
                    <a:pt x="4397955" y="503604"/>
                  </a:cubicBezTo>
                  <a:cubicBezTo>
                    <a:pt x="4397955" y="513559"/>
                    <a:pt x="4389885" y="521629"/>
                    <a:pt x="4379930" y="521629"/>
                  </a:cubicBezTo>
                  <a:cubicBezTo>
                    <a:pt x="4369976" y="521629"/>
                    <a:pt x="4361906" y="513559"/>
                    <a:pt x="4361906" y="503604"/>
                  </a:cubicBezTo>
                  <a:cubicBezTo>
                    <a:pt x="4361906" y="493650"/>
                    <a:pt x="4369976" y="485580"/>
                    <a:pt x="4379930" y="485580"/>
                  </a:cubicBezTo>
                  <a:close/>
                  <a:moveTo>
                    <a:pt x="5160987" y="479571"/>
                  </a:moveTo>
                  <a:cubicBezTo>
                    <a:pt x="5170942" y="479571"/>
                    <a:pt x="5179012" y="487641"/>
                    <a:pt x="5179012" y="497595"/>
                  </a:cubicBezTo>
                  <a:cubicBezTo>
                    <a:pt x="5179012" y="507550"/>
                    <a:pt x="5170942" y="515620"/>
                    <a:pt x="5160987" y="515620"/>
                  </a:cubicBezTo>
                  <a:cubicBezTo>
                    <a:pt x="5151033" y="515620"/>
                    <a:pt x="5142963" y="507550"/>
                    <a:pt x="5142963" y="497595"/>
                  </a:cubicBezTo>
                  <a:cubicBezTo>
                    <a:pt x="5142963" y="487641"/>
                    <a:pt x="5151033" y="479571"/>
                    <a:pt x="5160987" y="479571"/>
                  </a:cubicBezTo>
                  <a:close/>
                  <a:moveTo>
                    <a:pt x="4241743" y="479571"/>
                  </a:moveTo>
                  <a:cubicBezTo>
                    <a:pt x="4251698" y="479571"/>
                    <a:pt x="4259768" y="487641"/>
                    <a:pt x="4259768" y="497595"/>
                  </a:cubicBezTo>
                  <a:cubicBezTo>
                    <a:pt x="4259768" y="507550"/>
                    <a:pt x="4251698" y="515620"/>
                    <a:pt x="4241743" y="515620"/>
                  </a:cubicBezTo>
                  <a:cubicBezTo>
                    <a:pt x="4231788" y="515620"/>
                    <a:pt x="4223719" y="507550"/>
                    <a:pt x="4223719" y="497595"/>
                  </a:cubicBezTo>
                  <a:cubicBezTo>
                    <a:pt x="4223719" y="487641"/>
                    <a:pt x="4231788" y="479571"/>
                    <a:pt x="4241743" y="479571"/>
                  </a:cubicBezTo>
                  <a:close/>
                  <a:moveTo>
                    <a:pt x="3821173" y="479571"/>
                  </a:moveTo>
                  <a:cubicBezTo>
                    <a:pt x="3831128" y="479571"/>
                    <a:pt x="3839198" y="487641"/>
                    <a:pt x="3839198" y="497595"/>
                  </a:cubicBezTo>
                  <a:cubicBezTo>
                    <a:pt x="3839198" y="507550"/>
                    <a:pt x="3831128" y="515620"/>
                    <a:pt x="3821173" y="515620"/>
                  </a:cubicBezTo>
                  <a:cubicBezTo>
                    <a:pt x="3811218" y="515620"/>
                    <a:pt x="3803149" y="507550"/>
                    <a:pt x="3803149" y="497595"/>
                  </a:cubicBezTo>
                  <a:cubicBezTo>
                    <a:pt x="3803149" y="487641"/>
                    <a:pt x="3811218" y="479571"/>
                    <a:pt x="3821173" y="479571"/>
                  </a:cubicBezTo>
                  <a:close/>
                  <a:moveTo>
                    <a:pt x="3364555" y="479571"/>
                  </a:moveTo>
                  <a:cubicBezTo>
                    <a:pt x="3374510" y="479571"/>
                    <a:pt x="3382580" y="487641"/>
                    <a:pt x="3382580" y="497595"/>
                  </a:cubicBezTo>
                  <a:cubicBezTo>
                    <a:pt x="3382580" y="507550"/>
                    <a:pt x="3374510" y="515620"/>
                    <a:pt x="3364555" y="515620"/>
                  </a:cubicBezTo>
                  <a:cubicBezTo>
                    <a:pt x="3354600" y="515620"/>
                    <a:pt x="3346531" y="507550"/>
                    <a:pt x="3346531" y="497595"/>
                  </a:cubicBezTo>
                  <a:cubicBezTo>
                    <a:pt x="3346531" y="487641"/>
                    <a:pt x="3354600" y="479571"/>
                    <a:pt x="3364555" y="479571"/>
                  </a:cubicBezTo>
                  <a:close/>
                  <a:moveTo>
                    <a:pt x="1093480" y="479571"/>
                  </a:moveTo>
                  <a:cubicBezTo>
                    <a:pt x="1103435" y="479571"/>
                    <a:pt x="1111505" y="487641"/>
                    <a:pt x="1111505" y="497595"/>
                  </a:cubicBezTo>
                  <a:cubicBezTo>
                    <a:pt x="1111505" y="507550"/>
                    <a:pt x="1103435" y="515620"/>
                    <a:pt x="1093480" y="515620"/>
                  </a:cubicBezTo>
                  <a:cubicBezTo>
                    <a:pt x="1083526" y="515620"/>
                    <a:pt x="1075456" y="507550"/>
                    <a:pt x="1075456" y="497595"/>
                  </a:cubicBezTo>
                  <a:cubicBezTo>
                    <a:pt x="1075456" y="487641"/>
                    <a:pt x="1083526" y="479571"/>
                    <a:pt x="1093480" y="479571"/>
                  </a:cubicBezTo>
                  <a:close/>
                  <a:moveTo>
                    <a:pt x="5299175" y="473563"/>
                  </a:moveTo>
                  <a:cubicBezTo>
                    <a:pt x="5309130" y="473563"/>
                    <a:pt x="5317200" y="481633"/>
                    <a:pt x="5317200" y="491587"/>
                  </a:cubicBezTo>
                  <a:cubicBezTo>
                    <a:pt x="5317200" y="501542"/>
                    <a:pt x="5309130" y="509612"/>
                    <a:pt x="5299175" y="509612"/>
                  </a:cubicBezTo>
                  <a:cubicBezTo>
                    <a:pt x="5289220" y="509612"/>
                    <a:pt x="5281150" y="501542"/>
                    <a:pt x="5281150" y="491587"/>
                  </a:cubicBezTo>
                  <a:cubicBezTo>
                    <a:pt x="5281150" y="481633"/>
                    <a:pt x="5289220" y="473563"/>
                    <a:pt x="5299175" y="473563"/>
                  </a:cubicBezTo>
                  <a:close/>
                  <a:moveTo>
                    <a:pt x="4506101" y="473563"/>
                  </a:moveTo>
                  <a:cubicBezTo>
                    <a:pt x="4516056" y="473563"/>
                    <a:pt x="4524126" y="481633"/>
                    <a:pt x="4524126" y="491587"/>
                  </a:cubicBezTo>
                  <a:cubicBezTo>
                    <a:pt x="4524126" y="501542"/>
                    <a:pt x="4516056" y="509612"/>
                    <a:pt x="4506101" y="509612"/>
                  </a:cubicBezTo>
                  <a:cubicBezTo>
                    <a:pt x="4496146" y="509612"/>
                    <a:pt x="4488077" y="501542"/>
                    <a:pt x="4488077" y="491587"/>
                  </a:cubicBezTo>
                  <a:cubicBezTo>
                    <a:pt x="4488077" y="481633"/>
                    <a:pt x="4496146" y="473563"/>
                    <a:pt x="4506101" y="473563"/>
                  </a:cubicBezTo>
                  <a:close/>
                  <a:moveTo>
                    <a:pt x="4115572" y="473563"/>
                  </a:moveTo>
                  <a:cubicBezTo>
                    <a:pt x="4125527" y="473563"/>
                    <a:pt x="4133597" y="481633"/>
                    <a:pt x="4133597" y="491587"/>
                  </a:cubicBezTo>
                  <a:cubicBezTo>
                    <a:pt x="4133597" y="501542"/>
                    <a:pt x="4125527" y="509612"/>
                    <a:pt x="4115572" y="509612"/>
                  </a:cubicBezTo>
                  <a:cubicBezTo>
                    <a:pt x="4105617" y="509612"/>
                    <a:pt x="4097548" y="501542"/>
                    <a:pt x="4097548" y="491587"/>
                  </a:cubicBezTo>
                  <a:cubicBezTo>
                    <a:pt x="4097548" y="481633"/>
                    <a:pt x="4105617" y="473563"/>
                    <a:pt x="4115572" y="473563"/>
                  </a:cubicBezTo>
                  <a:close/>
                  <a:moveTo>
                    <a:pt x="2295107" y="473563"/>
                  </a:moveTo>
                  <a:cubicBezTo>
                    <a:pt x="2305062" y="473563"/>
                    <a:pt x="2313132" y="481633"/>
                    <a:pt x="2313132" y="491587"/>
                  </a:cubicBezTo>
                  <a:cubicBezTo>
                    <a:pt x="2313132" y="501542"/>
                    <a:pt x="2305062" y="509612"/>
                    <a:pt x="2295107" y="509612"/>
                  </a:cubicBezTo>
                  <a:cubicBezTo>
                    <a:pt x="2285153" y="509612"/>
                    <a:pt x="2277083" y="501542"/>
                    <a:pt x="2277083" y="491587"/>
                  </a:cubicBezTo>
                  <a:cubicBezTo>
                    <a:pt x="2277083" y="481633"/>
                    <a:pt x="2285153" y="473563"/>
                    <a:pt x="2295107" y="473563"/>
                  </a:cubicBezTo>
                  <a:close/>
                  <a:moveTo>
                    <a:pt x="1838489" y="473563"/>
                  </a:moveTo>
                  <a:cubicBezTo>
                    <a:pt x="1848444" y="473563"/>
                    <a:pt x="1856514" y="481633"/>
                    <a:pt x="1856514" y="491587"/>
                  </a:cubicBezTo>
                  <a:cubicBezTo>
                    <a:pt x="1856514" y="501542"/>
                    <a:pt x="1848444" y="509612"/>
                    <a:pt x="1838489" y="509612"/>
                  </a:cubicBezTo>
                  <a:cubicBezTo>
                    <a:pt x="1828535" y="509612"/>
                    <a:pt x="1820465" y="501542"/>
                    <a:pt x="1820465" y="491587"/>
                  </a:cubicBezTo>
                  <a:cubicBezTo>
                    <a:pt x="1820465" y="481633"/>
                    <a:pt x="1828535" y="473563"/>
                    <a:pt x="1838489" y="473563"/>
                  </a:cubicBezTo>
                  <a:close/>
                  <a:moveTo>
                    <a:pt x="2889912" y="467555"/>
                  </a:moveTo>
                  <a:cubicBezTo>
                    <a:pt x="2899867" y="467555"/>
                    <a:pt x="2907937" y="475625"/>
                    <a:pt x="2907937" y="485580"/>
                  </a:cubicBezTo>
                  <a:cubicBezTo>
                    <a:pt x="2907937" y="495534"/>
                    <a:pt x="2899867" y="503604"/>
                    <a:pt x="2889912" y="503604"/>
                  </a:cubicBezTo>
                  <a:cubicBezTo>
                    <a:pt x="2879957" y="503604"/>
                    <a:pt x="2871888" y="495534"/>
                    <a:pt x="2871888" y="485580"/>
                  </a:cubicBezTo>
                  <a:cubicBezTo>
                    <a:pt x="2871888" y="475625"/>
                    <a:pt x="2879957" y="467555"/>
                    <a:pt x="2889912" y="467555"/>
                  </a:cubicBezTo>
                  <a:close/>
                  <a:moveTo>
                    <a:pt x="2108855" y="467555"/>
                  </a:moveTo>
                  <a:cubicBezTo>
                    <a:pt x="2118810" y="467555"/>
                    <a:pt x="2126880" y="475625"/>
                    <a:pt x="2126880" y="485580"/>
                  </a:cubicBezTo>
                  <a:cubicBezTo>
                    <a:pt x="2126880" y="495534"/>
                    <a:pt x="2118810" y="503604"/>
                    <a:pt x="2108855" y="503604"/>
                  </a:cubicBezTo>
                  <a:cubicBezTo>
                    <a:pt x="2098901" y="503604"/>
                    <a:pt x="2090831" y="495534"/>
                    <a:pt x="2090831" y="485580"/>
                  </a:cubicBezTo>
                  <a:cubicBezTo>
                    <a:pt x="2090831" y="475625"/>
                    <a:pt x="2098901" y="467555"/>
                    <a:pt x="2108855" y="467555"/>
                  </a:cubicBezTo>
                  <a:close/>
                  <a:moveTo>
                    <a:pt x="1616189" y="467555"/>
                  </a:moveTo>
                  <a:cubicBezTo>
                    <a:pt x="1626143" y="467555"/>
                    <a:pt x="1634213" y="475625"/>
                    <a:pt x="1634213" y="485580"/>
                  </a:cubicBezTo>
                  <a:cubicBezTo>
                    <a:pt x="1634213" y="495534"/>
                    <a:pt x="1626143" y="503604"/>
                    <a:pt x="1616189" y="503604"/>
                  </a:cubicBezTo>
                  <a:cubicBezTo>
                    <a:pt x="1606234" y="503604"/>
                    <a:pt x="1598164" y="495534"/>
                    <a:pt x="1598164" y="485580"/>
                  </a:cubicBezTo>
                  <a:cubicBezTo>
                    <a:pt x="1598164" y="475625"/>
                    <a:pt x="1606234" y="467555"/>
                    <a:pt x="1616189" y="467555"/>
                  </a:cubicBezTo>
                  <a:close/>
                  <a:moveTo>
                    <a:pt x="330447" y="467555"/>
                  </a:moveTo>
                  <a:cubicBezTo>
                    <a:pt x="340402" y="467555"/>
                    <a:pt x="348472" y="475625"/>
                    <a:pt x="348472" y="485580"/>
                  </a:cubicBezTo>
                  <a:cubicBezTo>
                    <a:pt x="348472" y="495534"/>
                    <a:pt x="340402" y="503604"/>
                    <a:pt x="330447" y="503604"/>
                  </a:cubicBezTo>
                  <a:cubicBezTo>
                    <a:pt x="320493" y="503604"/>
                    <a:pt x="312423" y="495534"/>
                    <a:pt x="312423" y="485580"/>
                  </a:cubicBezTo>
                  <a:cubicBezTo>
                    <a:pt x="312423" y="475625"/>
                    <a:pt x="320493" y="467555"/>
                    <a:pt x="330447" y="467555"/>
                  </a:cubicBezTo>
                  <a:close/>
                  <a:moveTo>
                    <a:pt x="3935328" y="461547"/>
                  </a:moveTo>
                  <a:cubicBezTo>
                    <a:pt x="3945283" y="461547"/>
                    <a:pt x="3953353" y="469616"/>
                    <a:pt x="3953353" y="479571"/>
                  </a:cubicBezTo>
                  <a:cubicBezTo>
                    <a:pt x="3953353" y="489526"/>
                    <a:pt x="3945283" y="497596"/>
                    <a:pt x="3935328" y="497596"/>
                  </a:cubicBezTo>
                  <a:cubicBezTo>
                    <a:pt x="3925373" y="497596"/>
                    <a:pt x="3917304" y="489526"/>
                    <a:pt x="3917304" y="479571"/>
                  </a:cubicBezTo>
                  <a:cubicBezTo>
                    <a:pt x="3917304" y="469616"/>
                    <a:pt x="3925373" y="461547"/>
                    <a:pt x="3935328" y="461547"/>
                  </a:cubicBezTo>
                  <a:close/>
                  <a:moveTo>
                    <a:pt x="6224427" y="455539"/>
                  </a:moveTo>
                  <a:cubicBezTo>
                    <a:pt x="6234382" y="455539"/>
                    <a:pt x="6242452" y="463609"/>
                    <a:pt x="6242452" y="473563"/>
                  </a:cubicBezTo>
                  <a:cubicBezTo>
                    <a:pt x="6242452" y="483518"/>
                    <a:pt x="6234382" y="491588"/>
                    <a:pt x="6224427" y="491588"/>
                  </a:cubicBezTo>
                  <a:cubicBezTo>
                    <a:pt x="6214472" y="491588"/>
                    <a:pt x="6206403" y="483518"/>
                    <a:pt x="6206403" y="473563"/>
                  </a:cubicBezTo>
                  <a:cubicBezTo>
                    <a:pt x="6206403" y="463609"/>
                    <a:pt x="6214472" y="455539"/>
                    <a:pt x="6224427" y="455539"/>
                  </a:cubicBezTo>
                  <a:close/>
                  <a:moveTo>
                    <a:pt x="6110273" y="455539"/>
                  </a:moveTo>
                  <a:cubicBezTo>
                    <a:pt x="6120228" y="455539"/>
                    <a:pt x="6128298" y="463609"/>
                    <a:pt x="6128298" y="473563"/>
                  </a:cubicBezTo>
                  <a:cubicBezTo>
                    <a:pt x="6128298" y="483518"/>
                    <a:pt x="6120228" y="491588"/>
                    <a:pt x="6110273" y="491588"/>
                  </a:cubicBezTo>
                  <a:cubicBezTo>
                    <a:pt x="6100318" y="491588"/>
                    <a:pt x="6092248" y="483518"/>
                    <a:pt x="6092248" y="473563"/>
                  </a:cubicBezTo>
                  <a:cubicBezTo>
                    <a:pt x="6092248" y="463609"/>
                    <a:pt x="6100318" y="455539"/>
                    <a:pt x="6110273" y="455539"/>
                  </a:cubicBezTo>
                  <a:close/>
                  <a:moveTo>
                    <a:pt x="3496734" y="455539"/>
                  </a:moveTo>
                  <a:cubicBezTo>
                    <a:pt x="3506689" y="455539"/>
                    <a:pt x="3514759" y="463609"/>
                    <a:pt x="3514759" y="473563"/>
                  </a:cubicBezTo>
                  <a:cubicBezTo>
                    <a:pt x="3514759" y="483518"/>
                    <a:pt x="3506689" y="491588"/>
                    <a:pt x="3496734" y="491588"/>
                  </a:cubicBezTo>
                  <a:cubicBezTo>
                    <a:pt x="3486779" y="491588"/>
                    <a:pt x="3478709" y="483518"/>
                    <a:pt x="3478709" y="473563"/>
                  </a:cubicBezTo>
                  <a:cubicBezTo>
                    <a:pt x="3478709" y="463609"/>
                    <a:pt x="3486779" y="455539"/>
                    <a:pt x="3496734" y="455539"/>
                  </a:cubicBezTo>
                  <a:close/>
                  <a:moveTo>
                    <a:pt x="1333805" y="455539"/>
                  </a:moveTo>
                  <a:cubicBezTo>
                    <a:pt x="1343760" y="455539"/>
                    <a:pt x="1351830" y="463609"/>
                    <a:pt x="1351830" y="473563"/>
                  </a:cubicBezTo>
                  <a:cubicBezTo>
                    <a:pt x="1351830" y="483518"/>
                    <a:pt x="1343760" y="491588"/>
                    <a:pt x="1333805" y="491588"/>
                  </a:cubicBezTo>
                  <a:cubicBezTo>
                    <a:pt x="1323851" y="491588"/>
                    <a:pt x="1315781" y="483518"/>
                    <a:pt x="1315781" y="473563"/>
                  </a:cubicBezTo>
                  <a:cubicBezTo>
                    <a:pt x="1315781" y="463609"/>
                    <a:pt x="1323851" y="455539"/>
                    <a:pt x="1333805" y="455539"/>
                  </a:cubicBezTo>
                  <a:close/>
                  <a:moveTo>
                    <a:pt x="2727693" y="449531"/>
                  </a:moveTo>
                  <a:cubicBezTo>
                    <a:pt x="2737648" y="449531"/>
                    <a:pt x="2745718" y="457601"/>
                    <a:pt x="2745718" y="467555"/>
                  </a:cubicBezTo>
                  <a:cubicBezTo>
                    <a:pt x="2745718" y="477510"/>
                    <a:pt x="2737648" y="485580"/>
                    <a:pt x="2727693" y="485580"/>
                  </a:cubicBezTo>
                  <a:cubicBezTo>
                    <a:pt x="2717739" y="485580"/>
                    <a:pt x="2709669" y="477510"/>
                    <a:pt x="2709669" y="467555"/>
                  </a:cubicBezTo>
                  <a:cubicBezTo>
                    <a:pt x="2709669" y="457601"/>
                    <a:pt x="2717739" y="449531"/>
                    <a:pt x="2727693" y="449531"/>
                  </a:cubicBezTo>
                  <a:close/>
                  <a:moveTo>
                    <a:pt x="2607530" y="449531"/>
                  </a:moveTo>
                  <a:cubicBezTo>
                    <a:pt x="2617485" y="449531"/>
                    <a:pt x="2625555" y="457601"/>
                    <a:pt x="2625555" y="467555"/>
                  </a:cubicBezTo>
                  <a:cubicBezTo>
                    <a:pt x="2625555" y="477510"/>
                    <a:pt x="2617485" y="485580"/>
                    <a:pt x="2607530" y="485580"/>
                  </a:cubicBezTo>
                  <a:cubicBezTo>
                    <a:pt x="2597576" y="485580"/>
                    <a:pt x="2589506" y="477510"/>
                    <a:pt x="2589506" y="467555"/>
                  </a:cubicBezTo>
                  <a:cubicBezTo>
                    <a:pt x="2589506" y="457601"/>
                    <a:pt x="2597576" y="449531"/>
                    <a:pt x="2607530" y="449531"/>
                  </a:cubicBezTo>
                  <a:close/>
                  <a:moveTo>
                    <a:pt x="5797850" y="443523"/>
                  </a:moveTo>
                  <a:cubicBezTo>
                    <a:pt x="5807805" y="443523"/>
                    <a:pt x="5815875" y="451593"/>
                    <a:pt x="5815875" y="461547"/>
                  </a:cubicBezTo>
                  <a:cubicBezTo>
                    <a:pt x="5815875" y="471502"/>
                    <a:pt x="5807805" y="479572"/>
                    <a:pt x="5797850" y="479572"/>
                  </a:cubicBezTo>
                  <a:cubicBezTo>
                    <a:pt x="5787895" y="479572"/>
                    <a:pt x="5779826" y="471502"/>
                    <a:pt x="5779826" y="461547"/>
                  </a:cubicBezTo>
                  <a:cubicBezTo>
                    <a:pt x="5779826" y="451593"/>
                    <a:pt x="5787895" y="443523"/>
                    <a:pt x="5797850" y="443523"/>
                  </a:cubicBezTo>
                  <a:close/>
                  <a:moveTo>
                    <a:pt x="5653655" y="443523"/>
                  </a:moveTo>
                  <a:cubicBezTo>
                    <a:pt x="5663610" y="443523"/>
                    <a:pt x="5671680" y="451593"/>
                    <a:pt x="5671680" y="461547"/>
                  </a:cubicBezTo>
                  <a:cubicBezTo>
                    <a:pt x="5671680" y="471502"/>
                    <a:pt x="5663610" y="479572"/>
                    <a:pt x="5653655" y="479572"/>
                  </a:cubicBezTo>
                  <a:cubicBezTo>
                    <a:pt x="5643700" y="479572"/>
                    <a:pt x="5635631" y="471502"/>
                    <a:pt x="5635631" y="461547"/>
                  </a:cubicBezTo>
                  <a:cubicBezTo>
                    <a:pt x="5635631" y="451593"/>
                    <a:pt x="5643700" y="443523"/>
                    <a:pt x="5653655" y="443523"/>
                  </a:cubicBezTo>
                  <a:close/>
                  <a:moveTo>
                    <a:pt x="96129" y="437514"/>
                  </a:moveTo>
                  <a:cubicBezTo>
                    <a:pt x="106084" y="437514"/>
                    <a:pt x="114154" y="445584"/>
                    <a:pt x="114154" y="455539"/>
                  </a:cubicBezTo>
                  <a:cubicBezTo>
                    <a:pt x="114154" y="465493"/>
                    <a:pt x="106084" y="473563"/>
                    <a:pt x="96129" y="473563"/>
                  </a:cubicBezTo>
                  <a:cubicBezTo>
                    <a:pt x="86175" y="473563"/>
                    <a:pt x="78105" y="465493"/>
                    <a:pt x="78105" y="455539"/>
                  </a:cubicBezTo>
                  <a:cubicBezTo>
                    <a:pt x="78105" y="445584"/>
                    <a:pt x="86175" y="437514"/>
                    <a:pt x="96129" y="437514"/>
                  </a:cubicBezTo>
                  <a:close/>
                  <a:moveTo>
                    <a:pt x="3058140" y="431506"/>
                  </a:moveTo>
                  <a:cubicBezTo>
                    <a:pt x="3068095" y="431506"/>
                    <a:pt x="3076165" y="439575"/>
                    <a:pt x="3076165" y="449530"/>
                  </a:cubicBezTo>
                  <a:cubicBezTo>
                    <a:pt x="3076165" y="459485"/>
                    <a:pt x="3068095" y="467555"/>
                    <a:pt x="3058140" y="467555"/>
                  </a:cubicBezTo>
                  <a:cubicBezTo>
                    <a:pt x="3048186" y="467555"/>
                    <a:pt x="3040116" y="459485"/>
                    <a:pt x="3040116" y="449530"/>
                  </a:cubicBezTo>
                  <a:cubicBezTo>
                    <a:pt x="3040116" y="439575"/>
                    <a:pt x="3048186" y="431506"/>
                    <a:pt x="3058140" y="431506"/>
                  </a:cubicBezTo>
                  <a:close/>
                  <a:moveTo>
                    <a:pt x="2493375" y="431506"/>
                  </a:moveTo>
                  <a:cubicBezTo>
                    <a:pt x="2503330" y="431506"/>
                    <a:pt x="2511400" y="439575"/>
                    <a:pt x="2511400" y="449530"/>
                  </a:cubicBezTo>
                  <a:cubicBezTo>
                    <a:pt x="2511400" y="459485"/>
                    <a:pt x="2503330" y="467555"/>
                    <a:pt x="2493375" y="467555"/>
                  </a:cubicBezTo>
                  <a:cubicBezTo>
                    <a:pt x="2483420" y="467555"/>
                    <a:pt x="2475351" y="459485"/>
                    <a:pt x="2475351" y="449530"/>
                  </a:cubicBezTo>
                  <a:cubicBezTo>
                    <a:pt x="2475351" y="439575"/>
                    <a:pt x="2483420" y="431506"/>
                    <a:pt x="2493375" y="431506"/>
                  </a:cubicBezTo>
                  <a:close/>
                  <a:moveTo>
                    <a:pt x="216292" y="431506"/>
                  </a:moveTo>
                  <a:cubicBezTo>
                    <a:pt x="226247" y="431506"/>
                    <a:pt x="234317" y="439575"/>
                    <a:pt x="234317" y="449530"/>
                  </a:cubicBezTo>
                  <a:cubicBezTo>
                    <a:pt x="234317" y="459485"/>
                    <a:pt x="226247" y="467555"/>
                    <a:pt x="216292" y="467555"/>
                  </a:cubicBezTo>
                  <a:cubicBezTo>
                    <a:pt x="206338" y="467555"/>
                    <a:pt x="198268" y="459485"/>
                    <a:pt x="198268" y="449530"/>
                  </a:cubicBezTo>
                  <a:cubicBezTo>
                    <a:pt x="198268" y="439575"/>
                    <a:pt x="206338" y="431506"/>
                    <a:pt x="216292" y="431506"/>
                  </a:cubicBezTo>
                  <a:close/>
                  <a:moveTo>
                    <a:pt x="4758442" y="425498"/>
                  </a:moveTo>
                  <a:cubicBezTo>
                    <a:pt x="4768397" y="425498"/>
                    <a:pt x="4776467" y="433568"/>
                    <a:pt x="4776467" y="443522"/>
                  </a:cubicBezTo>
                  <a:cubicBezTo>
                    <a:pt x="4776467" y="453477"/>
                    <a:pt x="4768397" y="461547"/>
                    <a:pt x="4758442" y="461547"/>
                  </a:cubicBezTo>
                  <a:cubicBezTo>
                    <a:pt x="4748487" y="461547"/>
                    <a:pt x="4740417" y="453477"/>
                    <a:pt x="4740417" y="443522"/>
                  </a:cubicBezTo>
                  <a:cubicBezTo>
                    <a:pt x="4740417" y="433568"/>
                    <a:pt x="4748487" y="425498"/>
                    <a:pt x="4758442" y="425498"/>
                  </a:cubicBezTo>
                  <a:close/>
                  <a:moveTo>
                    <a:pt x="1453968" y="425498"/>
                  </a:moveTo>
                  <a:cubicBezTo>
                    <a:pt x="1463923" y="425498"/>
                    <a:pt x="1471993" y="433568"/>
                    <a:pt x="1471993" y="443522"/>
                  </a:cubicBezTo>
                  <a:cubicBezTo>
                    <a:pt x="1471993" y="453477"/>
                    <a:pt x="1463923" y="461547"/>
                    <a:pt x="1453968" y="461547"/>
                  </a:cubicBezTo>
                  <a:cubicBezTo>
                    <a:pt x="1444014" y="461547"/>
                    <a:pt x="1435944" y="453477"/>
                    <a:pt x="1435944" y="443522"/>
                  </a:cubicBezTo>
                  <a:cubicBezTo>
                    <a:pt x="1435944" y="433568"/>
                    <a:pt x="1444014" y="425498"/>
                    <a:pt x="1453968" y="425498"/>
                  </a:cubicBezTo>
                  <a:close/>
                  <a:moveTo>
                    <a:pt x="552748" y="425498"/>
                  </a:moveTo>
                  <a:cubicBezTo>
                    <a:pt x="562703" y="425498"/>
                    <a:pt x="570773" y="433568"/>
                    <a:pt x="570773" y="443522"/>
                  </a:cubicBezTo>
                  <a:cubicBezTo>
                    <a:pt x="570773" y="453477"/>
                    <a:pt x="562703" y="461547"/>
                    <a:pt x="552748" y="461547"/>
                  </a:cubicBezTo>
                  <a:cubicBezTo>
                    <a:pt x="542794" y="461547"/>
                    <a:pt x="534724" y="453477"/>
                    <a:pt x="534724" y="443522"/>
                  </a:cubicBezTo>
                  <a:cubicBezTo>
                    <a:pt x="534724" y="433568"/>
                    <a:pt x="542794" y="425498"/>
                    <a:pt x="552748" y="425498"/>
                  </a:cubicBezTo>
                  <a:close/>
                  <a:moveTo>
                    <a:pt x="1742358" y="419490"/>
                  </a:moveTo>
                  <a:cubicBezTo>
                    <a:pt x="1752313" y="419490"/>
                    <a:pt x="1760383" y="427560"/>
                    <a:pt x="1760383" y="437514"/>
                  </a:cubicBezTo>
                  <a:cubicBezTo>
                    <a:pt x="1760383" y="447469"/>
                    <a:pt x="1752313" y="455539"/>
                    <a:pt x="1742358" y="455539"/>
                  </a:cubicBezTo>
                  <a:cubicBezTo>
                    <a:pt x="1732404" y="455539"/>
                    <a:pt x="1724334" y="447469"/>
                    <a:pt x="1724334" y="437514"/>
                  </a:cubicBezTo>
                  <a:cubicBezTo>
                    <a:pt x="1724334" y="427560"/>
                    <a:pt x="1732404" y="419490"/>
                    <a:pt x="1742358" y="419490"/>
                  </a:cubicBezTo>
                  <a:close/>
                  <a:moveTo>
                    <a:pt x="1183602" y="413482"/>
                  </a:moveTo>
                  <a:cubicBezTo>
                    <a:pt x="1193557" y="413482"/>
                    <a:pt x="1201627" y="421552"/>
                    <a:pt x="1201627" y="431506"/>
                  </a:cubicBezTo>
                  <a:cubicBezTo>
                    <a:pt x="1201627" y="441461"/>
                    <a:pt x="1193557" y="449531"/>
                    <a:pt x="1183602" y="449531"/>
                  </a:cubicBezTo>
                  <a:cubicBezTo>
                    <a:pt x="1173648" y="449531"/>
                    <a:pt x="1165578" y="441461"/>
                    <a:pt x="1165578" y="431506"/>
                  </a:cubicBezTo>
                  <a:cubicBezTo>
                    <a:pt x="1165578" y="421552"/>
                    <a:pt x="1173648" y="413482"/>
                    <a:pt x="1183602" y="413482"/>
                  </a:cubicBezTo>
                  <a:close/>
                  <a:moveTo>
                    <a:pt x="895212" y="413482"/>
                  </a:moveTo>
                  <a:cubicBezTo>
                    <a:pt x="905166" y="413482"/>
                    <a:pt x="913236" y="421552"/>
                    <a:pt x="913236" y="431506"/>
                  </a:cubicBezTo>
                  <a:cubicBezTo>
                    <a:pt x="913236" y="441461"/>
                    <a:pt x="905166" y="449531"/>
                    <a:pt x="895212" y="449531"/>
                  </a:cubicBezTo>
                  <a:cubicBezTo>
                    <a:pt x="885257" y="449531"/>
                    <a:pt x="877187" y="441461"/>
                    <a:pt x="877187" y="431506"/>
                  </a:cubicBezTo>
                  <a:cubicBezTo>
                    <a:pt x="877187" y="421552"/>
                    <a:pt x="885257" y="413482"/>
                    <a:pt x="895212" y="413482"/>
                  </a:cubicBezTo>
                  <a:close/>
                  <a:moveTo>
                    <a:pt x="672910" y="413482"/>
                  </a:moveTo>
                  <a:cubicBezTo>
                    <a:pt x="682865" y="413482"/>
                    <a:pt x="690935" y="421552"/>
                    <a:pt x="690935" y="431506"/>
                  </a:cubicBezTo>
                  <a:cubicBezTo>
                    <a:pt x="690935" y="441461"/>
                    <a:pt x="682865" y="449531"/>
                    <a:pt x="672910" y="449531"/>
                  </a:cubicBezTo>
                  <a:cubicBezTo>
                    <a:pt x="662956" y="449531"/>
                    <a:pt x="654886" y="441461"/>
                    <a:pt x="654886" y="431506"/>
                  </a:cubicBezTo>
                  <a:cubicBezTo>
                    <a:pt x="654886" y="421552"/>
                    <a:pt x="662956" y="413482"/>
                    <a:pt x="672910" y="413482"/>
                  </a:cubicBezTo>
                  <a:close/>
                  <a:moveTo>
                    <a:pt x="3719035" y="407474"/>
                  </a:moveTo>
                  <a:cubicBezTo>
                    <a:pt x="3728990" y="407474"/>
                    <a:pt x="3737060" y="415544"/>
                    <a:pt x="3737060" y="425499"/>
                  </a:cubicBezTo>
                  <a:cubicBezTo>
                    <a:pt x="3737060" y="435453"/>
                    <a:pt x="3728990" y="443523"/>
                    <a:pt x="3719035" y="443523"/>
                  </a:cubicBezTo>
                  <a:cubicBezTo>
                    <a:pt x="3709081" y="443523"/>
                    <a:pt x="3701011" y="435453"/>
                    <a:pt x="3701011" y="425499"/>
                  </a:cubicBezTo>
                  <a:cubicBezTo>
                    <a:pt x="3701011" y="415544"/>
                    <a:pt x="3709081" y="407474"/>
                    <a:pt x="3719035" y="407474"/>
                  </a:cubicBezTo>
                  <a:close/>
                  <a:moveTo>
                    <a:pt x="6002126" y="401466"/>
                  </a:moveTo>
                  <a:cubicBezTo>
                    <a:pt x="6012081" y="401466"/>
                    <a:pt x="6020151" y="409535"/>
                    <a:pt x="6020151" y="419490"/>
                  </a:cubicBezTo>
                  <a:cubicBezTo>
                    <a:pt x="6020151" y="429445"/>
                    <a:pt x="6012081" y="437515"/>
                    <a:pt x="6002126" y="437515"/>
                  </a:cubicBezTo>
                  <a:cubicBezTo>
                    <a:pt x="5992172" y="437515"/>
                    <a:pt x="5984102" y="429445"/>
                    <a:pt x="5984102" y="419490"/>
                  </a:cubicBezTo>
                  <a:cubicBezTo>
                    <a:pt x="5984102" y="409535"/>
                    <a:pt x="5992172" y="401466"/>
                    <a:pt x="6002126" y="401466"/>
                  </a:cubicBezTo>
                  <a:close/>
                  <a:moveTo>
                    <a:pt x="1970668" y="401466"/>
                  </a:moveTo>
                  <a:cubicBezTo>
                    <a:pt x="1980623" y="401466"/>
                    <a:pt x="1988693" y="409535"/>
                    <a:pt x="1988693" y="419490"/>
                  </a:cubicBezTo>
                  <a:cubicBezTo>
                    <a:pt x="1988693" y="429445"/>
                    <a:pt x="1980623" y="437515"/>
                    <a:pt x="1970668" y="437515"/>
                  </a:cubicBezTo>
                  <a:cubicBezTo>
                    <a:pt x="1960714" y="437515"/>
                    <a:pt x="1952644" y="429445"/>
                    <a:pt x="1952644" y="419490"/>
                  </a:cubicBezTo>
                  <a:cubicBezTo>
                    <a:pt x="1952644" y="409535"/>
                    <a:pt x="1960714" y="401466"/>
                    <a:pt x="1970668" y="401466"/>
                  </a:cubicBezTo>
                  <a:close/>
                  <a:moveTo>
                    <a:pt x="5533492" y="395457"/>
                  </a:moveTo>
                  <a:cubicBezTo>
                    <a:pt x="5543447" y="395457"/>
                    <a:pt x="5551517" y="403527"/>
                    <a:pt x="5551517" y="413481"/>
                  </a:cubicBezTo>
                  <a:cubicBezTo>
                    <a:pt x="5551517" y="423436"/>
                    <a:pt x="5543447" y="431506"/>
                    <a:pt x="5533492" y="431506"/>
                  </a:cubicBezTo>
                  <a:cubicBezTo>
                    <a:pt x="5523537" y="431506"/>
                    <a:pt x="5515468" y="423436"/>
                    <a:pt x="5515468" y="413481"/>
                  </a:cubicBezTo>
                  <a:cubicBezTo>
                    <a:pt x="5515468" y="403527"/>
                    <a:pt x="5523537" y="395457"/>
                    <a:pt x="5533492" y="395457"/>
                  </a:cubicBezTo>
                  <a:close/>
                  <a:moveTo>
                    <a:pt x="3166287" y="395457"/>
                  </a:moveTo>
                  <a:cubicBezTo>
                    <a:pt x="3176242" y="395457"/>
                    <a:pt x="3184312" y="403527"/>
                    <a:pt x="3184312" y="413481"/>
                  </a:cubicBezTo>
                  <a:cubicBezTo>
                    <a:pt x="3184312" y="423436"/>
                    <a:pt x="3176242" y="431506"/>
                    <a:pt x="3166287" y="431506"/>
                  </a:cubicBezTo>
                  <a:cubicBezTo>
                    <a:pt x="3156332" y="431506"/>
                    <a:pt x="3148262" y="423436"/>
                    <a:pt x="3148262" y="413481"/>
                  </a:cubicBezTo>
                  <a:cubicBezTo>
                    <a:pt x="3148262" y="403527"/>
                    <a:pt x="3156332" y="395457"/>
                    <a:pt x="3166287" y="395457"/>
                  </a:cubicBezTo>
                  <a:close/>
                  <a:moveTo>
                    <a:pt x="2373213" y="395457"/>
                  </a:moveTo>
                  <a:cubicBezTo>
                    <a:pt x="2383168" y="395457"/>
                    <a:pt x="2391238" y="403527"/>
                    <a:pt x="2391238" y="413481"/>
                  </a:cubicBezTo>
                  <a:cubicBezTo>
                    <a:pt x="2391238" y="423436"/>
                    <a:pt x="2383168" y="431506"/>
                    <a:pt x="2373213" y="431506"/>
                  </a:cubicBezTo>
                  <a:cubicBezTo>
                    <a:pt x="2363259" y="431506"/>
                    <a:pt x="2355189" y="423436"/>
                    <a:pt x="2355189" y="413481"/>
                  </a:cubicBezTo>
                  <a:cubicBezTo>
                    <a:pt x="2355189" y="403527"/>
                    <a:pt x="2363259" y="395457"/>
                    <a:pt x="2373213" y="395457"/>
                  </a:cubicBezTo>
                  <a:close/>
                  <a:moveTo>
                    <a:pt x="787065" y="395457"/>
                  </a:moveTo>
                  <a:cubicBezTo>
                    <a:pt x="797020" y="395457"/>
                    <a:pt x="805090" y="403527"/>
                    <a:pt x="805090" y="413481"/>
                  </a:cubicBezTo>
                  <a:cubicBezTo>
                    <a:pt x="805090" y="423436"/>
                    <a:pt x="797020" y="431506"/>
                    <a:pt x="787065" y="431506"/>
                  </a:cubicBezTo>
                  <a:cubicBezTo>
                    <a:pt x="777111" y="431506"/>
                    <a:pt x="769041" y="423436"/>
                    <a:pt x="769041" y="413481"/>
                  </a:cubicBezTo>
                  <a:cubicBezTo>
                    <a:pt x="769041" y="403527"/>
                    <a:pt x="777111" y="395457"/>
                    <a:pt x="787065" y="395457"/>
                  </a:cubicBezTo>
                  <a:close/>
                  <a:moveTo>
                    <a:pt x="6344591" y="389449"/>
                  </a:moveTo>
                  <a:cubicBezTo>
                    <a:pt x="6354545" y="389449"/>
                    <a:pt x="6362615" y="397519"/>
                    <a:pt x="6362615" y="407473"/>
                  </a:cubicBezTo>
                  <a:cubicBezTo>
                    <a:pt x="6362615" y="417428"/>
                    <a:pt x="6354546" y="425498"/>
                    <a:pt x="6344591" y="425498"/>
                  </a:cubicBezTo>
                  <a:cubicBezTo>
                    <a:pt x="6334636" y="425498"/>
                    <a:pt x="6326566" y="417428"/>
                    <a:pt x="6326566" y="407473"/>
                  </a:cubicBezTo>
                  <a:cubicBezTo>
                    <a:pt x="6326566" y="397519"/>
                    <a:pt x="6334635" y="389449"/>
                    <a:pt x="6344591" y="389449"/>
                  </a:cubicBezTo>
                  <a:close/>
                  <a:moveTo>
                    <a:pt x="5407321" y="383441"/>
                  </a:moveTo>
                  <a:cubicBezTo>
                    <a:pt x="5417276" y="383441"/>
                    <a:pt x="5425346" y="391511"/>
                    <a:pt x="5425346" y="401465"/>
                  </a:cubicBezTo>
                  <a:cubicBezTo>
                    <a:pt x="5425346" y="411420"/>
                    <a:pt x="5417276" y="419490"/>
                    <a:pt x="5407321" y="419490"/>
                  </a:cubicBezTo>
                  <a:cubicBezTo>
                    <a:pt x="5397366" y="419490"/>
                    <a:pt x="5389297" y="411420"/>
                    <a:pt x="5389297" y="401465"/>
                  </a:cubicBezTo>
                  <a:cubicBezTo>
                    <a:pt x="5389297" y="391511"/>
                    <a:pt x="5397366" y="383441"/>
                    <a:pt x="5407321" y="383441"/>
                  </a:cubicBezTo>
                  <a:close/>
                  <a:moveTo>
                    <a:pt x="5233085" y="383441"/>
                  </a:moveTo>
                  <a:cubicBezTo>
                    <a:pt x="5243040" y="383441"/>
                    <a:pt x="5251110" y="391511"/>
                    <a:pt x="5251110" y="401465"/>
                  </a:cubicBezTo>
                  <a:cubicBezTo>
                    <a:pt x="5251110" y="411420"/>
                    <a:pt x="5243040" y="419490"/>
                    <a:pt x="5233085" y="419490"/>
                  </a:cubicBezTo>
                  <a:cubicBezTo>
                    <a:pt x="5223130" y="419490"/>
                    <a:pt x="5215061" y="411420"/>
                    <a:pt x="5215061" y="401465"/>
                  </a:cubicBezTo>
                  <a:cubicBezTo>
                    <a:pt x="5215061" y="391511"/>
                    <a:pt x="5223130" y="383441"/>
                    <a:pt x="5233085" y="383441"/>
                  </a:cubicBezTo>
                  <a:close/>
                  <a:moveTo>
                    <a:pt x="4956711" y="383441"/>
                  </a:moveTo>
                  <a:cubicBezTo>
                    <a:pt x="4966666" y="383441"/>
                    <a:pt x="4974736" y="391511"/>
                    <a:pt x="4974736" y="401465"/>
                  </a:cubicBezTo>
                  <a:cubicBezTo>
                    <a:pt x="4974736" y="411420"/>
                    <a:pt x="4966666" y="419490"/>
                    <a:pt x="4956711" y="419490"/>
                  </a:cubicBezTo>
                  <a:cubicBezTo>
                    <a:pt x="4946756" y="419490"/>
                    <a:pt x="4938687" y="411420"/>
                    <a:pt x="4938687" y="401465"/>
                  </a:cubicBezTo>
                  <a:cubicBezTo>
                    <a:pt x="4938687" y="391511"/>
                    <a:pt x="4946756" y="383441"/>
                    <a:pt x="4956711" y="383441"/>
                  </a:cubicBezTo>
                  <a:close/>
                  <a:moveTo>
                    <a:pt x="3604880" y="377433"/>
                  </a:moveTo>
                  <a:cubicBezTo>
                    <a:pt x="3614835" y="377433"/>
                    <a:pt x="3622905" y="385503"/>
                    <a:pt x="3622905" y="395458"/>
                  </a:cubicBezTo>
                  <a:cubicBezTo>
                    <a:pt x="3622905" y="405412"/>
                    <a:pt x="3614835" y="413482"/>
                    <a:pt x="3604880" y="413482"/>
                  </a:cubicBezTo>
                  <a:cubicBezTo>
                    <a:pt x="3594925" y="413482"/>
                    <a:pt x="3586856" y="405412"/>
                    <a:pt x="3586856" y="395458"/>
                  </a:cubicBezTo>
                  <a:cubicBezTo>
                    <a:pt x="3586856" y="385503"/>
                    <a:pt x="3594925" y="377433"/>
                    <a:pt x="3604880" y="377433"/>
                  </a:cubicBezTo>
                  <a:close/>
                  <a:moveTo>
                    <a:pt x="5082882" y="371425"/>
                  </a:moveTo>
                  <a:cubicBezTo>
                    <a:pt x="5092837" y="371425"/>
                    <a:pt x="5100907" y="379494"/>
                    <a:pt x="5100907" y="389449"/>
                  </a:cubicBezTo>
                  <a:cubicBezTo>
                    <a:pt x="5100907" y="399404"/>
                    <a:pt x="5092837" y="407474"/>
                    <a:pt x="5082882" y="407474"/>
                  </a:cubicBezTo>
                  <a:cubicBezTo>
                    <a:pt x="5072927" y="407474"/>
                    <a:pt x="5064858" y="399404"/>
                    <a:pt x="5064858" y="389449"/>
                  </a:cubicBezTo>
                  <a:cubicBezTo>
                    <a:pt x="5064858" y="379494"/>
                    <a:pt x="5072927" y="371425"/>
                    <a:pt x="5082882" y="371425"/>
                  </a:cubicBezTo>
                  <a:close/>
                  <a:moveTo>
                    <a:pt x="4638280" y="371425"/>
                  </a:moveTo>
                  <a:cubicBezTo>
                    <a:pt x="4648235" y="371425"/>
                    <a:pt x="4656305" y="379494"/>
                    <a:pt x="4656305" y="389449"/>
                  </a:cubicBezTo>
                  <a:cubicBezTo>
                    <a:pt x="4656305" y="399404"/>
                    <a:pt x="4648235" y="407474"/>
                    <a:pt x="4638280" y="407474"/>
                  </a:cubicBezTo>
                  <a:cubicBezTo>
                    <a:pt x="4628325" y="407474"/>
                    <a:pt x="4620255" y="399404"/>
                    <a:pt x="4620255" y="389449"/>
                  </a:cubicBezTo>
                  <a:cubicBezTo>
                    <a:pt x="4620255" y="379494"/>
                    <a:pt x="4628325" y="371425"/>
                    <a:pt x="4638280" y="371425"/>
                  </a:cubicBezTo>
                  <a:close/>
                  <a:moveTo>
                    <a:pt x="4289808" y="371425"/>
                  </a:moveTo>
                  <a:cubicBezTo>
                    <a:pt x="4299763" y="371425"/>
                    <a:pt x="4307833" y="379494"/>
                    <a:pt x="4307833" y="389449"/>
                  </a:cubicBezTo>
                  <a:cubicBezTo>
                    <a:pt x="4307833" y="399404"/>
                    <a:pt x="4299763" y="407474"/>
                    <a:pt x="4289808" y="407474"/>
                  </a:cubicBezTo>
                  <a:cubicBezTo>
                    <a:pt x="4279854" y="407474"/>
                    <a:pt x="4271784" y="399404"/>
                    <a:pt x="4271784" y="389449"/>
                  </a:cubicBezTo>
                  <a:cubicBezTo>
                    <a:pt x="4271784" y="379494"/>
                    <a:pt x="4279854" y="371425"/>
                    <a:pt x="4289808" y="371425"/>
                  </a:cubicBezTo>
                  <a:close/>
                  <a:moveTo>
                    <a:pt x="3412620" y="371425"/>
                  </a:moveTo>
                  <a:cubicBezTo>
                    <a:pt x="3422575" y="371425"/>
                    <a:pt x="3430645" y="379494"/>
                    <a:pt x="3430645" y="389449"/>
                  </a:cubicBezTo>
                  <a:cubicBezTo>
                    <a:pt x="3430645" y="399404"/>
                    <a:pt x="3422575" y="407474"/>
                    <a:pt x="3412620" y="407474"/>
                  </a:cubicBezTo>
                  <a:cubicBezTo>
                    <a:pt x="3402666" y="407474"/>
                    <a:pt x="3394596" y="399404"/>
                    <a:pt x="3394596" y="389449"/>
                  </a:cubicBezTo>
                  <a:cubicBezTo>
                    <a:pt x="3394596" y="379494"/>
                    <a:pt x="3402666" y="371425"/>
                    <a:pt x="3412620" y="371425"/>
                  </a:cubicBezTo>
                  <a:close/>
                  <a:moveTo>
                    <a:pt x="3286449" y="371425"/>
                  </a:moveTo>
                  <a:cubicBezTo>
                    <a:pt x="3296404" y="371425"/>
                    <a:pt x="3304474" y="379494"/>
                    <a:pt x="3304474" y="389449"/>
                  </a:cubicBezTo>
                  <a:cubicBezTo>
                    <a:pt x="3304474" y="399404"/>
                    <a:pt x="3296404" y="407474"/>
                    <a:pt x="3286449" y="407474"/>
                  </a:cubicBezTo>
                  <a:cubicBezTo>
                    <a:pt x="3276494" y="407474"/>
                    <a:pt x="3268424" y="399404"/>
                    <a:pt x="3268424" y="389449"/>
                  </a:cubicBezTo>
                  <a:cubicBezTo>
                    <a:pt x="3268424" y="379494"/>
                    <a:pt x="3276494" y="371425"/>
                    <a:pt x="3286449" y="371425"/>
                  </a:cubicBezTo>
                  <a:close/>
                  <a:moveTo>
                    <a:pt x="2204985" y="371425"/>
                  </a:moveTo>
                  <a:cubicBezTo>
                    <a:pt x="2214940" y="371425"/>
                    <a:pt x="2223010" y="379494"/>
                    <a:pt x="2223010" y="389449"/>
                  </a:cubicBezTo>
                  <a:cubicBezTo>
                    <a:pt x="2223010" y="399404"/>
                    <a:pt x="2214940" y="407474"/>
                    <a:pt x="2204985" y="407474"/>
                  </a:cubicBezTo>
                  <a:cubicBezTo>
                    <a:pt x="2195031" y="407474"/>
                    <a:pt x="2186961" y="399404"/>
                    <a:pt x="2186961" y="389449"/>
                  </a:cubicBezTo>
                  <a:cubicBezTo>
                    <a:pt x="2186961" y="379494"/>
                    <a:pt x="2195031" y="371425"/>
                    <a:pt x="2204985" y="371425"/>
                  </a:cubicBezTo>
                  <a:close/>
                  <a:moveTo>
                    <a:pt x="1033398" y="371425"/>
                  </a:moveTo>
                  <a:cubicBezTo>
                    <a:pt x="1043353" y="371425"/>
                    <a:pt x="1051423" y="379494"/>
                    <a:pt x="1051423" y="389449"/>
                  </a:cubicBezTo>
                  <a:cubicBezTo>
                    <a:pt x="1051423" y="399404"/>
                    <a:pt x="1043353" y="407474"/>
                    <a:pt x="1033398" y="407474"/>
                  </a:cubicBezTo>
                  <a:cubicBezTo>
                    <a:pt x="1023444" y="407474"/>
                    <a:pt x="1015374" y="399404"/>
                    <a:pt x="1015374" y="389449"/>
                  </a:cubicBezTo>
                  <a:cubicBezTo>
                    <a:pt x="1015374" y="379494"/>
                    <a:pt x="1023444" y="371425"/>
                    <a:pt x="1033398" y="371425"/>
                  </a:cubicBezTo>
                  <a:close/>
                  <a:moveTo>
                    <a:pt x="432585" y="371425"/>
                  </a:moveTo>
                  <a:cubicBezTo>
                    <a:pt x="442540" y="371425"/>
                    <a:pt x="450610" y="379494"/>
                    <a:pt x="450610" y="389449"/>
                  </a:cubicBezTo>
                  <a:cubicBezTo>
                    <a:pt x="450610" y="399404"/>
                    <a:pt x="442540" y="407474"/>
                    <a:pt x="432585" y="407474"/>
                  </a:cubicBezTo>
                  <a:cubicBezTo>
                    <a:pt x="422631" y="407474"/>
                    <a:pt x="414561" y="399404"/>
                    <a:pt x="414561" y="389449"/>
                  </a:cubicBezTo>
                  <a:cubicBezTo>
                    <a:pt x="414561" y="379494"/>
                    <a:pt x="422631" y="371425"/>
                    <a:pt x="432585" y="371425"/>
                  </a:cubicBezTo>
                  <a:close/>
                  <a:moveTo>
                    <a:pt x="4037466" y="365417"/>
                  </a:moveTo>
                  <a:cubicBezTo>
                    <a:pt x="4047421" y="365417"/>
                    <a:pt x="4055491" y="373487"/>
                    <a:pt x="4055491" y="383441"/>
                  </a:cubicBezTo>
                  <a:cubicBezTo>
                    <a:pt x="4055491" y="393396"/>
                    <a:pt x="4047421" y="401466"/>
                    <a:pt x="4037466" y="401466"/>
                  </a:cubicBezTo>
                  <a:cubicBezTo>
                    <a:pt x="4027511" y="401466"/>
                    <a:pt x="4019441" y="393396"/>
                    <a:pt x="4019441" y="383441"/>
                  </a:cubicBezTo>
                  <a:cubicBezTo>
                    <a:pt x="4019441" y="373487"/>
                    <a:pt x="4027511" y="365417"/>
                    <a:pt x="4037466" y="365417"/>
                  </a:cubicBezTo>
                  <a:close/>
                  <a:moveTo>
                    <a:pt x="2943986" y="365417"/>
                  </a:moveTo>
                  <a:cubicBezTo>
                    <a:pt x="2953941" y="365417"/>
                    <a:pt x="2962011" y="373487"/>
                    <a:pt x="2962011" y="383441"/>
                  </a:cubicBezTo>
                  <a:cubicBezTo>
                    <a:pt x="2962011" y="393396"/>
                    <a:pt x="2953941" y="401466"/>
                    <a:pt x="2943986" y="401466"/>
                  </a:cubicBezTo>
                  <a:cubicBezTo>
                    <a:pt x="2934031" y="401466"/>
                    <a:pt x="2925962" y="393396"/>
                    <a:pt x="2925962" y="383441"/>
                  </a:cubicBezTo>
                  <a:cubicBezTo>
                    <a:pt x="2925962" y="373487"/>
                    <a:pt x="2934031" y="365417"/>
                    <a:pt x="2943986" y="365417"/>
                  </a:cubicBezTo>
                  <a:close/>
                  <a:moveTo>
                    <a:pt x="2811807" y="365417"/>
                  </a:moveTo>
                  <a:cubicBezTo>
                    <a:pt x="2821762" y="365417"/>
                    <a:pt x="2829832" y="373487"/>
                    <a:pt x="2829832" y="383441"/>
                  </a:cubicBezTo>
                  <a:cubicBezTo>
                    <a:pt x="2829832" y="393396"/>
                    <a:pt x="2821762" y="401466"/>
                    <a:pt x="2811807" y="401466"/>
                  </a:cubicBezTo>
                  <a:cubicBezTo>
                    <a:pt x="2801853" y="401466"/>
                    <a:pt x="2793783" y="393396"/>
                    <a:pt x="2793783" y="383441"/>
                  </a:cubicBezTo>
                  <a:cubicBezTo>
                    <a:pt x="2793783" y="373487"/>
                    <a:pt x="2801853" y="365417"/>
                    <a:pt x="2811807" y="365417"/>
                  </a:cubicBezTo>
                  <a:close/>
                  <a:moveTo>
                    <a:pt x="5899988" y="353401"/>
                  </a:moveTo>
                  <a:cubicBezTo>
                    <a:pt x="5909943" y="353401"/>
                    <a:pt x="5918013" y="361471"/>
                    <a:pt x="5918013" y="371425"/>
                  </a:cubicBezTo>
                  <a:cubicBezTo>
                    <a:pt x="5918013" y="381380"/>
                    <a:pt x="5909943" y="389450"/>
                    <a:pt x="5899988" y="389450"/>
                  </a:cubicBezTo>
                  <a:cubicBezTo>
                    <a:pt x="5890033" y="389450"/>
                    <a:pt x="5881963" y="381380"/>
                    <a:pt x="5881963" y="371425"/>
                  </a:cubicBezTo>
                  <a:cubicBezTo>
                    <a:pt x="5881963" y="361471"/>
                    <a:pt x="5890033" y="353401"/>
                    <a:pt x="5899988" y="353401"/>
                  </a:cubicBezTo>
                  <a:close/>
                  <a:moveTo>
                    <a:pt x="4842556" y="353401"/>
                  </a:moveTo>
                  <a:cubicBezTo>
                    <a:pt x="4852511" y="353401"/>
                    <a:pt x="4860581" y="361471"/>
                    <a:pt x="4860581" y="371425"/>
                  </a:cubicBezTo>
                  <a:cubicBezTo>
                    <a:pt x="4860581" y="381380"/>
                    <a:pt x="4852511" y="389450"/>
                    <a:pt x="4842556" y="389450"/>
                  </a:cubicBezTo>
                  <a:cubicBezTo>
                    <a:pt x="4832601" y="389450"/>
                    <a:pt x="4824532" y="381380"/>
                    <a:pt x="4824532" y="371425"/>
                  </a:cubicBezTo>
                  <a:cubicBezTo>
                    <a:pt x="4824532" y="361471"/>
                    <a:pt x="4832601" y="353401"/>
                    <a:pt x="4842556" y="353401"/>
                  </a:cubicBezTo>
                  <a:close/>
                  <a:moveTo>
                    <a:pt x="4518117" y="353401"/>
                  </a:moveTo>
                  <a:cubicBezTo>
                    <a:pt x="4528072" y="353401"/>
                    <a:pt x="4536142" y="361471"/>
                    <a:pt x="4536142" y="371425"/>
                  </a:cubicBezTo>
                  <a:cubicBezTo>
                    <a:pt x="4536142" y="381380"/>
                    <a:pt x="4528072" y="389450"/>
                    <a:pt x="4518117" y="389450"/>
                  </a:cubicBezTo>
                  <a:cubicBezTo>
                    <a:pt x="4508162" y="389450"/>
                    <a:pt x="4500092" y="381380"/>
                    <a:pt x="4500092" y="371425"/>
                  </a:cubicBezTo>
                  <a:cubicBezTo>
                    <a:pt x="4500092" y="361471"/>
                    <a:pt x="4508162" y="353401"/>
                    <a:pt x="4518117" y="353401"/>
                  </a:cubicBezTo>
                  <a:close/>
                  <a:moveTo>
                    <a:pt x="4403962" y="353401"/>
                  </a:moveTo>
                  <a:cubicBezTo>
                    <a:pt x="4413917" y="353401"/>
                    <a:pt x="4421987" y="361471"/>
                    <a:pt x="4421987" y="371425"/>
                  </a:cubicBezTo>
                  <a:cubicBezTo>
                    <a:pt x="4421987" y="381380"/>
                    <a:pt x="4413917" y="389450"/>
                    <a:pt x="4403962" y="389450"/>
                  </a:cubicBezTo>
                  <a:cubicBezTo>
                    <a:pt x="4394008" y="389450"/>
                    <a:pt x="4385938" y="381380"/>
                    <a:pt x="4385938" y="371425"/>
                  </a:cubicBezTo>
                  <a:cubicBezTo>
                    <a:pt x="4385938" y="361471"/>
                    <a:pt x="4394008" y="353401"/>
                    <a:pt x="4403962" y="353401"/>
                  </a:cubicBezTo>
                  <a:close/>
                  <a:moveTo>
                    <a:pt x="4151621" y="353401"/>
                  </a:moveTo>
                  <a:cubicBezTo>
                    <a:pt x="4161576" y="353401"/>
                    <a:pt x="4169646" y="361471"/>
                    <a:pt x="4169646" y="371425"/>
                  </a:cubicBezTo>
                  <a:cubicBezTo>
                    <a:pt x="4169646" y="381380"/>
                    <a:pt x="4161576" y="389450"/>
                    <a:pt x="4151621" y="389450"/>
                  </a:cubicBezTo>
                  <a:cubicBezTo>
                    <a:pt x="4141666" y="389450"/>
                    <a:pt x="4133597" y="381380"/>
                    <a:pt x="4133597" y="371425"/>
                  </a:cubicBezTo>
                  <a:cubicBezTo>
                    <a:pt x="4133597" y="361471"/>
                    <a:pt x="4141666" y="353401"/>
                    <a:pt x="4151621" y="353401"/>
                  </a:cubicBezTo>
                  <a:close/>
                  <a:moveTo>
                    <a:pt x="3911295" y="347392"/>
                  </a:moveTo>
                  <a:cubicBezTo>
                    <a:pt x="3921250" y="347392"/>
                    <a:pt x="3929320" y="355462"/>
                    <a:pt x="3929320" y="365417"/>
                  </a:cubicBezTo>
                  <a:cubicBezTo>
                    <a:pt x="3929320" y="375371"/>
                    <a:pt x="3921250" y="383441"/>
                    <a:pt x="3911295" y="383441"/>
                  </a:cubicBezTo>
                  <a:cubicBezTo>
                    <a:pt x="3901340" y="383441"/>
                    <a:pt x="3893271" y="375371"/>
                    <a:pt x="3893271" y="365417"/>
                  </a:cubicBezTo>
                  <a:cubicBezTo>
                    <a:pt x="3893271" y="355462"/>
                    <a:pt x="3901340" y="347392"/>
                    <a:pt x="3911295" y="347392"/>
                  </a:cubicBezTo>
                  <a:close/>
                  <a:moveTo>
                    <a:pt x="2078814" y="347392"/>
                  </a:moveTo>
                  <a:cubicBezTo>
                    <a:pt x="2088769" y="347392"/>
                    <a:pt x="2096839" y="355462"/>
                    <a:pt x="2096839" y="365417"/>
                  </a:cubicBezTo>
                  <a:cubicBezTo>
                    <a:pt x="2096839" y="375371"/>
                    <a:pt x="2088769" y="383441"/>
                    <a:pt x="2078814" y="383441"/>
                  </a:cubicBezTo>
                  <a:cubicBezTo>
                    <a:pt x="2068860" y="383441"/>
                    <a:pt x="2060790" y="375371"/>
                    <a:pt x="2060790" y="365417"/>
                  </a:cubicBezTo>
                  <a:cubicBezTo>
                    <a:pt x="2060790" y="355462"/>
                    <a:pt x="2068860" y="347392"/>
                    <a:pt x="2078814" y="347392"/>
                  </a:cubicBezTo>
                  <a:close/>
                  <a:moveTo>
                    <a:pt x="1345823" y="347392"/>
                  </a:moveTo>
                  <a:cubicBezTo>
                    <a:pt x="1355777" y="347392"/>
                    <a:pt x="1363847" y="355462"/>
                    <a:pt x="1363847" y="365417"/>
                  </a:cubicBezTo>
                  <a:cubicBezTo>
                    <a:pt x="1363847" y="375371"/>
                    <a:pt x="1355777" y="383441"/>
                    <a:pt x="1345823" y="383441"/>
                  </a:cubicBezTo>
                  <a:cubicBezTo>
                    <a:pt x="1335868" y="383441"/>
                    <a:pt x="1327798" y="375371"/>
                    <a:pt x="1327798" y="365417"/>
                  </a:cubicBezTo>
                  <a:cubicBezTo>
                    <a:pt x="1327798" y="355462"/>
                    <a:pt x="1335868" y="347392"/>
                    <a:pt x="1345823" y="347392"/>
                  </a:cubicBezTo>
                  <a:close/>
                  <a:moveTo>
                    <a:pt x="1556107" y="341384"/>
                  </a:moveTo>
                  <a:cubicBezTo>
                    <a:pt x="1566061" y="341384"/>
                    <a:pt x="1574131" y="349453"/>
                    <a:pt x="1574131" y="359408"/>
                  </a:cubicBezTo>
                  <a:cubicBezTo>
                    <a:pt x="1574131" y="369363"/>
                    <a:pt x="1566061" y="377433"/>
                    <a:pt x="1556107" y="377433"/>
                  </a:cubicBezTo>
                  <a:cubicBezTo>
                    <a:pt x="1546152" y="377433"/>
                    <a:pt x="1538082" y="369363"/>
                    <a:pt x="1538082" y="359408"/>
                  </a:cubicBezTo>
                  <a:cubicBezTo>
                    <a:pt x="1538082" y="349453"/>
                    <a:pt x="1546152" y="341384"/>
                    <a:pt x="1556107" y="341384"/>
                  </a:cubicBezTo>
                  <a:close/>
                  <a:moveTo>
                    <a:pt x="306414" y="341384"/>
                  </a:moveTo>
                  <a:cubicBezTo>
                    <a:pt x="316369" y="341384"/>
                    <a:pt x="324439" y="349453"/>
                    <a:pt x="324439" y="359408"/>
                  </a:cubicBezTo>
                  <a:cubicBezTo>
                    <a:pt x="324439" y="369363"/>
                    <a:pt x="316369" y="377433"/>
                    <a:pt x="306414" y="377433"/>
                  </a:cubicBezTo>
                  <a:cubicBezTo>
                    <a:pt x="296460" y="377433"/>
                    <a:pt x="288390" y="369363"/>
                    <a:pt x="288390" y="359408"/>
                  </a:cubicBezTo>
                  <a:cubicBezTo>
                    <a:pt x="288390" y="349453"/>
                    <a:pt x="296460" y="341384"/>
                    <a:pt x="306414" y="341384"/>
                  </a:cubicBezTo>
                  <a:close/>
                  <a:moveTo>
                    <a:pt x="6206403" y="335376"/>
                  </a:moveTo>
                  <a:cubicBezTo>
                    <a:pt x="6216358" y="335376"/>
                    <a:pt x="6224428" y="343446"/>
                    <a:pt x="6224428" y="353400"/>
                  </a:cubicBezTo>
                  <a:cubicBezTo>
                    <a:pt x="6224428" y="363355"/>
                    <a:pt x="6216358" y="371425"/>
                    <a:pt x="6206403" y="371425"/>
                  </a:cubicBezTo>
                  <a:cubicBezTo>
                    <a:pt x="6196449" y="371425"/>
                    <a:pt x="6188379" y="363355"/>
                    <a:pt x="6188379" y="353400"/>
                  </a:cubicBezTo>
                  <a:cubicBezTo>
                    <a:pt x="6188379" y="343446"/>
                    <a:pt x="6196449" y="335376"/>
                    <a:pt x="6206403" y="335376"/>
                  </a:cubicBezTo>
                  <a:close/>
                  <a:moveTo>
                    <a:pt x="1670261" y="335376"/>
                  </a:moveTo>
                  <a:cubicBezTo>
                    <a:pt x="1680216" y="335376"/>
                    <a:pt x="1688286" y="343446"/>
                    <a:pt x="1688286" y="353400"/>
                  </a:cubicBezTo>
                  <a:cubicBezTo>
                    <a:pt x="1688286" y="363355"/>
                    <a:pt x="1680216" y="371425"/>
                    <a:pt x="1670261" y="371425"/>
                  </a:cubicBezTo>
                  <a:cubicBezTo>
                    <a:pt x="1660307" y="371425"/>
                    <a:pt x="1652237" y="363355"/>
                    <a:pt x="1652237" y="353400"/>
                  </a:cubicBezTo>
                  <a:cubicBezTo>
                    <a:pt x="1652237" y="343446"/>
                    <a:pt x="1660307" y="335376"/>
                    <a:pt x="1670261" y="335376"/>
                  </a:cubicBezTo>
                  <a:close/>
                  <a:moveTo>
                    <a:pt x="5767809" y="329368"/>
                  </a:moveTo>
                  <a:cubicBezTo>
                    <a:pt x="5777764" y="329368"/>
                    <a:pt x="5785834" y="337438"/>
                    <a:pt x="5785834" y="347392"/>
                  </a:cubicBezTo>
                  <a:cubicBezTo>
                    <a:pt x="5785834" y="357347"/>
                    <a:pt x="5777764" y="365417"/>
                    <a:pt x="5767809" y="365417"/>
                  </a:cubicBezTo>
                  <a:cubicBezTo>
                    <a:pt x="5757854" y="365417"/>
                    <a:pt x="5749785" y="357347"/>
                    <a:pt x="5749785" y="347392"/>
                  </a:cubicBezTo>
                  <a:cubicBezTo>
                    <a:pt x="5749785" y="337438"/>
                    <a:pt x="5757854" y="329368"/>
                    <a:pt x="5767809" y="329368"/>
                  </a:cubicBezTo>
                  <a:close/>
                  <a:moveTo>
                    <a:pt x="3797141" y="329368"/>
                  </a:moveTo>
                  <a:cubicBezTo>
                    <a:pt x="3807096" y="329368"/>
                    <a:pt x="3815166" y="337438"/>
                    <a:pt x="3815166" y="347392"/>
                  </a:cubicBezTo>
                  <a:cubicBezTo>
                    <a:pt x="3815166" y="357347"/>
                    <a:pt x="3807096" y="365417"/>
                    <a:pt x="3797141" y="365417"/>
                  </a:cubicBezTo>
                  <a:cubicBezTo>
                    <a:pt x="3787186" y="365417"/>
                    <a:pt x="3779116" y="357347"/>
                    <a:pt x="3779116" y="347392"/>
                  </a:cubicBezTo>
                  <a:cubicBezTo>
                    <a:pt x="3779116" y="337438"/>
                    <a:pt x="3787186" y="329368"/>
                    <a:pt x="3797141" y="329368"/>
                  </a:cubicBezTo>
                  <a:close/>
                  <a:moveTo>
                    <a:pt x="2673619" y="329368"/>
                  </a:moveTo>
                  <a:cubicBezTo>
                    <a:pt x="2683574" y="329368"/>
                    <a:pt x="2691644" y="337438"/>
                    <a:pt x="2691644" y="347392"/>
                  </a:cubicBezTo>
                  <a:cubicBezTo>
                    <a:pt x="2691644" y="357347"/>
                    <a:pt x="2683574" y="365417"/>
                    <a:pt x="2673619" y="365417"/>
                  </a:cubicBezTo>
                  <a:cubicBezTo>
                    <a:pt x="2663664" y="365417"/>
                    <a:pt x="2655595" y="357347"/>
                    <a:pt x="2655595" y="347392"/>
                  </a:cubicBezTo>
                  <a:cubicBezTo>
                    <a:pt x="2655595" y="337438"/>
                    <a:pt x="2663664" y="329368"/>
                    <a:pt x="2673619" y="329368"/>
                  </a:cubicBezTo>
                  <a:close/>
                  <a:moveTo>
                    <a:pt x="1898570" y="329368"/>
                  </a:moveTo>
                  <a:cubicBezTo>
                    <a:pt x="1908525" y="329368"/>
                    <a:pt x="1916595" y="337438"/>
                    <a:pt x="1916595" y="347392"/>
                  </a:cubicBezTo>
                  <a:cubicBezTo>
                    <a:pt x="1916595" y="357347"/>
                    <a:pt x="1908525" y="365417"/>
                    <a:pt x="1898570" y="365417"/>
                  </a:cubicBezTo>
                  <a:cubicBezTo>
                    <a:pt x="1888616" y="365417"/>
                    <a:pt x="1880546" y="357347"/>
                    <a:pt x="1880546" y="347392"/>
                  </a:cubicBezTo>
                  <a:cubicBezTo>
                    <a:pt x="1880546" y="337438"/>
                    <a:pt x="1888616" y="329368"/>
                    <a:pt x="1898570" y="329368"/>
                  </a:cubicBezTo>
                  <a:close/>
                  <a:moveTo>
                    <a:pt x="66089" y="323360"/>
                  </a:moveTo>
                  <a:cubicBezTo>
                    <a:pt x="76044" y="323360"/>
                    <a:pt x="84114" y="331430"/>
                    <a:pt x="84114" y="341384"/>
                  </a:cubicBezTo>
                  <a:cubicBezTo>
                    <a:pt x="84114" y="351339"/>
                    <a:pt x="76044" y="359409"/>
                    <a:pt x="66089" y="359409"/>
                  </a:cubicBezTo>
                  <a:cubicBezTo>
                    <a:pt x="56135" y="359409"/>
                    <a:pt x="48065" y="351339"/>
                    <a:pt x="48065" y="341384"/>
                  </a:cubicBezTo>
                  <a:cubicBezTo>
                    <a:pt x="48065" y="331430"/>
                    <a:pt x="56135" y="323360"/>
                    <a:pt x="66089" y="323360"/>
                  </a:cubicBezTo>
                  <a:close/>
                  <a:moveTo>
                    <a:pt x="5647646" y="317352"/>
                  </a:moveTo>
                  <a:cubicBezTo>
                    <a:pt x="5657601" y="317352"/>
                    <a:pt x="5665671" y="325422"/>
                    <a:pt x="5665671" y="335377"/>
                  </a:cubicBezTo>
                  <a:cubicBezTo>
                    <a:pt x="5665671" y="345331"/>
                    <a:pt x="5657601" y="353401"/>
                    <a:pt x="5647646" y="353401"/>
                  </a:cubicBezTo>
                  <a:cubicBezTo>
                    <a:pt x="5637691" y="353401"/>
                    <a:pt x="5629622" y="345331"/>
                    <a:pt x="5629622" y="335377"/>
                  </a:cubicBezTo>
                  <a:cubicBezTo>
                    <a:pt x="5629622" y="325422"/>
                    <a:pt x="5637691" y="317352"/>
                    <a:pt x="5647646" y="317352"/>
                  </a:cubicBezTo>
                  <a:close/>
                  <a:moveTo>
                    <a:pt x="3064148" y="311344"/>
                  </a:moveTo>
                  <a:cubicBezTo>
                    <a:pt x="3074103" y="311344"/>
                    <a:pt x="3082173" y="319413"/>
                    <a:pt x="3082173" y="329368"/>
                  </a:cubicBezTo>
                  <a:cubicBezTo>
                    <a:pt x="3082173" y="339323"/>
                    <a:pt x="3074103" y="347393"/>
                    <a:pt x="3064148" y="347393"/>
                  </a:cubicBezTo>
                  <a:cubicBezTo>
                    <a:pt x="3054193" y="347393"/>
                    <a:pt x="3046124" y="339323"/>
                    <a:pt x="3046124" y="329368"/>
                  </a:cubicBezTo>
                  <a:cubicBezTo>
                    <a:pt x="3046124" y="319413"/>
                    <a:pt x="3054193" y="311344"/>
                    <a:pt x="3064148" y="311344"/>
                  </a:cubicBezTo>
                  <a:close/>
                  <a:moveTo>
                    <a:pt x="2553457" y="311344"/>
                  </a:moveTo>
                  <a:cubicBezTo>
                    <a:pt x="2563412" y="311344"/>
                    <a:pt x="2571482" y="319413"/>
                    <a:pt x="2571482" y="329368"/>
                  </a:cubicBezTo>
                  <a:cubicBezTo>
                    <a:pt x="2571482" y="339323"/>
                    <a:pt x="2563412" y="347393"/>
                    <a:pt x="2553457" y="347393"/>
                  </a:cubicBezTo>
                  <a:cubicBezTo>
                    <a:pt x="2543502" y="347393"/>
                    <a:pt x="2535433" y="339323"/>
                    <a:pt x="2535433" y="329368"/>
                  </a:cubicBezTo>
                  <a:cubicBezTo>
                    <a:pt x="2535433" y="319413"/>
                    <a:pt x="2543502" y="311344"/>
                    <a:pt x="2553457" y="311344"/>
                  </a:cubicBezTo>
                  <a:close/>
                  <a:moveTo>
                    <a:pt x="6098257" y="305335"/>
                  </a:moveTo>
                  <a:cubicBezTo>
                    <a:pt x="6108212" y="305335"/>
                    <a:pt x="6116282" y="313405"/>
                    <a:pt x="6116282" y="323359"/>
                  </a:cubicBezTo>
                  <a:cubicBezTo>
                    <a:pt x="6116282" y="333314"/>
                    <a:pt x="6108212" y="341384"/>
                    <a:pt x="6098257" y="341384"/>
                  </a:cubicBezTo>
                  <a:cubicBezTo>
                    <a:pt x="6088302" y="341384"/>
                    <a:pt x="6080233" y="333314"/>
                    <a:pt x="6080233" y="323359"/>
                  </a:cubicBezTo>
                  <a:cubicBezTo>
                    <a:pt x="6080233" y="313405"/>
                    <a:pt x="6088302" y="305335"/>
                    <a:pt x="6098257" y="305335"/>
                  </a:cubicBezTo>
                  <a:close/>
                  <a:moveTo>
                    <a:pt x="1231667" y="305335"/>
                  </a:moveTo>
                  <a:cubicBezTo>
                    <a:pt x="1241622" y="305335"/>
                    <a:pt x="1249692" y="313405"/>
                    <a:pt x="1249692" y="323359"/>
                  </a:cubicBezTo>
                  <a:cubicBezTo>
                    <a:pt x="1249692" y="333314"/>
                    <a:pt x="1241622" y="341384"/>
                    <a:pt x="1231667" y="341384"/>
                  </a:cubicBezTo>
                  <a:cubicBezTo>
                    <a:pt x="1221713" y="341384"/>
                    <a:pt x="1213643" y="333314"/>
                    <a:pt x="1213643" y="323359"/>
                  </a:cubicBezTo>
                  <a:cubicBezTo>
                    <a:pt x="1213643" y="313405"/>
                    <a:pt x="1221713" y="305335"/>
                    <a:pt x="1231667" y="305335"/>
                  </a:cubicBezTo>
                  <a:close/>
                  <a:moveTo>
                    <a:pt x="174235" y="305335"/>
                  </a:moveTo>
                  <a:cubicBezTo>
                    <a:pt x="184190" y="305335"/>
                    <a:pt x="192260" y="313405"/>
                    <a:pt x="192260" y="323359"/>
                  </a:cubicBezTo>
                  <a:cubicBezTo>
                    <a:pt x="192260" y="333314"/>
                    <a:pt x="184190" y="341384"/>
                    <a:pt x="174235" y="341384"/>
                  </a:cubicBezTo>
                  <a:cubicBezTo>
                    <a:pt x="164281" y="341384"/>
                    <a:pt x="156211" y="333314"/>
                    <a:pt x="156211" y="323359"/>
                  </a:cubicBezTo>
                  <a:cubicBezTo>
                    <a:pt x="156211" y="313405"/>
                    <a:pt x="164281" y="305335"/>
                    <a:pt x="174235" y="305335"/>
                  </a:cubicBezTo>
                  <a:close/>
                  <a:moveTo>
                    <a:pt x="3520767" y="299327"/>
                  </a:moveTo>
                  <a:cubicBezTo>
                    <a:pt x="3530722" y="299327"/>
                    <a:pt x="3538792" y="307397"/>
                    <a:pt x="3538792" y="317351"/>
                  </a:cubicBezTo>
                  <a:cubicBezTo>
                    <a:pt x="3538792" y="327306"/>
                    <a:pt x="3530722" y="335376"/>
                    <a:pt x="3520767" y="335376"/>
                  </a:cubicBezTo>
                  <a:cubicBezTo>
                    <a:pt x="3510812" y="335376"/>
                    <a:pt x="3502743" y="327306"/>
                    <a:pt x="3502743" y="317351"/>
                  </a:cubicBezTo>
                  <a:cubicBezTo>
                    <a:pt x="3502743" y="307397"/>
                    <a:pt x="3510812" y="299327"/>
                    <a:pt x="3520767" y="299327"/>
                  </a:cubicBezTo>
                  <a:close/>
                  <a:moveTo>
                    <a:pt x="5347240" y="293319"/>
                  </a:moveTo>
                  <a:cubicBezTo>
                    <a:pt x="5357195" y="293319"/>
                    <a:pt x="5365265" y="301389"/>
                    <a:pt x="5365265" y="311343"/>
                  </a:cubicBezTo>
                  <a:cubicBezTo>
                    <a:pt x="5365265" y="321298"/>
                    <a:pt x="5357195" y="329368"/>
                    <a:pt x="5347240" y="329368"/>
                  </a:cubicBezTo>
                  <a:cubicBezTo>
                    <a:pt x="5337285" y="329368"/>
                    <a:pt x="5329216" y="321298"/>
                    <a:pt x="5329216" y="311343"/>
                  </a:cubicBezTo>
                  <a:cubicBezTo>
                    <a:pt x="5329216" y="301389"/>
                    <a:pt x="5337285" y="293319"/>
                    <a:pt x="5347240" y="293319"/>
                  </a:cubicBezTo>
                  <a:close/>
                  <a:moveTo>
                    <a:pt x="2439302" y="293319"/>
                  </a:moveTo>
                  <a:cubicBezTo>
                    <a:pt x="2449257" y="293319"/>
                    <a:pt x="2457327" y="301389"/>
                    <a:pt x="2457327" y="311343"/>
                  </a:cubicBezTo>
                  <a:cubicBezTo>
                    <a:pt x="2457327" y="321298"/>
                    <a:pt x="2449257" y="329368"/>
                    <a:pt x="2439302" y="329368"/>
                  </a:cubicBezTo>
                  <a:cubicBezTo>
                    <a:pt x="2429347" y="329368"/>
                    <a:pt x="2421278" y="321298"/>
                    <a:pt x="2421278" y="311343"/>
                  </a:cubicBezTo>
                  <a:cubicBezTo>
                    <a:pt x="2421278" y="301389"/>
                    <a:pt x="2429347" y="293319"/>
                    <a:pt x="2439302" y="293319"/>
                  </a:cubicBezTo>
                  <a:close/>
                  <a:moveTo>
                    <a:pt x="2301115" y="293319"/>
                  </a:moveTo>
                  <a:cubicBezTo>
                    <a:pt x="2311070" y="293319"/>
                    <a:pt x="2319140" y="301389"/>
                    <a:pt x="2319140" y="311343"/>
                  </a:cubicBezTo>
                  <a:cubicBezTo>
                    <a:pt x="2319140" y="321298"/>
                    <a:pt x="2311070" y="329368"/>
                    <a:pt x="2301115" y="329368"/>
                  </a:cubicBezTo>
                  <a:cubicBezTo>
                    <a:pt x="2291161" y="329368"/>
                    <a:pt x="2283091" y="321298"/>
                    <a:pt x="2283091" y="311343"/>
                  </a:cubicBezTo>
                  <a:cubicBezTo>
                    <a:pt x="2283091" y="301389"/>
                    <a:pt x="2291161" y="293319"/>
                    <a:pt x="2301115" y="293319"/>
                  </a:cubicBezTo>
                  <a:close/>
                  <a:moveTo>
                    <a:pt x="1447960" y="293319"/>
                  </a:moveTo>
                  <a:cubicBezTo>
                    <a:pt x="1457915" y="293319"/>
                    <a:pt x="1465985" y="301389"/>
                    <a:pt x="1465985" y="311343"/>
                  </a:cubicBezTo>
                  <a:cubicBezTo>
                    <a:pt x="1465985" y="321298"/>
                    <a:pt x="1457915" y="329368"/>
                    <a:pt x="1447960" y="329368"/>
                  </a:cubicBezTo>
                  <a:cubicBezTo>
                    <a:pt x="1438006" y="329368"/>
                    <a:pt x="1429936" y="321298"/>
                    <a:pt x="1429936" y="311343"/>
                  </a:cubicBezTo>
                  <a:cubicBezTo>
                    <a:pt x="1429936" y="301389"/>
                    <a:pt x="1438006" y="293319"/>
                    <a:pt x="1447960" y="293319"/>
                  </a:cubicBezTo>
                  <a:close/>
                  <a:moveTo>
                    <a:pt x="901219" y="293319"/>
                  </a:moveTo>
                  <a:cubicBezTo>
                    <a:pt x="911174" y="293319"/>
                    <a:pt x="919244" y="301389"/>
                    <a:pt x="919244" y="311343"/>
                  </a:cubicBezTo>
                  <a:cubicBezTo>
                    <a:pt x="919244" y="321298"/>
                    <a:pt x="911174" y="329368"/>
                    <a:pt x="901219" y="329368"/>
                  </a:cubicBezTo>
                  <a:cubicBezTo>
                    <a:pt x="891265" y="329368"/>
                    <a:pt x="883195" y="321298"/>
                    <a:pt x="883195" y="311343"/>
                  </a:cubicBezTo>
                  <a:cubicBezTo>
                    <a:pt x="883195" y="301389"/>
                    <a:pt x="891265" y="293319"/>
                    <a:pt x="901219" y="293319"/>
                  </a:cubicBezTo>
                  <a:close/>
                  <a:moveTo>
                    <a:pt x="552748" y="293319"/>
                  </a:moveTo>
                  <a:cubicBezTo>
                    <a:pt x="562703" y="293319"/>
                    <a:pt x="570773" y="301389"/>
                    <a:pt x="570773" y="311343"/>
                  </a:cubicBezTo>
                  <a:cubicBezTo>
                    <a:pt x="570773" y="321298"/>
                    <a:pt x="562703" y="329368"/>
                    <a:pt x="552748" y="329368"/>
                  </a:cubicBezTo>
                  <a:cubicBezTo>
                    <a:pt x="542794" y="329368"/>
                    <a:pt x="534724" y="321298"/>
                    <a:pt x="534724" y="311343"/>
                  </a:cubicBezTo>
                  <a:cubicBezTo>
                    <a:pt x="534724" y="301389"/>
                    <a:pt x="542794" y="293319"/>
                    <a:pt x="552748" y="293319"/>
                  </a:cubicBezTo>
                  <a:close/>
                  <a:moveTo>
                    <a:pt x="6326566" y="287311"/>
                  </a:moveTo>
                  <a:cubicBezTo>
                    <a:pt x="6336521" y="287311"/>
                    <a:pt x="6344591" y="295381"/>
                    <a:pt x="6344591" y="305336"/>
                  </a:cubicBezTo>
                  <a:cubicBezTo>
                    <a:pt x="6344591" y="315290"/>
                    <a:pt x="6336522" y="323360"/>
                    <a:pt x="6326566" y="323360"/>
                  </a:cubicBezTo>
                  <a:cubicBezTo>
                    <a:pt x="6316612" y="323360"/>
                    <a:pt x="6308542" y="315290"/>
                    <a:pt x="6308542" y="305336"/>
                  </a:cubicBezTo>
                  <a:cubicBezTo>
                    <a:pt x="6308542" y="295381"/>
                    <a:pt x="6316611" y="287311"/>
                    <a:pt x="6326566" y="287311"/>
                  </a:cubicBezTo>
                  <a:close/>
                  <a:moveTo>
                    <a:pt x="5503451" y="287311"/>
                  </a:moveTo>
                  <a:cubicBezTo>
                    <a:pt x="5513406" y="287311"/>
                    <a:pt x="5521476" y="295381"/>
                    <a:pt x="5521476" y="305336"/>
                  </a:cubicBezTo>
                  <a:cubicBezTo>
                    <a:pt x="5521476" y="315290"/>
                    <a:pt x="5513406" y="323360"/>
                    <a:pt x="5503451" y="323360"/>
                  </a:cubicBezTo>
                  <a:cubicBezTo>
                    <a:pt x="5493496" y="323360"/>
                    <a:pt x="5485427" y="315290"/>
                    <a:pt x="5485427" y="305336"/>
                  </a:cubicBezTo>
                  <a:cubicBezTo>
                    <a:pt x="5485427" y="295381"/>
                    <a:pt x="5493496" y="287311"/>
                    <a:pt x="5503451" y="287311"/>
                  </a:cubicBezTo>
                  <a:close/>
                  <a:moveTo>
                    <a:pt x="1808448" y="287311"/>
                  </a:moveTo>
                  <a:cubicBezTo>
                    <a:pt x="1818403" y="287311"/>
                    <a:pt x="1826473" y="295381"/>
                    <a:pt x="1826473" y="305336"/>
                  </a:cubicBezTo>
                  <a:cubicBezTo>
                    <a:pt x="1826473" y="315290"/>
                    <a:pt x="1818403" y="323360"/>
                    <a:pt x="1808448" y="323360"/>
                  </a:cubicBezTo>
                  <a:cubicBezTo>
                    <a:pt x="1798494" y="323360"/>
                    <a:pt x="1790424" y="315290"/>
                    <a:pt x="1790424" y="305336"/>
                  </a:cubicBezTo>
                  <a:cubicBezTo>
                    <a:pt x="1790424" y="295381"/>
                    <a:pt x="1798494" y="287311"/>
                    <a:pt x="1808448" y="287311"/>
                  </a:cubicBezTo>
                  <a:close/>
                  <a:moveTo>
                    <a:pt x="672910" y="287311"/>
                  </a:moveTo>
                  <a:cubicBezTo>
                    <a:pt x="682865" y="287311"/>
                    <a:pt x="690935" y="295381"/>
                    <a:pt x="690935" y="305336"/>
                  </a:cubicBezTo>
                  <a:cubicBezTo>
                    <a:pt x="690935" y="315290"/>
                    <a:pt x="682865" y="323360"/>
                    <a:pt x="672910" y="323360"/>
                  </a:cubicBezTo>
                  <a:cubicBezTo>
                    <a:pt x="662956" y="323360"/>
                    <a:pt x="654886" y="315290"/>
                    <a:pt x="654886" y="305336"/>
                  </a:cubicBezTo>
                  <a:cubicBezTo>
                    <a:pt x="654886" y="295381"/>
                    <a:pt x="662956" y="287311"/>
                    <a:pt x="672910" y="287311"/>
                  </a:cubicBezTo>
                  <a:close/>
                  <a:moveTo>
                    <a:pt x="4710377" y="275295"/>
                  </a:moveTo>
                  <a:cubicBezTo>
                    <a:pt x="4720332" y="275295"/>
                    <a:pt x="4728402" y="283365"/>
                    <a:pt x="4728402" y="293319"/>
                  </a:cubicBezTo>
                  <a:cubicBezTo>
                    <a:pt x="4728402" y="303274"/>
                    <a:pt x="4720332" y="311344"/>
                    <a:pt x="4710377" y="311344"/>
                  </a:cubicBezTo>
                  <a:cubicBezTo>
                    <a:pt x="4700423" y="311344"/>
                    <a:pt x="4692353" y="303274"/>
                    <a:pt x="4692353" y="293319"/>
                  </a:cubicBezTo>
                  <a:cubicBezTo>
                    <a:pt x="4692353" y="283365"/>
                    <a:pt x="4700423" y="275295"/>
                    <a:pt x="4710377" y="275295"/>
                  </a:cubicBezTo>
                  <a:close/>
                  <a:moveTo>
                    <a:pt x="4962719" y="269287"/>
                  </a:moveTo>
                  <a:cubicBezTo>
                    <a:pt x="4972674" y="269287"/>
                    <a:pt x="4980744" y="277357"/>
                    <a:pt x="4980744" y="287311"/>
                  </a:cubicBezTo>
                  <a:cubicBezTo>
                    <a:pt x="4980744" y="297266"/>
                    <a:pt x="4972674" y="305336"/>
                    <a:pt x="4962719" y="305336"/>
                  </a:cubicBezTo>
                  <a:cubicBezTo>
                    <a:pt x="4952764" y="305336"/>
                    <a:pt x="4944695" y="297266"/>
                    <a:pt x="4944695" y="287311"/>
                  </a:cubicBezTo>
                  <a:cubicBezTo>
                    <a:pt x="4944695" y="277357"/>
                    <a:pt x="4952764" y="269287"/>
                    <a:pt x="4962719" y="269287"/>
                  </a:cubicBezTo>
                  <a:close/>
                  <a:moveTo>
                    <a:pt x="3652945" y="269287"/>
                  </a:moveTo>
                  <a:cubicBezTo>
                    <a:pt x="3662900" y="269287"/>
                    <a:pt x="3670970" y="277357"/>
                    <a:pt x="3670970" y="287311"/>
                  </a:cubicBezTo>
                  <a:cubicBezTo>
                    <a:pt x="3670970" y="297266"/>
                    <a:pt x="3662900" y="305336"/>
                    <a:pt x="3652945" y="305336"/>
                  </a:cubicBezTo>
                  <a:cubicBezTo>
                    <a:pt x="3642991" y="305336"/>
                    <a:pt x="3634921" y="297266"/>
                    <a:pt x="3634921" y="287311"/>
                  </a:cubicBezTo>
                  <a:cubicBezTo>
                    <a:pt x="3634921" y="277357"/>
                    <a:pt x="3642991" y="269287"/>
                    <a:pt x="3652945" y="269287"/>
                  </a:cubicBezTo>
                  <a:close/>
                  <a:moveTo>
                    <a:pt x="1123520" y="269287"/>
                  </a:moveTo>
                  <a:cubicBezTo>
                    <a:pt x="1133475" y="269287"/>
                    <a:pt x="1141545" y="277357"/>
                    <a:pt x="1141545" y="287311"/>
                  </a:cubicBezTo>
                  <a:cubicBezTo>
                    <a:pt x="1141545" y="297266"/>
                    <a:pt x="1133475" y="305336"/>
                    <a:pt x="1123520" y="305336"/>
                  </a:cubicBezTo>
                  <a:cubicBezTo>
                    <a:pt x="1113566" y="305336"/>
                    <a:pt x="1105496" y="297266"/>
                    <a:pt x="1105496" y="287311"/>
                  </a:cubicBezTo>
                  <a:cubicBezTo>
                    <a:pt x="1105496" y="277357"/>
                    <a:pt x="1113566" y="269287"/>
                    <a:pt x="1123520" y="269287"/>
                  </a:cubicBezTo>
                  <a:close/>
                  <a:moveTo>
                    <a:pt x="5112922" y="263279"/>
                  </a:moveTo>
                  <a:cubicBezTo>
                    <a:pt x="5122877" y="263279"/>
                    <a:pt x="5130947" y="271349"/>
                    <a:pt x="5130947" y="281303"/>
                  </a:cubicBezTo>
                  <a:cubicBezTo>
                    <a:pt x="5130947" y="291258"/>
                    <a:pt x="5122877" y="299328"/>
                    <a:pt x="5112922" y="299328"/>
                  </a:cubicBezTo>
                  <a:cubicBezTo>
                    <a:pt x="5102967" y="299328"/>
                    <a:pt x="5094898" y="291258"/>
                    <a:pt x="5094898" y="281303"/>
                  </a:cubicBezTo>
                  <a:cubicBezTo>
                    <a:pt x="5094898" y="271349"/>
                    <a:pt x="5102967" y="263279"/>
                    <a:pt x="5112922" y="263279"/>
                  </a:cubicBezTo>
                  <a:close/>
                  <a:moveTo>
                    <a:pt x="4217710" y="263279"/>
                  </a:moveTo>
                  <a:cubicBezTo>
                    <a:pt x="4227665" y="263279"/>
                    <a:pt x="4235735" y="271349"/>
                    <a:pt x="4235735" y="281303"/>
                  </a:cubicBezTo>
                  <a:cubicBezTo>
                    <a:pt x="4235735" y="291258"/>
                    <a:pt x="4227665" y="299328"/>
                    <a:pt x="4217710" y="299328"/>
                  </a:cubicBezTo>
                  <a:cubicBezTo>
                    <a:pt x="4207755" y="299328"/>
                    <a:pt x="4199685" y="291258"/>
                    <a:pt x="4199685" y="281303"/>
                  </a:cubicBezTo>
                  <a:cubicBezTo>
                    <a:pt x="4199685" y="271349"/>
                    <a:pt x="4207755" y="263279"/>
                    <a:pt x="4217710" y="263279"/>
                  </a:cubicBezTo>
                  <a:close/>
                  <a:moveTo>
                    <a:pt x="3190319" y="263279"/>
                  </a:moveTo>
                  <a:cubicBezTo>
                    <a:pt x="3200274" y="263279"/>
                    <a:pt x="3208344" y="271349"/>
                    <a:pt x="3208344" y="281303"/>
                  </a:cubicBezTo>
                  <a:cubicBezTo>
                    <a:pt x="3208344" y="291258"/>
                    <a:pt x="3200274" y="299328"/>
                    <a:pt x="3190319" y="299328"/>
                  </a:cubicBezTo>
                  <a:cubicBezTo>
                    <a:pt x="3180364" y="299328"/>
                    <a:pt x="3172295" y="291258"/>
                    <a:pt x="3172295" y="281303"/>
                  </a:cubicBezTo>
                  <a:cubicBezTo>
                    <a:pt x="3172295" y="271349"/>
                    <a:pt x="3180364" y="263279"/>
                    <a:pt x="3190319" y="263279"/>
                  </a:cubicBezTo>
                  <a:close/>
                  <a:moveTo>
                    <a:pt x="5996118" y="257270"/>
                  </a:moveTo>
                  <a:cubicBezTo>
                    <a:pt x="6006073" y="257270"/>
                    <a:pt x="6014143" y="265340"/>
                    <a:pt x="6014143" y="275295"/>
                  </a:cubicBezTo>
                  <a:cubicBezTo>
                    <a:pt x="6014143" y="285249"/>
                    <a:pt x="6006073" y="293319"/>
                    <a:pt x="5996118" y="293319"/>
                  </a:cubicBezTo>
                  <a:cubicBezTo>
                    <a:pt x="5986164" y="293319"/>
                    <a:pt x="5978094" y="285249"/>
                    <a:pt x="5978094" y="275295"/>
                  </a:cubicBezTo>
                  <a:cubicBezTo>
                    <a:pt x="5978094" y="265340"/>
                    <a:pt x="5986164" y="257270"/>
                    <a:pt x="5996118" y="257270"/>
                  </a:cubicBezTo>
                  <a:close/>
                  <a:moveTo>
                    <a:pt x="5233085" y="257270"/>
                  </a:moveTo>
                  <a:cubicBezTo>
                    <a:pt x="5243040" y="257270"/>
                    <a:pt x="5251110" y="265340"/>
                    <a:pt x="5251110" y="275295"/>
                  </a:cubicBezTo>
                  <a:cubicBezTo>
                    <a:pt x="5251110" y="285249"/>
                    <a:pt x="5243040" y="293319"/>
                    <a:pt x="5233085" y="293319"/>
                  </a:cubicBezTo>
                  <a:cubicBezTo>
                    <a:pt x="5223130" y="293319"/>
                    <a:pt x="5215061" y="285249"/>
                    <a:pt x="5215061" y="275295"/>
                  </a:cubicBezTo>
                  <a:cubicBezTo>
                    <a:pt x="5215061" y="265340"/>
                    <a:pt x="5223130" y="257270"/>
                    <a:pt x="5233085" y="257270"/>
                  </a:cubicBezTo>
                  <a:close/>
                  <a:moveTo>
                    <a:pt x="4584206" y="257270"/>
                  </a:moveTo>
                  <a:cubicBezTo>
                    <a:pt x="4594161" y="257270"/>
                    <a:pt x="4602231" y="265340"/>
                    <a:pt x="4602231" y="275295"/>
                  </a:cubicBezTo>
                  <a:cubicBezTo>
                    <a:pt x="4602231" y="285249"/>
                    <a:pt x="4594161" y="293319"/>
                    <a:pt x="4584206" y="293319"/>
                  </a:cubicBezTo>
                  <a:cubicBezTo>
                    <a:pt x="4574252" y="293319"/>
                    <a:pt x="4566182" y="285249"/>
                    <a:pt x="4566182" y="275295"/>
                  </a:cubicBezTo>
                  <a:cubicBezTo>
                    <a:pt x="4566182" y="265340"/>
                    <a:pt x="4574252" y="257270"/>
                    <a:pt x="4584206" y="257270"/>
                  </a:cubicBezTo>
                  <a:close/>
                  <a:moveTo>
                    <a:pt x="2156921" y="257270"/>
                  </a:moveTo>
                  <a:cubicBezTo>
                    <a:pt x="2166875" y="257270"/>
                    <a:pt x="2174945" y="265340"/>
                    <a:pt x="2174945" y="275295"/>
                  </a:cubicBezTo>
                  <a:cubicBezTo>
                    <a:pt x="2174945" y="285249"/>
                    <a:pt x="2166875" y="293319"/>
                    <a:pt x="2156921" y="293319"/>
                  </a:cubicBezTo>
                  <a:cubicBezTo>
                    <a:pt x="2146966" y="293319"/>
                    <a:pt x="2138896" y="285249"/>
                    <a:pt x="2138896" y="275295"/>
                  </a:cubicBezTo>
                  <a:cubicBezTo>
                    <a:pt x="2138896" y="265340"/>
                    <a:pt x="2146966" y="257270"/>
                    <a:pt x="2156921" y="257270"/>
                  </a:cubicBezTo>
                  <a:close/>
                  <a:moveTo>
                    <a:pt x="781057" y="257270"/>
                  </a:moveTo>
                  <a:cubicBezTo>
                    <a:pt x="791012" y="257270"/>
                    <a:pt x="799082" y="265340"/>
                    <a:pt x="799082" y="275295"/>
                  </a:cubicBezTo>
                  <a:cubicBezTo>
                    <a:pt x="799082" y="285249"/>
                    <a:pt x="791012" y="293319"/>
                    <a:pt x="781057" y="293319"/>
                  </a:cubicBezTo>
                  <a:cubicBezTo>
                    <a:pt x="771103" y="293319"/>
                    <a:pt x="763033" y="285249"/>
                    <a:pt x="763033" y="275295"/>
                  </a:cubicBezTo>
                  <a:cubicBezTo>
                    <a:pt x="763033" y="265340"/>
                    <a:pt x="771103" y="257270"/>
                    <a:pt x="781057" y="257270"/>
                  </a:cubicBezTo>
                  <a:close/>
                  <a:moveTo>
                    <a:pt x="420569" y="257270"/>
                  </a:moveTo>
                  <a:cubicBezTo>
                    <a:pt x="430524" y="257270"/>
                    <a:pt x="438594" y="265340"/>
                    <a:pt x="438594" y="275295"/>
                  </a:cubicBezTo>
                  <a:cubicBezTo>
                    <a:pt x="438594" y="285249"/>
                    <a:pt x="430524" y="293319"/>
                    <a:pt x="420569" y="293319"/>
                  </a:cubicBezTo>
                  <a:cubicBezTo>
                    <a:pt x="410615" y="293319"/>
                    <a:pt x="402545" y="285249"/>
                    <a:pt x="402545" y="275295"/>
                  </a:cubicBezTo>
                  <a:cubicBezTo>
                    <a:pt x="402545" y="265340"/>
                    <a:pt x="410615" y="257270"/>
                    <a:pt x="420569" y="257270"/>
                  </a:cubicBezTo>
                  <a:close/>
                  <a:moveTo>
                    <a:pt x="5845915" y="245254"/>
                  </a:moveTo>
                  <a:cubicBezTo>
                    <a:pt x="5855870" y="245254"/>
                    <a:pt x="5863940" y="253324"/>
                    <a:pt x="5863940" y="263278"/>
                  </a:cubicBezTo>
                  <a:cubicBezTo>
                    <a:pt x="5863940" y="273233"/>
                    <a:pt x="5855870" y="281303"/>
                    <a:pt x="5845915" y="281303"/>
                  </a:cubicBezTo>
                  <a:cubicBezTo>
                    <a:pt x="5835961" y="281303"/>
                    <a:pt x="5827891" y="273233"/>
                    <a:pt x="5827891" y="263278"/>
                  </a:cubicBezTo>
                  <a:cubicBezTo>
                    <a:pt x="5827891" y="253324"/>
                    <a:pt x="5835961" y="245254"/>
                    <a:pt x="5845915" y="245254"/>
                  </a:cubicBezTo>
                  <a:close/>
                  <a:moveTo>
                    <a:pt x="4013434" y="245254"/>
                  </a:moveTo>
                  <a:cubicBezTo>
                    <a:pt x="4023389" y="245254"/>
                    <a:pt x="4031459" y="253324"/>
                    <a:pt x="4031459" y="263278"/>
                  </a:cubicBezTo>
                  <a:cubicBezTo>
                    <a:pt x="4031459" y="273233"/>
                    <a:pt x="4023389" y="281303"/>
                    <a:pt x="4013434" y="281303"/>
                  </a:cubicBezTo>
                  <a:cubicBezTo>
                    <a:pt x="4003480" y="281303"/>
                    <a:pt x="3995410" y="273233"/>
                    <a:pt x="3995410" y="263278"/>
                  </a:cubicBezTo>
                  <a:cubicBezTo>
                    <a:pt x="3995410" y="253324"/>
                    <a:pt x="4003480" y="245254"/>
                    <a:pt x="4013434" y="245254"/>
                  </a:cubicBezTo>
                  <a:close/>
                  <a:moveTo>
                    <a:pt x="2841847" y="245254"/>
                  </a:moveTo>
                  <a:cubicBezTo>
                    <a:pt x="2851802" y="245254"/>
                    <a:pt x="2859872" y="253324"/>
                    <a:pt x="2859872" y="263278"/>
                  </a:cubicBezTo>
                  <a:cubicBezTo>
                    <a:pt x="2859872" y="273233"/>
                    <a:pt x="2851802" y="281303"/>
                    <a:pt x="2841847" y="281303"/>
                  </a:cubicBezTo>
                  <a:cubicBezTo>
                    <a:pt x="2831893" y="281303"/>
                    <a:pt x="2823823" y="273233"/>
                    <a:pt x="2823823" y="263278"/>
                  </a:cubicBezTo>
                  <a:cubicBezTo>
                    <a:pt x="2823823" y="253324"/>
                    <a:pt x="2831893" y="245254"/>
                    <a:pt x="2841847" y="245254"/>
                  </a:cubicBezTo>
                  <a:close/>
                  <a:moveTo>
                    <a:pt x="2006717" y="245254"/>
                  </a:moveTo>
                  <a:cubicBezTo>
                    <a:pt x="2016671" y="245254"/>
                    <a:pt x="2024741" y="253324"/>
                    <a:pt x="2024741" y="263278"/>
                  </a:cubicBezTo>
                  <a:cubicBezTo>
                    <a:pt x="2024741" y="273233"/>
                    <a:pt x="2016671" y="281303"/>
                    <a:pt x="2006717" y="281303"/>
                  </a:cubicBezTo>
                  <a:cubicBezTo>
                    <a:pt x="1996762" y="281303"/>
                    <a:pt x="1988692" y="273233"/>
                    <a:pt x="1988692" y="263278"/>
                  </a:cubicBezTo>
                  <a:cubicBezTo>
                    <a:pt x="1988692" y="253324"/>
                    <a:pt x="1996762" y="245254"/>
                    <a:pt x="2006717" y="245254"/>
                  </a:cubicBezTo>
                  <a:close/>
                  <a:moveTo>
                    <a:pt x="1009366" y="245254"/>
                  </a:moveTo>
                  <a:cubicBezTo>
                    <a:pt x="1019321" y="245254"/>
                    <a:pt x="1027391" y="253324"/>
                    <a:pt x="1027391" y="263278"/>
                  </a:cubicBezTo>
                  <a:cubicBezTo>
                    <a:pt x="1027391" y="273233"/>
                    <a:pt x="1019321" y="281303"/>
                    <a:pt x="1009366" y="281303"/>
                  </a:cubicBezTo>
                  <a:cubicBezTo>
                    <a:pt x="999412" y="281303"/>
                    <a:pt x="991342" y="273233"/>
                    <a:pt x="991342" y="263278"/>
                  </a:cubicBezTo>
                  <a:cubicBezTo>
                    <a:pt x="991342" y="253324"/>
                    <a:pt x="999412" y="245254"/>
                    <a:pt x="1009366" y="245254"/>
                  </a:cubicBezTo>
                  <a:close/>
                  <a:moveTo>
                    <a:pt x="4337873" y="239246"/>
                  </a:moveTo>
                  <a:cubicBezTo>
                    <a:pt x="4347828" y="239246"/>
                    <a:pt x="4355898" y="247316"/>
                    <a:pt x="4355898" y="257270"/>
                  </a:cubicBezTo>
                  <a:cubicBezTo>
                    <a:pt x="4355898" y="267225"/>
                    <a:pt x="4347828" y="275295"/>
                    <a:pt x="4337873" y="275295"/>
                  </a:cubicBezTo>
                  <a:cubicBezTo>
                    <a:pt x="4327918" y="275295"/>
                    <a:pt x="4319848" y="267225"/>
                    <a:pt x="4319848" y="257270"/>
                  </a:cubicBezTo>
                  <a:cubicBezTo>
                    <a:pt x="4319848" y="247316"/>
                    <a:pt x="4327918" y="239246"/>
                    <a:pt x="4337873" y="239246"/>
                  </a:cubicBezTo>
                  <a:close/>
                  <a:moveTo>
                    <a:pt x="3310482" y="239246"/>
                  </a:moveTo>
                  <a:cubicBezTo>
                    <a:pt x="3320437" y="239246"/>
                    <a:pt x="3328507" y="247316"/>
                    <a:pt x="3328507" y="257270"/>
                  </a:cubicBezTo>
                  <a:cubicBezTo>
                    <a:pt x="3328507" y="267225"/>
                    <a:pt x="3320437" y="275295"/>
                    <a:pt x="3310482" y="275295"/>
                  </a:cubicBezTo>
                  <a:cubicBezTo>
                    <a:pt x="3300527" y="275295"/>
                    <a:pt x="3292458" y="267225"/>
                    <a:pt x="3292458" y="257270"/>
                  </a:cubicBezTo>
                  <a:cubicBezTo>
                    <a:pt x="3292458" y="247316"/>
                    <a:pt x="3300527" y="239246"/>
                    <a:pt x="3310482" y="239246"/>
                  </a:cubicBezTo>
                  <a:close/>
                  <a:moveTo>
                    <a:pt x="3418628" y="233238"/>
                  </a:moveTo>
                  <a:cubicBezTo>
                    <a:pt x="3428583" y="233238"/>
                    <a:pt x="3436653" y="241308"/>
                    <a:pt x="3436653" y="251262"/>
                  </a:cubicBezTo>
                  <a:cubicBezTo>
                    <a:pt x="3436653" y="261217"/>
                    <a:pt x="3428583" y="269287"/>
                    <a:pt x="3418628" y="269287"/>
                  </a:cubicBezTo>
                  <a:cubicBezTo>
                    <a:pt x="3408674" y="269287"/>
                    <a:pt x="3400604" y="261217"/>
                    <a:pt x="3400604" y="251262"/>
                  </a:cubicBezTo>
                  <a:cubicBezTo>
                    <a:pt x="3400604" y="241308"/>
                    <a:pt x="3408674" y="233238"/>
                    <a:pt x="3418628" y="233238"/>
                  </a:cubicBezTo>
                  <a:close/>
                  <a:moveTo>
                    <a:pt x="4836548" y="227230"/>
                  </a:moveTo>
                  <a:cubicBezTo>
                    <a:pt x="4846503" y="227230"/>
                    <a:pt x="4854573" y="235300"/>
                    <a:pt x="4854573" y="245255"/>
                  </a:cubicBezTo>
                  <a:cubicBezTo>
                    <a:pt x="4854573" y="255209"/>
                    <a:pt x="4846503" y="263279"/>
                    <a:pt x="4836548" y="263279"/>
                  </a:cubicBezTo>
                  <a:cubicBezTo>
                    <a:pt x="4826593" y="263279"/>
                    <a:pt x="4818524" y="255209"/>
                    <a:pt x="4818524" y="245255"/>
                  </a:cubicBezTo>
                  <a:cubicBezTo>
                    <a:pt x="4818524" y="235300"/>
                    <a:pt x="4826593" y="227230"/>
                    <a:pt x="4836548" y="227230"/>
                  </a:cubicBezTo>
                  <a:close/>
                  <a:moveTo>
                    <a:pt x="2949994" y="227230"/>
                  </a:moveTo>
                  <a:cubicBezTo>
                    <a:pt x="2959949" y="227230"/>
                    <a:pt x="2968019" y="235300"/>
                    <a:pt x="2968019" y="245255"/>
                  </a:cubicBezTo>
                  <a:cubicBezTo>
                    <a:pt x="2968019" y="255209"/>
                    <a:pt x="2959949" y="263279"/>
                    <a:pt x="2949994" y="263279"/>
                  </a:cubicBezTo>
                  <a:cubicBezTo>
                    <a:pt x="2940039" y="263279"/>
                    <a:pt x="2931970" y="255209"/>
                    <a:pt x="2931970" y="245255"/>
                  </a:cubicBezTo>
                  <a:cubicBezTo>
                    <a:pt x="2931970" y="235300"/>
                    <a:pt x="2940039" y="227230"/>
                    <a:pt x="2949994" y="227230"/>
                  </a:cubicBezTo>
                  <a:close/>
                  <a:moveTo>
                    <a:pt x="2727693" y="227230"/>
                  </a:moveTo>
                  <a:cubicBezTo>
                    <a:pt x="2737648" y="227230"/>
                    <a:pt x="2745718" y="235300"/>
                    <a:pt x="2745718" y="245255"/>
                  </a:cubicBezTo>
                  <a:cubicBezTo>
                    <a:pt x="2745718" y="255209"/>
                    <a:pt x="2737648" y="263279"/>
                    <a:pt x="2727693" y="263279"/>
                  </a:cubicBezTo>
                  <a:cubicBezTo>
                    <a:pt x="2717739" y="263279"/>
                    <a:pt x="2709669" y="255209"/>
                    <a:pt x="2709669" y="245255"/>
                  </a:cubicBezTo>
                  <a:cubicBezTo>
                    <a:pt x="2709669" y="235300"/>
                    <a:pt x="2717739" y="227230"/>
                    <a:pt x="2727693" y="227230"/>
                  </a:cubicBezTo>
                  <a:close/>
                  <a:moveTo>
                    <a:pt x="270365" y="227230"/>
                  </a:moveTo>
                  <a:cubicBezTo>
                    <a:pt x="280320" y="227230"/>
                    <a:pt x="288390" y="235300"/>
                    <a:pt x="288390" y="245255"/>
                  </a:cubicBezTo>
                  <a:cubicBezTo>
                    <a:pt x="288390" y="255209"/>
                    <a:pt x="280320" y="263279"/>
                    <a:pt x="270365" y="263279"/>
                  </a:cubicBezTo>
                  <a:cubicBezTo>
                    <a:pt x="260411" y="263279"/>
                    <a:pt x="252341" y="255209"/>
                    <a:pt x="252341" y="245255"/>
                  </a:cubicBezTo>
                  <a:cubicBezTo>
                    <a:pt x="252341" y="235300"/>
                    <a:pt x="260411" y="227230"/>
                    <a:pt x="270365" y="227230"/>
                  </a:cubicBezTo>
                  <a:close/>
                  <a:moveTo>
                    <a:pt x="3893271" y="221222"/>
                  </a:moveTo>
                  <a:cubicBezTo>
                    <a:pt x="3903226" y="221222"/>
                    <a:pt x="3911296" y="229291"/>
                    <a:pt x="3911296" y="239246"/>
                  </a:cubicBezTo>
                  <a:cubicBezTo>
                    <a:pt x="3911296" y="249201"/>
                    <a:pt x="3903226" y="257271"/>
                    <a:pt x="3893271" y="257271"/>
                  </a:cubicBezTo>
                  <a:cubicBezTo>
                    <a:pt x="3883317" y="257271"/>
                    <a:pt x="3875247" y="249201"/>
                    <a:pt x="3875247" y="239246"/>
                  </a:cubicBezTo>
                  <a:cubicBezTo>
                    <a:pt x="3875247" y="229291"/>
                    <a:pt x="3883317" y="221222"/>
                    <a:pt x="3893271" y="221222"/>
                  </a:cubicBezTo>
                  <a:close/>
                  <a:moveTo>
                    <a:pt x="1682277" y="221222"/>
                  </a:moveTo>
                  <a:cubicBezTo>
                    <a:pt x="1692232" y="221222"/>
                    <a:pt x="1700302" y="229291"/>
                    <a:pt x="1700302" y="239246"/>
                  </a:cubicBezTo>
                  <a:cubicBezTo>
                    <a:pt x="1700302" y="249201"/>
                    <a:pt x="1692232" y="257271"/>
                    <a:pt x="1682277" y="257271"/>
                  </a:cubicBezTo>
                  <a:cubicBezTo>
                    <a:pt x="1672323" y="257271"/>
                    <a:pt x="1664253" y="249201"/>
                    <a:pt x="1664253" y="239246"/>
                  </a:cubicBezTo>
                  <a:cubicBezTo>
                    <a:pt x="1664253" y="229291"/>
                    <a:pt x="1672323" y="221222"/>
                    <a:pt x="1682277" y="221222"/>
                  </a:cubicBezTo>
                  <a:close/>
                  <a:moveTo>
                    <a:pt x="4458036" y="215213"/>
                  </a:moveTo>
                  <a:cubicBezTo>
                    <a:pt x="4467991" y="215213"/>
                    <a:pt x="4476061" y="223283"/>
                    <a:pt x="4476061" y="233237"/>
                  </a:cubicBezTo>
                  <a:cubicBezTo>
                    <a:pt x="4476061" y="243192"/>
                    <a:pt x="4467991" y="251262"/>
                    <a:pt x="4458036" y="251262"/>
                  </a:cubicBezTo>
                  <a:cubicBezTo>
                    <a:pt x="4448081" y="251262"/>
                    <a:pt x="4440011" y="243192"/>
                    <a:pt x="4440011" y="233237"/>
                  </a:cubicBezTo>
                  <a:cubicBezTo>
                    <a:pt x="4440011" y="223283"/>
                    <a:pt x="4448081" y="215213"/>
                    <a:pt x="4458036" y="215213"/>
                  </a:cubicBezTo>
                  <a:close/>
                  <a:moveTo>
                    <a:pt x="3767100" y="215213"/>
                  </a:moveTo>
                  <a:cubicBezTo>
                    <a:pt x="3777055" y="215213"/>
                    <a:pt x="3785125" y="223283"/>
                    <a:pt x="3785125" y="233237"/>
                  </a:cubicBezTo>
                  <a:cubicBezTo>
                    <a:pt x="3785125" y="243192"/>
                    <a:pt x="3777055" y="251262"/>
                    <a:pt x="3767100" y="251262"/>
                  </a:cubicBezTo>
                  <a:cubicBezTo>
                    <a:pt x="3757145" y="251262"/>
                    <a:pt x="3749075" y="243192"/>
                    <a:pt x="3749075" y="233237"/>
                  </a:cubicBezTo>
                  <a:cubicBezTo>
                    <a:pt x="3749075" y="223283"/>
                    <a:pt x="3757145" y="215213"/>
                    <a:pt x="3767100" y="215213"/>
                  </a:cubicBezTo>
                  <a:close/>
                  <a:moveTo>
                    <a:pt x="6224427" y="209205"/>
                  </a:moveTo>
                  <a:cubicBezTo>
                    <a:pt x="6234382" y="209205"/>
                    <a:pt x="6242452" y="217275"/>
                    <a:pt x="6242452" y="227229"/>
                  </a:cubicBezTo>
                  <a:cubicBezTo>
                    <a:pt x="6242452" y="237184"/>
                    <a:pt x="6234382" y="245254"/>
                    <a:pt x="6224427" y="245254"/>
                  </a:cubicBezTo>
                  <a:cubicBezTo>
                    <a:pt x="6214472" y="245254"/>
                    <a:pt x="6206403" y="237184"/>
                    <a:pt x="6206403" y="227229"/>
                  </a:cubicBezTo>
                  <a:cubicBezTo>
                    <a:pt x="6206403" y="217275"/>
                    <a:pt x="6214472" y="209205"/>
                    <a:pt x="6224427" y="209205"/>
                  </a:cubicBezTo>
                  <a:close/>
                  <a:moveTo>
                    <a:pt x="1315782" y="209205"/>
                  </a:moveTo>
                  <a:cubicBezTo>
                    <a:pt x="1325736" y="209205"/>
                    <a:pt x="1333806" y="217275"/>
                    <a:pt x="1333806" y="227229"/>
                  </a:cubicBezTo>
                  <a:cubicBezTo>
                    <a:pt x="1333806" y="237184"/>
                    <a:pt x="1325736" y="245254"/>
                    <a:pt x="1315782" y="245254"/>
                  </a:cubicBezTo>
                  <a:cubicBezTo>
                    <a:pt x="1305827" y="245254"/>
                    <a:pt x="1297757" y="237184"/>
                    <a:pt x="1297757" y="227229"/>
                  </a:cubicBezTo>
                  <a:cubicBezTo>
                    <a:pt x="1297757" y="217275"/>
                    <a:pt x="1305827" y="209205"/>
                    <a:pt x="1315782" y="209205"/>
                  </a:cubicBezTo>
                  <a:close/>
                  <a:moveTo>
                    <a:pt x="5713736" y="203197"/>
                  </a:moveTo>
                  <a:cubicBezTo>
                    <a:pt x="5723691" y="203197"/>
                    <a:pt x="5731761" y="211267"/>
                    <a:pt x="5731761" y="221221"/>
                  </a:cubicBezTo>
                  <a:cubicBezTo>
                    <a:pt x="5731761" y="231176"/>
                    <a:pt x="5723691" y="239246"/>
                    <a:pt x="5713736" y="239246"/>
                  </a:cubicBezTo>
                  <a:cubicBezTo>
                    <a:pt x="5703781" y="239246"/>
                    <a:pt x="5695712" y="231176"/>
                    <a:pt x="5695712" y="221221"/>
                  </a:cubicBezTo>
                  <a:cubicBezTo>
                    <a:pt x="5695712" y="211267"/>
                    <a:pt x="5703781" y="203197"/>
                    <a:pt x="5713736" y="203197"/>
                  </a:cubicBezTo>
                  <a:close/>
                  <a:moveTo>
                    <a:pt x="1550098" y="203197"/>
                  </a:moveTo>
                  <a:cubicBezTo>
                    <a:pt x="1560053" y="203197"/>
                    <a:pt x="1568123" y="211267"/>
                    <a:pt x="1568123" y="221221"/>
                  </a:cubicBezTo>
                  <a:cubicBezTo>
                    <a:pt x="1568123" y="231176"/>
                    <a:pt x="1560053" y="239246"/>
                    <a:pt x="1550098" y="239246"/>
                  </a:cubicBezTo>
                  <a:cubicBezTo>
                    <a:pt x="1540144" y="239246"/>
                    <a:pt x="1532074" y="231176"/>
                    <a:pt x="1532074" y="221221"/>
                  </a:cubicBezTo>
                  <a:cubicBezTo>
                    <a:pt x="1532074" y="211267"/>
                    <a:pt x="1540144" y="203197"/>
                    <a:pt x="1550098" y="203197"/>
                  </a:cubicBezTo>
                  <a:close/>
                  <a:moveTo>
                    <a:pt x="5587565" y="197189"/>
                  </a:moveTo>
                  <a:cubicBezTo>
                    <a:pt x="5597520" y="197189"/>
                    <a:pt x="5605590" y="205259"/>
                    <a:pt x="5605590" y="215214"/>
                  </a:cubicBezTo>
                  <a:cubicBezTo>
                    <a:pt x="5605590" y="225168"/>
                    <a:pt x="5597520" y="233238"/>
                    <a:pt x="5587565" y="233238"/>
                  </a:cubicBezTo>
                  <a:cubicBezTo>
                    <a:pt x="5577610" y="233238"/>
                    <a:pt x="5569541" y="225168"/>
                    <a:pt x="5569541" y="215214"/>
                  </a:cubicBezTo>
                  <a:cubicBezTo>
                    <a:pt x="5569541" y="205259"/>
                    <a:pt x="5577610" y="197189"/>
                    <a:pt x="5587565" y="197189"/>
                  </a:cubicBezTo>
                  <a:close/>
                  <a:moveTo>
                    <a:pt x="4121580" y="197189"/>
                  </a:moveTo>
                  <a:cubicBezTo>
                    <a:pt x="4131535" y="197189"/>
                    <a:pt x="4139605" y="205259"/>
                    <a:pt x="4139605" y="215214"/>
                  </a:cubicBezTo>
                  <a:cubicBezTo>
                    <a:pt x="4139605" y="225168"/>
                    <a:pt x="4131535" y="233238"/>
                    <a:pt x="4121580" y="233238"/>
                  </a:cubicBezTo>
                  <a:cubicBezTo>
                    <a:pt x="4111625" y="233238"/>
                    <a:pt x="4103556" y="225168"/>
                    <a:pt x="4103556" y="215214"/>
                  </a:cubicBezTo>
                  <a:cubicBezTo>
                    <a:pt x="4103556" y="205259"/>
                    <a:pt x="4111625" y="197189"/>
                    <a:pt x="4121580" y="197189"/>
                  </a:cubicBezTo>
                  <a:close/>
                  <a:moveTo>
                    <a:pt x="3076164" y="197189"/>
                  </a:moveTo>
                  <a:cubicBezTo>
                    <a:pt x="3086119" y="197189"/>
                    <a:pt x="3094189" y="205259"/>
                    <a:pt x="3094189" y="215214"/>
                  </a:cubicBezTo>
                  <a:cubicBezTo>
                    <a:pt x="3094189" y="225168"/>
                    <a:pt x="3086119" y="233238"/>
                    <a:pt x="3076164" y="233238"/>
                  </a:cubicBezTo>
                  <a:cubicBezTo>
                    <a:pt x="3066209" y="233238"/>
                    <a:pt x="3058139" y="225168"/>
                    <a:pt x="3058139" y="215214"/>
                  </a:cubicBezTo>
                  <a:cubicBezTo>
                    <a:pt x="3058139" y="205259"/>
                    <a:pt x="3066209" y="197189"/>
                    <a:pt x="3076164" y="197189"/>
                  </a:cubicBezTo>
                  <a:close/>
                  <a:moveTo>
                    <a:pt x="5449378" y="191181"/>
                  </a:moveTo>
                  <a:cubicBezTo>
                    <a:pt x="5459333" y="191181"/>
                    <a:pt x="5467403" y="199250"/>
                    <a:pt x="5467403" y="209205"/>
                  </a:cubicBezTo>
                  <a:cubicBezTo>
                    <a:pt x="5467403" y="219160"/>
                    <a:pt x="5459333" y="227230"/>
                    <a:pt x="5449378" y="227230"/>
                  </a:cubicBezTo>
                  <a:cubicBezTo>
                    <a:pt x="5439423" y="227230"/>
                    <a:pt x="5431353" y="219160"/>
                    <a:pt x="5431353" y="209205"/>
                  </a:cubicBezTo>
                  <a:cubicBezTo>
                    <a:pt x="5431353" y="199250"/>
                    <a:pt x="5439423" y="191181"/>
                    <a:pt x="5449378" y="191181"/>
                  </a:cubicBezTo>
                  <a:close/>
                  <a:moveTo>
                    <a:pt x="2607530" y="191181"/>
                  </a:moveTo>
                  <a:cubicBezTo>
                    <a:pt x="2617485" y="191181"/>
                    <a:pt x="2625555" y="199250"/>
                    <a:pt x="2625555" y="209205"/>
                  </a:cubicBezTo>
                  <a:cubicBezTo>
                    <a:pt x="2625555" y="219160"/>
                    <a:pt x="2617485" y="227230"/>
                    <a:pt x="2607530" y="227230"/>
                  </a:cubicBezTo>
                  <a:cubicBezTo>
                    <a:pt x="2597576" y="227230"/>
                    <a:pt x="2589506" y="219160"/>
                    <a:pt x="2589506" y="209205"/>
                  </a:cubicBezTo>
                  <a:cubicBezTo>
                    <a:pt x="2589506" y="199250"/>
                    <a:pt x="2597576" y="191181"/>
                    <a:pt x="2607530" y="191181"/>
                  </a:cubicBezTo>
                  <a:close/>
                  <a:moveTo>
                    <a:pt x="30040" y="191181"/>
                  </a:moveTo>
                  <a:cubicBezTo>
                    <a:pt x="39995" y="191181"/>
                    <a:pt x="48065" y="199250"/>
                    <a:pt x="48065" y="209205"/>
                  </a:cubicBezTo>
                  <a:cubicBezTo>
                    <a:pt x="48065" y="219160"/>
                    <a:pt x="39995" y="227230"/>
                    <a:pt x="30040" y="227230"/>
                  </a:cubicBezTo>
                  <a:cubicBezTo>
                    <a:pt x="20086" y="227230"/>
                    <a:pt x="12016" y="219160"/>
                    <a:pt x="12016" y="209205"/>
                  </a:cubicBezTo>
                  <a:cubicBezTo>
                    <a:pt x="12016" y="199250"/>
                    <a:pt x="20086" y="191181"/>
                    <a:pt x="30040" y="191181"/>
                  </a:cubicBezTo>
                  <a:close/>
                  <a:moveTo>
                    <a:pt x="6368623" y="185173"/>
                  </a:moveTo>
                  <a:cubicBezTo>
                    <a:pt x="6378577" y="185173"/>
                    <a:pt x="6386648" y="193243"/>
                    <a:pt x="6386648" y="203197"/>
                  </a:cubicBezTo>
                  <a:cubicBezTo>
                    <a:pt x="6386648" y="213152"/>
                    <a:pt x="6378578" y="221222"/>
                    <a:pt x="6368623" y="221222"/>
                  </a:cubicBezTo>
                  <a:cubicBezTo>
                    <a:pt x="6358669" y="221222"/>
                    <a:pt x="6350599" y="213152"/>
                    <a:pt x="6350599" y="203197"/>
                  </a:cubicBezTo>
                  <a:cubicBezTo>
                    <a:pt x="6350599" y="193243"/>
                    <a:pt x="6358668" y="185173"/>
                    <a:pt x="6368623" y="185173"/>
                  </a:cubicBezTo>
                  <a:close/>
                  <a:moveTo>
                    <a:pt x="2379221" y="179165"/>
                  </a:moveTo>
                  <a:cubicBezTo>
                    <a:pt x="2389176" y="179165"/>
                    <a:pt x="2397246" y="187235"/>
                    <a:pt x="2397246" y="197189"/>
                  </a:cubicBezTo>
                  <a:cubicBezTo>
                    <a:pt x="2397246" y="207144"/>
                    <a:pt x="2389176" y="215214"/>
                    <a:pt x="2379221" y="215214"/>
                  </a:cubicBezTo>
                  <a:cubicBezTo>
                    <a:pt x="2369267" y="215214"/>
                    <a:pt x="2361197" y="207144"/>
                    <a:pt x="2361197" y="197189"/>
                  </a:cubicBezTo>
                  <a:cubicBezTo>
                    <a:pt x="2361197" y="187235"/>
                    <a:pt x="2369267" y="179165"/>
                    <a:pt x="2379221" y="179165"/>
                  </a:cubicBezTo>
                  <a:close/>
                  <a:moveTo>
                    <a:pt x="2253050" y="179165"/>
                  </a:moveTo>
                  <a:cubicBezTo>
                    <a:pt x="2263005" y="179165"/>
                    <a:pt x="2271075" y="187235"/>
                    <a:pt x="2271075" y="197189"/>
                  </a:cubicBezTo>
                  <a:cubicBezTo>
                    <a:pt x="2271075" y="207144"/>
                    <a:pt x="2263005" y="215214"/>
                    <a:pt x="2253050" y="215214"/>
                  </a:cubicBezTo>
                  <a:cubicBezTo>
                    <a:pt x="2243096" y="215214"/>
                    <a:pt x="2235026" y="207144"/>
                    <a:pt x="2235026" y="197189"/>
                  </a:cubicBezTo>
                  <a:cubicBezTo>
                    <a:pt x="2235026" y="187235"/>
                    <a:pt x="2243096" y="179165"/>
                    <a:pt x="2253050" y="179165"/>
                  </a:cubicBezTo>
                  <a:close/>
                  <a:moveTo>
                    <a:pt x="624846" y="179165"/>
                  </a:moveTo>
                  <a:cubicBezTo>
                    <a:pt x="634800" y="179165"/>
                    <a:pt x="642870" y="187235"/>
                    <a:pt x="642870" y="197189"/>
                  </a:cubicBezTo>
                  <a:cubicBezTo>
                    <a:pt x="642870" y="207144"/>
                    <a:pt x="634800" y="215214"/>
                    <a:pt x="624846" y="215214"/>
                  </a:cubicBezTo>
                  <a:cubicBezTo>
                    <a:pt x="614891" y="215214"/>
                    <a:pt x="606821" y="207144"/>
                    <a:pt x="606821" y="197189"/>
                  </a:cubicBezTo>
                  <a:cubicBezTo>
                    <a:pt x="606821" y="187235"/>
                    <a:pt x="614891" y="179165"/>
                    <a:pt x="624846" y="179165"/>
                  </a:cubicBezTo>
                  <a:close/>
                  <a:moveTo>
                    <a:pt x="6116281" y="167148"/>
                  </a:moveTo>
                  <a:cubicBezTo>
                    <a:pt x="6126236" y="167148"/>
                    <a:pt x="6134306" y="175218"/>
                    <a:pt x="6134306" y="185173"/>
                  </a:cubicBezTo>
                  <a:cubicBezTo>
                    <a:pt x="6134306" y="195127"/>
                    <a:pt x="6126236" y="203197"/>
                    <a:pt x="6116281" y="203197"/>
                  </a:cubicBezTo>
                  <a:cubicBezTo>
                    <a:pt x="6106327" y="203197"/>
                    <a:pt x="6098257" y="195127"/>
                    <a:pt x="6098257" y="185173"/>
                  </a:cubicBezTo>
                  <a:cubicBezTo>
                    <a:pt x="6098257" y="175218"/>
                    <a:pt x="6106327" y="167148"/>
                    <a:pt x="6116281" y="167148"/>
                  </a:cubicBezTo>
                  <a:close/>
                  <a:moveTo>
                    <a:pt x="5311191" y="167148"/>
                  </a:moveTo>
                  <a:cubicBezTo>
                    <a:pt x="5321146" y="167148"/>
                    <a:pt x="5329216" y="175218"/>
                    <a:pt x="5329216" y="185173"/>
                  </a:cubicBezTo>
                  <a:cubicBezTo>
                    <a:pt x="5329216" y="195127"/>
                    <a:pt x="5321146" y="203197"/>
                    <a:pt x="5311191" y="203197"/>
                  </a:cubicBezTo>
                  <a:cubicBezTo>
                    <a:pt x="5301237" y="203197"/>
                    <a:pt x="5293167" y="195127"/>
                    <a:pt x="5293167" y="185173"/>
                  </a:cubicBezTo>
                  <a:cubicBezTo>
                    <a:pt x="5293167" y="175218"/>
                    <a:pt x="5301237" y="167148"/>
                    <a:pt x="5311191" y="167148"/>
                  </a:cubicBezTo>
                  <a:close/>
                  <a:moveTo>
                    <a:pt x="3508750" y="167148"/>
                  </a:moveTo>
                  <a:cubicBezTo>
                    <a:pt x="3518705" y="167148"/>
                    <a:pt x="3526775" y="175218"/>
                    <a:pt x="3526775" y="185173"/>
                  </a:cubicBezTo>
                  <a:cubicBezTo>
                    <a:pt x="3526775" y="195127"/>
                    <a:pt x="3518705" y="203197"/>
                    <a:pt x="3508750" y="203197"/>
                  </a:cubicBezTo>
                  <a:cubicBezTo>
                    <a:pt x="3498796" y="203197"/>
                    <a:pt x="3490726" y="195127"/>
                    <a:pt x="3490726" y="185173"/>
                  </a:cubicBezTo>
                  <a:cubicBezTo>
                    <a:pt x="3490726" y="175218"/>
                    <a:pt x="3498796" y="167148"/>
                    <a:pt x="3508750" y="167148"/>
                  </a:cubicBezTo>
                  <a:close/>
                  <a:moveTo>
                    <a:pt x="1820464" y="167148"/>
                  </a:moveTo>
                  <a:cubicBezTo>
                    <a:pt x="1830419" y="167148"/>
                    <a:pt x="1838489" y="175218"/>
                    <a:pt x="1838489" y="185173"/>
                  </a:cubicBezTo>
                  <a:cubicBezTo>
                    <a:pt x="1838489" y="195127"/>
                    <a:pt x="1830419" y="203197"/>
                    <a:pt x="1820464" y="203197"/>
                  </a:cubicBezTo>
                  <a:cubicBezTo>
                    <a:pt x="1810510" y="203197"/>
                    <a:pt x="1802440" y="195127"/>
                    <a:pt x="1802440" y="185173"/>
                  </a:cubicBezTo>
                  <a:cubicBezTo>
                    <a:pt x="1802440" y="175218"/>
                    <a:pt x="1810510" y="167148"/>
                    <a:pt x="1820464" y="167148"/>
                  </a:cubicBezTo>
                  <a:close/>
                  <a:moveTo>
                    <a:pt x="1423927" y="167148"/>
                  </a:moveTo>
                  <a:cubicBezTo>
                    <a:pt x="1433882" y="167148"/>
                    <a:pt x="1441952" y="175218"/>
                    <a:pt x="1441952" y="185173"/>
                  </a:cubicBezTo>
                  <a:cubicBezTo>
                    <a:pt x="1441952" y="195127"/>
                    <a:pt x="1433882" y="203197"/>
                    <a:pt x="1423927" y="203197"/>
                  </a:cubicBezTo>
                  <a:cubicBezTo>
                    <a:pt x="1413973" y="203197"/>
                    <a:pt x="1405903" y="195127"/>
                    <a:pt x="1405903" y="185173"/>
                  </a:cubicBezTo>
                  <a:cubicBezTo>
                    <a:pt x="1405903" y="175218"/>
                    <a:pt x="1413973" y="167148"/>
                    <a:pt x="1423927" y="167148"/>
                  </a:cubicBezTo>
                  <a:close/>
                  <a:moveTo>
                    <a:pt x="5100906" y="161140"/>
                  </a:moveTo>
                  <a:cubicBezTo>
                    <a:pt x="5110861" y="161140"/>
                    <a:pt x="5118931" y="169209"/>
                    <a:pt x="5118931" y="179164"/>
                  </a:cubicBezTo>
                  <a:cubicBezTo>
                    <a:pt x="5118931" y="189119"/>
                    <a:pt x="5110861" y="197189"/>
                    <a:pt x="5100906" y="197189"/>
                  </a:cubicBezTo>
                  <a:cubicBezTo>
                    <a:pt x="5090952" y="197189"/>
                    <a:pt x="5082882" y="189119"/>
                    <a:pt x="5082882" y="179164"/>
                  </a:cubicBezTo>
                  <a:cubicBezTo>
                    <a:pt x="5082882" y="169209"/>
                    <a:pt x="5090952" y="161140"/>
                    <a:pt x="5100906" y="161140"/>
                  </a:cubicBezTo>
                  <a:close/>
                  <a:moveTo>
                    <a:pt x="1189610" y="161140"/>
                  </a:moveTo>
                  <a:cubicBezTo>
                    <a:pt x="1199565" y="161140"/>
                    <a:pt x="1207635" y="169209"/>
                    <a:pt x="1207635" y="179164"/>
                  </a:cubicBezTo>
                  <a:cubicBezTo>
                    <a:pt x="1207635" y="189119"/>
                    <a:pt x="1199565" y="197189"/>
                    <a:pt x="1189610" y="197189"/>
                  </a:cubicBezTo>
                  <a:cubicBezTo>
                    <a:pt x="1179656" y="197189"/>
                    <a:pt x="1171586" y="189119"/>
                    <a:pt x="1171586" y="179164"/>
                  </a:cubicBezTo>
                  <a:cubicBezTo>
                    <a:pt x="1171586" y="169209"/>
                    <a:pt x="1179656" y="161140"/>
                    <a:pt x="1189610" y="161140"/>
                  </a:cubicBezTo>
                  <a:close/>
                  <a:moveTo>
                    <a:pt x="492666" y="161140"/>
                  </a:moveTo>
                  <a:cubicBezTo>
                    <a:pt x="502621" y="161140"/>
                    <a:pt x="510691" y="169209"/>
                    <a:pt x="510691" y="179164"/>
                  </a:cubicBezTo>
                  <a:cubicBezTo>
                    <a:pt x="510691" y="189119"/>
                    <a:pt x="502621" y="197189"/>
                    <a:pt x="492666" y="197189"/>
                  </a:cubicBezTo>
                  <a:cubicBezTo>
                    <a:pt x="482712" y="197189"/>
                    <a:pt x="474642" y="189119"/>
                    <a:pt x="474642" y="179164"/>
                  </a:cubicBezTo>
                  <a:cubicBezTo>
                    <a:pt x="474642" y="169209"/>
                    <a:pt x="482712" y="161140"/>
                    <a:pt x="492666" y="161140"/>
                  </a:cubicBezTo>
                  <a:close/>
                  <a:moveTo>
                    <a:pt x="132178" y="161140"/>
                  </a:moveTo>
                  <a:cubicBezTo>
                    <a:pt x="142133" y="161140"/>
                    <a:pt x="150203" y="169209"/>
                    <a:pt x="150203" y="179164"/>
                  </a:cubicBezTo>
                  <a:cubicBezTo>
                    <a:pt x="150203" y="189119"/>
                    <a:pt x="142133" y="197189"/>
                    <a:pt x="132178" y="197189"/>
                  </a:cubicBezTo>
                  <a:cubicBezTo>
                    <a:pt x="122224" y="197189"/>
                    <a:pt x="114154" y="189119"/>
                    <a:pt x="114154" y="179164"/>
                  </a:cubicBezTo>
                  <a:cubicBezTo>
                    <a:pt x="114154" y="169209"/>
                    <a:pt x="122224" y="161140"/>
                    <a:pt x="132178" y="161140"/>
                  </a:cubicBezTo>
                  <a:close/>
                  <a:moveTo>
                    <a:pt x="4968727" y="155132"/>
                  </a:moveTo>
                  <a:cubicBezTo>
                    <a:pt x="4978682" y="155132"/>
                    <a:pt x="4986752" y="163202"/>
                    <a:pt x="4986752" y="173156"/>
                  </a:cubicBezTo>
                  <a:cubicBezTo>
                    <a:pt x="4986752" y="183111"/>
                    <a:pt x="4978682" y="191181"/>
                    <a:pt x="4968727" y="191181"/>
                  </a:cubicBezTo>
                  <a:cubicBezTo>
                    <a:pt x="4958772" y="191181"/>
                    <a:pt x="4950702" y="183111"/>
                    <a:pt x="4950702" y="173156"/>
                  </a:cubicBezTo>
                  <a:cubicBezTo>
                    <a:pt x="4950702" y="163202"/>
                    <a:pt x="4958772" y="155132"/>
                    <a:pt x="4968727" y="155132"/>
                  </a:cubicBezTo>
                  <a:close/>
                  <a:moveTo>
                    <a:pt x="3634921" y="155132"/>
                  </a:moveTo>
                  <a:cubicBezTo>
                    <a:pt x="3644876" y="155132"/>
                    <a:pt x="3652946" y="163202"/>
                    <a:pt x="3652946" y="173156"/>
                  </a:cubicBezTo>
                  <a:cubicBezTo>
                    <a:pt x="3652946" y="183111"/>
                    <a:pt x="3644876" y="191181"/>
                    <a:pt x="3634921" y="191181"/>
                  </a:cubicBezTo>
                  <a:cubicBezTo>
                    <a:pt x="3624966" y="191181"/>
                    <a:pt x="3616897" y="183111"/>
                    <a:pt x="3616897" y="173156"/>
                  </a:cubicBezTo>
                  <a:cubicBezTo>
                    <a:pt x="3616897" y="163202"/>
                    <a:pt x="3624966" y="155132"/>
                    <a:pt x="3634921" y="155132"/>
                  </a:cubicBezTo>
                  <a:close/>
                  <a:moveTo>
                    <a:pt x="2493375" y="155132"/>
                  </a:moveTo>
                  <a:cubicBezTo>
                    <a:pt x="2503330" y="155132"/>
                    <a:pt x="2511400" y="163202"/>
                    <a:pt x="2511400" y="173156"/>
                  </a:cubicBezTo>
                  <a:cubicBezTo>
                    <a:pt x="2511400" y="183111"/>
                    <a:pt x="2503330" y="191181"/>
                    <a:pt x="2493375" y="191181"/>
                  </a:cubicBezTo>
                  <a:cubicBezTo>
                    <a:pt x="2483420" y="191181"/>
                    <a:pt x="2475351" y="183111"/>
                    <a:pt x="2475351" y="173156"/>
                  </a:cubicBezTo>
                  <a:cubicBezTo>
                    <a:pt x="2475351" y="163202"/>
                    <a:pt x="2483420" y="155132"/>
                    <a:pt x="2493375" y="155132"/>
                  </a:cubicBezTo>
                  <a:close/>
                  <a:moveTo>
                    <a:pt x="1922603" y="155132"/>
                  </a:moveTo>
                  <a:cubicBezTo>
                    <a:pt x="1932558" y="155132"/>
                    <a:pt x="1940628" y="163202"/>
                    <a:pt x="1940628" y="173156"/>
                  </a:cubicBezTo>
                  <a:cubicBezTo>
                    <a:pt x="1940628" y="183111"/>
                    <a:pt x="1932558" y="191181"/>
                    <a:pt x="1922603" y="191181"/>
                  </a:cubicBezTo>
                  <a:cubicBezTo>
                    <a:pt x="1912649" y="191181"/>
                    <a:pt x="1904579" y="183111"/>
                    <a:pt x="1904579" y="173156"/>
                  </a:cubicBezTo>
                  <a:cubicBezTo>
                    <a:pt x="1904579" y="163202"/>
                    <a:pt x="1912649" y="155132"/>
                    <a:pt x="1922603" y="155132"/>
                  </a:cubicBezTo>
                  <a:close/>
                  <a:moveTo>
                    <a:pt x="919244" y="155132"/>
                  </a:moveTo>
                  <a:cubicBezTo>
                    <a:pt x="929199" y="155132"/>
                    <a:pt x="937269" y="163202"/>
                    <a:pt x="937269" y="173156"/>
                  </a:cubicBezTo>
                  <a:cubicBezTo>
                    <a:pt x="937269" y="183111"/>
                    <a:pt x="929199" y="191181"/>
                    <a:pt x="919244" y="191181"/>
                  </a:cubicBezTo>
                  <a:cubicBezTo>
                    <a:pt x="909290" y="191181"/>
                    <a:pt x="901220" y="183111"/>
                    <a:pt x="901220" y="173156"/>
                  </a:cubicBezTo>
                  <a:cubicBezTo>
                    <a:pt x="901220" y="163202"/>
                    <a:pt x="909290" y="155132"/>
                    <a:pt x="919244" y="155132"/>
                  </a:cubicBezTo>
                  <a:close/>
                  <a:moveTo>
                    <a:pt x="5905996" y="149124"/>
                  </a:moveTo>
                  <a:cubicBezTo>
                    <a:pt x="5915951" y="149124"/>
                    <a:pt x="5924021" y="157194"/>
                    <a:pt x="5924021" y="167148"/>
                  </a:cubicBezTo>
                  <a:cubicBezTo>
                    <a:pt x="5924021" y="177103"/>
                    <a:pt x="5915951" y="185173"/>
                    <a:pt x="5905996" y="185173"/>
                  </a:cubicBezTo>
                  <a:cubicBezTo>
                    <a:pt x="5896042" y="185173"/>
                    <a:pt x="5887972" y="177103"/>
                    <a:pt x="5887972" y="167148"/>
                  </a:cubicBezTo>
                  <a:cubicBezTo>
                    <a:pt x="5887972" y="157194"/>
                    <a:pt x="5896042" y="149124"/>
                    <a:pt x="5905996" y="149124"/>
                  </a:cubicBezTo>
                  <a:close/>
                  <a:moveTo>
                    <a:pt x="4644288" y="149124"/>
                  </a:moveTo>
                  <a:cubicBezTo>
                    <a:pt x="4654243" y="149124"/>
                    <a:pt x="4662313" y="157194"/>
                    <a:pt x="4662313" y="167148"/>
                  </a:cubicBezTo>
                  <a:cubicBezTo>
                    <a:pt x="4662313" y="177103"/>
                    <a:pt x="4654243" y="185173"/>
                    <a:pt x="4644288" y="185173"/>
                  </a:cubicBezTo>
                  <a:cubicBezTo>
                    <a:pt x="4634334" y="185173"/>
                    <a:pt x="4626264" y="177103"/>
                    <a:pt x="4626264" y="167148"/>
                  </a:cubicBezTo>
                  <a:cubicBezTo>
                    <a:pt x="4626264" y="157194"/>
                    <a:pt x="4634334" y="149124"/>
                    <a:pt x="4644288" y="149124"/>
                  </a:cubicBezTo>
                  <a:close/>
                  <a:moveTo>
                    <a:pt x="2126880" y="149124"/>
                  </a:moveTo>
                  <a:cubicBezTo>
                    <a:pt x="2136834" y="149124"/>
                    <a:pt x="2144904" y="157194"/>
                    <a:pt x="2144904" y="167148"/>
                  </a:cubicBezTo>
                  <a:cubicBezTo>
                    <a:pt x="2144904" y="177103"/>
                    <a:pt x="2136834" y="185173"/>
                    <a:pt x="2126880" y="185173"/>
                  </a:cubicBezTo>
                  <a:cubicBezTo>
                    <a:pt x="2116925" y="185173"/>
                    <a:pt x="2108855" y="177103"/>
                    <a:pt x="2108855" y="167148"/>
                  </a:cubicBezTo>
                  <a:cubicBezTo>
                    <a:pt x="2108855" y="157194"/>
                    <a:pt x="2116925" y="149124"/>
                    <a:pt x="2126880" y="149124"/>
                  </a:cubicBezTo>
                  <a:close/>
                  <a:moveTo>
                    <a:pt x="799081" y="149124"/>
                  </a:moveTo>
                  <a:cubicBezTo>
                    <a:pt x="809036" y="149124"/>
                    <a:pt x="817106" y="157194"/>
                    <a:pt x="817106" y="167148"/>
                  </a:cubicBezTo>
                  <a:cubicBezTo>
                    <a:pt x="817106" y="177103"/>
                    <a:pt x="809036" y="185173"/>
                    <a:pt x="799081" y="185173"/>
                  </a:cubicBezTo>
                  <a:cubicBezTo>
                    <a:pt x="789127" y="185173"/>
                    <a:pt x="781057" y="177103"/>
                    <a:pt x="781057" y="167148"/>
                  </a:cubicBezTo>
                  <a:cubicBezTo>
                    <a:pt x="781057" y="157194"/>
                    <a:pt x="789127" y="149124"/>
                    <a:pt x="799081" y="149124"/>
                  </a:cubicBezTo>
                  <a:close/>
                  <a:moveTo>
                    <a:pt x="366495" y="149124"/>
                  </a:moveTo>
                  <a:cubicBezTo>
                    <a:pt x="376450" y="149124"/>
                    <a:pt x="384520" y="157194"/>
                    <a:pt x="384520" y="167148"/>
                  </a:cubicBezTo>
                  <a:cubicBezTo>
                    <a:pt x="384520" y="177103"/>
                    <a:pt x="376450" y="185173"/>
                    <a:pt x="366495" y="185173"/>
                  </a:cubicBezTo>
                  <a:cubicBezTo>
                    <a:pt x="356541" y="185173"/>
                    <a:pt x="348471" y="177103"/>
                    <a:pt x="348471" y="167148"/>
                  </a:cubicBezTo>
                  <a:cubicBezTo>
                    <a:pt x="348471" y="157194"/>
                    <a:pt x="356541" y="149124"/>
                    <a:pt x="366495" y="149124"/>
                  </a:cubicBezTo>
                  <a:close/>
                  <a:moveTo>
                    <a:pt x="4758442" y="143116"/>
                  </a:moveTo>
                  <a:cubicBezTo>
                    <a:pt x="4768397" y="143116"/>
                    <a:pt x="4776467" y="151186"/>
                    <a:pt x="4776467" y="161140"/>
                  </a:cubicBezTo>
                  <a:cubicBezTo>
                    <a:pt x="4776467" y="171095"/>
                    <a:pt x="4768397" y="179165"/>
                    <a:pt x="4758442" y="179165"/>
                  </a:cubicBezTo>
                  <a:cubicBezTo>
                    <a:pt x="4748487" y="179165"/>
                    <a:pt x="4740417" y="171095"/>
                    <a:pt x="4740417" y="161140"/>
                  </a:cubicBezTo>
                  <a:cubicBezTo>
                    <a:pt x="4740417" y="151186"/>
                    <a:pt x="4748487" y="143116"/>
                    <a:pt x="4758442" y="143116"/>
                  </a:cubicBezTo>
                  <a:close/>
                  <a:moveTo>
                    <a:pt x="3226368" y="143116"/>
                  </a:moveTo>
                  <a:cubicBezTo>
                    <a:pt x="3236323" y="143116"/>
                    <a:pt x="3244393" y="151186"/>
                    <a:pt x="3244393" y="161140"/>
                  </a:cubicBezTo>
                  <a:cubicBezTo>
                    <a:pt x="3244393" y="171095"/>
                    <a:pt x="3236323" y="179165"/>
                    <a:pt x="3226368" y="179165"/>
                  </a:cubicBezTo>
                  <a:cubicBezTo>
                    <a:pt x="3216413" y="179165"/>
                    <a:pt x="3208343" y="171095"/>
                    <a:pt x="3208343" y="161140"/>
                  </a:cubicBezTo>
                  <a:cubicBezTo>
                    <a:pt x="3208343" y="151186"/>
                    <a:pt x="3216413" y="143116"/>
                    <a:pt x="3226368" y="143116"/>
                  </a:cubicBezTo>
                  <a:close/>
                  <a:moveTo>
                    <a:pt x="4235735" y="131100"/>
                  </a:moveTo>
                  <a:cubicBezTo>
                    <a:pt x="4245690" y="131100"/>
                    <a:pt x="4253760" y="139169"/>
                    <a:pt x="4253760" y="149124"/>
                  </a:cubicBezTo>
                  <a:cubicBezTo>
                    <a:pt x="4253760" y="159079"/>
                    <a:pt x="4245690" y="167149"/>
                    <a:pt x="4235735" y="167149"/>
                  </a:cubicBezTo>
                  <a:cubicBezTo>
                    <a:pt x="4225780" y="167149"/>
                    <a:pt x="4217711" y="159079"/>
                    <a:pt x="4217711" y="149124"/>
                  </a:cubicBezTo>
                  <a:cubicBezTo>
                    <a:pt x="4217711" y="139169"/>
                    <a:pt x="4225780" y="131100"/>
                    <a:pt x="4235735" y="131100"/>
                  </a:cubicBezTo>
                  <a:close/>
                  <a:moveTo>
                    <a:pt x="1057431" y="131100"/>
                  </a:moveTo>
                  <a:cubicBezTo>
                    <a:pt x="1067386" y="131100"/>
                    <a:pt x="1075456" y="139169"/>
                    <a:pt x="1075456" y="149124"/>
                  </a:cubicBezTo>
                  <a:cubicBezTo>
                    <a:pt x="1075456" y="159079"/>
                    <a:pt x="1067386" y="167149"/>
                    <a:pt x="1057431" y="167149"/>
                  </a:cubicBezTo>
                  <a:cubicBezTo>
                    <a:pt x="1047477" y="167149"/>
                    <a:pt x="1039407" y="159079"/>
                    <a:pt x="1039407" y="149124"/>
                  </a:cubicBezTo>
                  <a:cubicBezTo>
                    <a:pt x="1039407" y="139169"/>
                    <a:pt x="1047477" y="131100"/>
                    <a:pt x="1057431" y="131100"/>
                  </a:cubicBezTo>
                  <a:close/>
                  <a:moveTo>
                    <a:pt x="4536141" y="119083"/>
                  </a:moveTo>
                  <a:cubicBezTo>
                    <a:pt x="4546096" y="119083"/>
                    <a:pt x="4554166" y="127153"/>
                    <a:pt x="4554166" y="137107"/>
                  </a:cubicBezTo>
                  <a:cubicBezTo>
                    <a:pt x="4554166" y="147062"/>
                    <a:pt x="4546096" y="155132"/>
                    <a:pt x="4536141" y="155132"/>
                  </a:cubicBezTo>
                  <a:cubicBezTo>
                    <a:pt x="4526186" y="155132"/>
                    <a:pt x="4518117" y="147062"/>
                    <a:pt x="4518117" y="137107"/>
                  </a:cubicBezTo>
                  <a:cubicBezTo>
                    <a:pt x="4518117" y="127153"/>
                    <a:pt x="4526186" y="119083"/>
                    <a:pt x="4536141" y="119083"/>
                  </a:cubicBezTo>
                  <a:close/>
                  <a:moveTo>
                    <a:pt x="4361905" y="119083"/>
                  </a:moveTo>
                  <a:cubicBezTo>
                    <a:pt x="4371860" y="119083"/>
                    <a:pt x="4379930" y="127153"/>
                    <a:pt x="4379930" y="137107"/>
                  </a:cubicBezTo>
                  <a:cubicBezTo>
                    <a:pt x="4379930" y="147062"/>
                    <a:pt x="4371860" y="155132"/>
                    <a:pt x="4361905" y="155132"/>
                  </a:cubicBezTo>
                  <a:cubicBezTo>
                    <a:pt x="4351950" y="155132"/>
                    <a:pt x="4343881" y="147062"/>
                    <a:pt x="4343881" y="137107"/>
                  </a:cubicBezTo>
                  <a:cubicBezTo>
                    <a:pt x="4343881" y="127153"/>
                    <a:pt x="4351950" y="119083"/>
                    <a:pt x="4361905" y="119083"/>
                  </a:cubicBezTo>
                  <a:close/>
                  <a:moveTo>
                    <a:pt x="6020151" y="113075"/>
                  </a:moveTo>
                  <a:cubicBezTo>
                    <a:pt x="6030106" y="113075"/>
                    <a:pt x="6038176" y="121145"/>
                    <a:pt x="6038176" y="131099"/>
                  </a:cubicBezTo>
                  <a:cubicBezTo>
                    <a:pt x="6038176" y="141054"/>
                    <a:pt x="6030106" y="149124"/>
                    <a:pt x="6020151" y="149124"/>
                  </a:cubicBezTo>
                  <a:cubicBezTo>
                    <a:pt x="6010196" y="149124"/>
                    <a:pt x="6002126" y="141054"/>
                    <a:pt x="6002126" y="131099"/>
                  </a:cubicBezTo>
                  <a:cubicBezTo>
                    <a:pt x="6002126" y="121145"/>
                    <a:pt x="6010196" y="113075"/>
                    <a:pt x="6020151" y="113075"/>
                  </a:cubicBezTo>
                  <a:close/>
                  <a:moveTo>
                    <a:pt x="5209053" y="113075"/>
                  </a:moveTo>
                  <a:cubicBezTo>
                    <a:pt x="5219008" y="113075"/>
                    <a:pt x="5227078" y="121145"/>
                    <a:pt x="5227078" y="131099"/>
                  </a:cubicBezTo>
                  <a:cubicBezTo>
                    <a:pt x="5227078" y="141054"/>
                    <a:pt x="5219008" y="149124"/>
                    <a:pt x="5209053" y="149124"/>
                  </a:cubicBezTo>
                  <a:cubicBezTo>
                    <a:pt x="5199098" y="149124"/>
                    <a:pt x="5191028" y="141054"/>
                    <a:pt x="5191028" y="131099"/>
                  </a:cubicBezTo>
                  <a:cubicBezTo>
                    <a:pt x="5191028" y="121145"/>
                    <a:pt x="5199098" y="113075"/>
                    <a:pt x="5209053" y="113075"/>
                  </a:cubicBezTo>
                  <a:close/>
                  <a:moveTo>
                    <a:pt x="2865880" y="113075"/>
                  </a:moveTo>
                  <a:cubicBezTo>
                    <a:pt x="2875835" y="113075"/>
                    <a:pt x="2883905" y="121145"/>
                    <a:pt x="2883905" y="131099"/>
                  </a:cubicBezTo>
                  <a:cubicBezTo>
                    <a:pt x="2883905" y="141054"/>
                    <a:pt x="2875835" y="149124"/>
                    <a:pt x="2865880" y="149124"/>
                  </a:cubicBezTo>
                  <a:cubicBezTo>
                    <a:pt x="2855925" y="149124"/>
                    <a:pt x="2847855" y="141054"/>
                    <a:pt x="2847855" y="131099"/>
                  </a:cubicBezTo>
                  <a:cubicBezTo>
                    <a:pt x="2847855" y="121145"/>
                    <a:pt x="2855925" y="113075"/>
                    <a:pt x="2865880" y="113075"/>
                  </a:cubicBezTo>
                  <a:close/>
                  <a:moveTo>
                    <a:pt x="2751725" y="113075"/>
                  </a:moveTo>
                  <a:cubicBezTo>
                    <a:pt x="2761680" y="113075"/>
                    <a:pt x="2769750" y="121145"/>
                    <a:pt x="2769750" y="131099"/>
                  </a:cubicBezTo>
                  <a:cubicBezTo>
                    <a:pt x="2769750" y="141054"/>
                    <a:pt x="2761680" y="149124"/>
                    <a:pt x="2751725" y="149124"/>
                  </a:cubicBezTo>
                  <a:cubicBezTo>
                    <a:pt x="2741771" y="149124"/>
                    <a:pt x="2733701" y="141054"/>
                    <a:pt x="2733701" y="131099"/>
                  </a:cubicBezTo>
                  <a:cubicBezTo>
                    <a:pt x="2733701" y="121145"/>
                    <a:pt x="2741771" y="113075"/>
                    <a:pt x="2751725" y="113075"/>
                  </a:cubicBezTo>
                  <a:close/>
                  <a:moveTo>
                    <a:pt x="5797850" y="107067"/>
                  </a:moveTo>
                  <a:cubicBezTo>
                    <a:pt x="5807805" y="107067"/>
                    <a:pt x="5815875" y="115137"/>
                    <a:pt x="5815875" y="125092"/>
                  </a:cubicBezTo>
                  <a:cubicBezTo>
                    <a:pt x="5815875" y="135046"/>
                    <a:pt x="5807805" y="143116"/>
                    <a:pt x="5797850" y="143116"/>
                  </a:cubicBezTo>
                  <a:cubicBezTo>
                    <a:pt x="5787895" y="143116"/>
                    <a:pt x="5779826" y="135046"/>
                    <a:pt x="5779826" y="125092"/>
                  </a:cubicBezTo>
                  <a:cubicBezTo>
                    <a:pt x="5779826" y="115137"/>
                    <a:pt x="5787895" y="107067"/>
                    <a:pt x="5797850" y="107067"/>
                  </a:cubicBezTo>
                  <a:close/>
                  <a:moveTo>
                    <a:pt x="4055491" y="107067"/>
                  </a:moveTo>
                  <a:cubicBezTo>
                    <a:pt x="4065446" y="107067"/>
                    <a:pt x="4073516" y="115137"/>
                    <a:pt x="4073516" y="125092"/>
                  </a:cubicBezTo>
                  <a:cubicBezTo>
                    <a:pt x="4073516" y="135046"/>
                    <a:pt x="4065446" y="143116"/>
                    <a:pt x="4055491" y="143116"/>
                  </a:cubicBezTo>
                  <a:cubicBezTo>
                    <a:pt x="4045536" y="143116"/>
                    <a:pt x="4037467" y="135046"/>
                    <a:pt x="4037467" y="125092"/>
                  </a:cubicBezTo>
                  <a:cubicBezTo>
                    <a:pt x="4037467" y="115137"/>
                    <a:pt x="4045536" y="107067"/>
                    <a:pt x="4055491" y="107067"/>
                  </a:cubicBezTo>
                  <a:close/>
                  <a:moveTo>
                    <a:pt x="3917303" y="107067"/>
                  </a:moveTo>
                  <a:cubicBezTo>
                    <a:pt x="3927258" y="107067"/>
                    <a:pt x="3935328" y="115137"/>
                    <a:pt x="3935328" y="125092"/>
                  </a:cubicBezTo>
                  <a:cubicBezTo>
                    <a:pt x="3935328" y="135046"/>
                    <a:pt x="3927258" y="143116"/>
                    <a:pt x="3917303" y="143116"/>
                  </a:cubicBezTo>
                  <a:cubicBezTo>
                    <a:pt x="3907348" y="143116"/>
                    <a:pt x="3899278" y="135046"/>
                    <a:pt x="3899278" y="125092"/>
                  </a:cubicBezTo>
                  <a:cubicBezTo>
                    <a:pt x="3899278" y="115137"/>
                    <a:pt x="3907348" y="107067"/>
                    <a:pt x="3917303" y="107067"/>
                  </a:cubicBezTo>
                  <a:close/>
                  <a:moveTo>
                    <a:pt x="3346531" y="107067"/>
                  </a:moveTo>
                  <a:cubicBezTo>
                    <a:pt x="3356486" y="107067"/>
                    <a:pt x="3364556" y="115137"/>
                    <a:pt x="3364556" y="125092"/>
                  </a:cubicBezTo>
                  <a:cubicBezTo>
                    <a:pt x="3364556" y="135046"/>
                    <a:pt x="3356486" y="143116"/>
                    <a:pt x="3346531" y="143116"/>
                  </a:cubicBezTo>
                  <a:cubicBezTo>
                    <a:pt x="3336576" y="143116"/>
                    <a:pt x="3328506" y="135046"/>
                    <a:pt x="3328506" y="125092"/>
                  </a:cubicBezTo>
                  <a:cubicBezTo>
                    <a:pt x="3328506" y="115137"/>
                    <a:pt x="3336576" y="107067"/>
                    <a:pt x="3346531" y="107067"/>
                  </a:cubicBezTo>
                  <a:close/>
                  <a:moveTo>
                    <a:pt x="2024741" y="107067"/>
                  </a:moveTo>
                  <a:cubicBezTo>
                    <a:pt x="2034696" y="107067"/>
                    <a:pt x="2042766" y="115137"/>
                    <a:pt x="2042766" y="125092"/>
                  </a:cubicBezTo>
                  <a:cubicBezTo>
                    <a:pt x="2042766" y="135046"/>
                    <a:pt x="2034696" y="143116"/>
                    <a:pt x="2024741" y="143116"/>
                  </a:cubicBezTo>
                  <a:cubicBezTo>
                    <a:pt x="2014787" y="143116"/>
                    <a:pt x="2006717" y="135046"/>
                    <a:pt x="2006717" y="125092"/>
                  </a:cubicBezTo>
                  <a:cubicBezTo>
                    <a:pt x="2006717" y="115137"/>
                    <a:pt x="2014787" y="107067"/>
                    <a:pt x="2024741" y="107067"/>
                  </a:cubicBezTo>
                  <a:close/>
                  <a:moveTo>
                    <a:pt x="240325" y="107067"/>
                  </a:moveTo>
                  <a:cubicBezTo>
                    <a:pt x="250280" y="107067"/>
                    <a:pt x="258350" y="115137"/>
                    <a:pt x="258350" y="125092"/>
                  </a:cubicBezTo>
                  <a:cubicBezTo>
                    <a:pt x="258350" y="135046"/>
                    <a:pt x="250280" y="143116"/>
                    <a:pt x="240325" y="143116"/>
                  </a:cubicBezTo>
                  <a:cubicBezTo>
                    <a:pt x="230371" y="143116"/>
                    <a:pt x="222301" y="135046"/>
                    <a:pt x="222301" y="125092"/>
                  </a:cubicBezTo>
                  <a:cubicBezTo>
                    <a:pt x="222301" y="115137"/>
                    <a:pt x="230371" y="107067"/>
                    <a:pt x="240325" y="107067"/>
                  </a:cubicBezTo>
                  <a:close/>
                  <a:moveTo>
                    <a:pt x="3761092" y="101059"/>
                  </a:moveTo>
                  <a:cubicBezTo>
                    <a:pt x="3771047" y="101059"/>
                    <a:pt x="3779117" y="109128"/>
                    <a:pt x="3779117" y="119083"/>
                  </a:cubicBezTo>
                  <a:cubicBezTo>
                    <a:pt x="3779117" y="129038"/>
                    <a:pt x="3771047" y="137108"/>
                    <a:pt x="3761092" y="137108"/>
                  </a:cubicBezTo>
                  <a:cubicBezTo>
                    <a:pt x="3751137" y="137108"/>
                    <a:pt x="3743068" y="129038"/>
                    <a:pt x="3743068" y="119083"/>
                  </a:cubicBezTo>
                  <a:cubicBezTo>
                    <a:pt x="3743068" y="109128"/>
                    <a:pt x="3751137" y="101059"/>
                    <a:pt x="3761092" y="101059"/>
                  </a:cubicBezTo>
                  <a:close/>
                  <a:moveTo>
                    <a:pt x="1706311" y="101059"/>
                  </a:moveTo>
                  <a:cubicBezTo>
                    <a:pt x="1716265" y="101059"/>
                    <a:pt x="1724335" y="109128"/>
                    <a:pt x="1724335" y="119083"/>
                  </a:cubicBezTo>
                  <a:cubicBezTo>
                    <a:pt x="1724335" y="129038"/>
                    <a:pt x="1716265" y="137108"/>
                    <a:pt x="1706311" y="137108"/>
                  </a:cubicBezTo>
                  <a:cubicBezTo>
                    <a:pt x="1696356" y="137108"/>
                    <a:pt x="1688286" y="129038"/>
                    <a:pt x="1688286" y="119083"/>
                  </a:cubicBezTo>
                  <a:cubicBezTo>
                    <a:pt x="1688286" y="109128"/>
                    <a:pt x="1696356" y="101059"/>
                    <a:pt x="1706311" y="101059"/>
                  </a:cubicBezTo>
                  <a:close/>
                  <a:moveTo>
                    <a:pt x="1574131" y="101059"/>
                  </a:moveTo>
                  <a:cubicBezTo>
                    <a:pt x="1584086" y="101059"/>
                    <a:pt x="1592156" y="109128"/>
                    <a:pt x="1592156" y="119083"/>
                  </a:cubicBezTo>
                  <a:cubicBezTo>
                    <a:pt x="1592156" y="129038"/>
                    <a:pt x="1584086" y="137108"/>
                    <a:pt x="1574131" y="137108"/>
                  </a:cubicBezTo>
                  <a:cubicBezTo>
                    <a:pt x="1564177" y="137108"/>
                    <a:pt x="1556107" y="129038"/>
                    <a:pt x="1556107" y="119083"/>
                  </a:cubicBezTo>
                  <a:cubicBezTo>
                    <a:pt x="1556107" y="109128"/>
                    <a:pt x="1564177" y="101059"/>
                    <a:pt x="1574131" y="101059"/>
                  </a:cubicBezTo>
                  <a:close/>
                  <a:moveTo>
                    <a:pt x="5611598" y="89043"/>
                  </a:moveTo>
                  <a:cubicBezTo>
                    <a:pt x="5621553" y="89043"/>
                    <a:pt x="5629623" y="97113"/>
                    <a:pt x="5629623" y="107067"/>
                  </a:cubicBezTo>
                  <a:cubicBezTo>
                    <a:pt x="5629623" y="117022"/>
                    <a:pt x="5621553" y="125092"/>
                    <a:pt x="5611598" y="125092"/>
                  </a:cubicBezTo>
                  <a:cubicBezTo>
                    <a:pt x="5601644" y="125092"/>
                    <a:pt x="5593574" y="117022"/>
                    <a:pt x="5593574" y="107067"/>
                  </a:cubicBezTo>
                  <a:cubicBezTo>
                    <a:pt x="5593574" y="97113"/>
                    <a:pt x="5601644" y="89043"/>
                    <a:pt x="5611598" y="89043"/>
                  </a:cubicBezTo>
                  <a:close/>
                  <a:moveTo>
                    <a:pt x="5419337" y="89043"/>
                  </a:moveTo>
                  <a:cubicBezTo>
                    <a:pt x="5429292" y="89043"/>
                    <a:pt x="5437362" y="97113"/>
                    <a:pt x="5437362" y="107067"/>
                  </a:cubicBezTo>
                  <a:cubicBezTo>
                    <a:pt x="5437362" y="117022"/>
                    <a:pt x="5429292" y="125092"/>
                    <a:pt x="5419337" y="125092"/>
                  </a:cubicBezTo>
                  <a:cubicBezTo>
                    <a:pt x="5409382" y="125092"/>
                    <a:pt x="5401312" y="117022"/>
                    <a:pt x="5401312" y="107067"/>
                  </a:cubicBezTo>
                  <a:cubicBezTo>
                    <a:pt x="5401312" y="97113"/>
                    <a:pt x="5409382" y="89043"/>
                    <a:pt x="5419337" y="89043"/>
                  </a:cubicBezTo>
                  <a:close/>
                  <a:moveTo>
                    <a:pt x="2992051" y="89043"/>
                  </a:moveTo>
                  <a:cubicBezTo>
                    <a:pt x="3002006" y="89043"/>
                    <a:pt x="3010076" y="97113"/>
                    <a:pt x="3010076" y="107067"/>
                  </a:cubicBezTo>
                  <a:cubicBezTo>
                    <a:pt x="3010076" y="117022"/>
                    <a:pt x="3002006" y="125092"/>
                    <a:pt x="2992051" y="125092"/>
                  </a:cubicBezTo>
                  <a:cubicBezTo>
                    <a:pt x="2982097" y="125092"/>
                    <a:pt x="2974027" y="117022"/>
                    <a:pt x="2974027" y="107067"/>
                  </a:cubicBezTo>
                  <a:cubicBezTo>
                    <a:pt x="2974027" y="97113"/>
                    <a:pt x="2982097" y="89043"/>
                    <a:pt x="2992051" y="89043"/>
                  </a:cubicBezTo>
                  <a:close/>
                  <a:moveTo>
                    <a:pt x="6368623" y="83034"/>
                  </a:moveTo>
                  <a:cubicBezTo>
                    <a:pt x="6378577" y="83034"/>
                    <a:pt x="6386648" y="91104"/>
                    <a:pt x="6386648" y="101058"/>
                  </a:cubicBezTo>
                  <a:cubicBezTo>
                    <a:pt x="6386648" y="111013"/>
                    <a:pt x="6378578" y="119083"/>
                    <a:pt x="6368623" y="119083"/>
                  </a:cubicBezTo>
                  <a:cubicBezTo>
                    <a:pt x="6358669" y="119083"/>
                    <a:pt x="6350599" y="111013"/>
                    <a:pt x="6350599" y="101058"/>
                  </a:cubicBezTo>
                  <a:cubicBezTo>
                    <a:pt x="6350599" y="91104"/>
                    <a:pt x="6358668" y="83034"/>
                    <a:pt x="6368623" y="83034"/>
                  </a:cubicBezTo>
                  <a:close/>
                  <a:moveTo>
                    <a:pt x="6242452" y="83034"/>
                  </a:moveTo>
                  <a:cubicBezTo>
                    <a:pt x="6252407" y="83034"/>
                    <a:pt x="6260477" y="91104"/>
                    <a:pt x="6260477" y="101058"/>
                  </a:cubicBezTo>
                  <a:cubicBezTo>
                    <a:pt x="6260477" y="111013"/>
                    <a:pt x="6252407" y="119083"/>
                    <a:pt x="6242452" y="119083"/>
                  </a:cubicBezTo>
                  <a:cubicBezTo>
                    <a:pt x="6232498" y="119083"/>
                    <a:pt x="6224428" y="111013"/>
                    <a:pt x="6224428" y="101058"/>
                  </a:cubicBezTo>
                  <a:cubicBezTo>
                    <a:pt x="6224428" y="91104"/>
                    <a:pt x="6232498" y="83034"/>
                    <a:pt x="6242452" y="83034"/>
                  </a:cubicBezTo>
                  <a:close/>
                  <a:moveTo>
                    <a:pt x="4884613" y="83034"/>
                  </a:moveTo>
                  <a:cubicBezTo>
                    <a:pt x="4894568" y="83034"/>
                    <a:pt x="4902638" y="91104"/>
                    <a:pt x="4902638" y="101058"/>
                  </a:cubicBezTo>
                  <a:cubicBezTo>
                    <a:pt x="4902638" y="111013"/>
                    <a:pt x="4894568" y="119083"/>
                    <a:pt x="4884613" y="119083"/>
                  </a:cubicBezTo>
                  <a:cubicBezTo>
                    <a:pt x="4874659" y="119083"/>
                    <a:pt x="4866589" y="111013"/>
                    <a:pt x="4866589" y="101058"/>
                  </a:cubicBezTo>
                  <a:cubicBezTo>
                    <a:pt x="4866589" y="91104"/>
                    <a:pt x="4874659" y="83034"/>
                    <a:pt x="4884613" y="83034"/>
                  </a:cubicBezTo>
                  <a:close/>
                  <a:moveTo>
                    <a:pt x="3118221" y="83034"/>
                  </a:moveTo>
                  <a:cubicBezTo>
                    <a:pt x="3128176" y="83034"/>
                    <a:pt x="3136246" y="91104"/>
                    <a:pt x="3136246" y="101058"/>
                  </a:cubicBezTo>
                  <a:cubicBezTo>
                    <a:pt x="3136246" y="111013"/>
                    <a:pt x="3128176" y="119083"/>
                    <a:pt x="3118221" y="119083"/>
                  </a:cubicBezTo>
                  <a:cubicBezTo>
                    <a:pt x="3108267" y="119083"/>
                    <a:pt x="3100197" y="111013"/>
                    <a:pt x="3100197" y="101058"/>
                  </a:cubicBezTo>
                  <a:cubicBezTo>
                    <a:pt x="3100197" y="91104"/>
                    <a:pt x="3108267" y="83034"/>
                    <a:pt x="3118221" y="83034"/>
                  </a:cubicBezTo>
                  <a:close/>
                  <a:moveTo>
                    <a:pt x="2619546" y="83034"/>
                  </a:moveTo>
                  <a:cubicBezTo>
                    <a:pt x="2629501" y="83034"/>
                    <a:pt x="2637571" y="91104"/>
                    <a:pt x="2637571" y="101058"/>
                  </a:cubicBezTo>
                  <a:cubicBezTo>
                    <a:pt x="2637571" y="111013"/>
                    <a:pt x="2629501" y="119083"/>
                    <a:pt x="2619546" y="119083"/>
                  </a:cubicBezTo>
                  <a:cubicBezTo>
                    <a:pt x="2609591" y="119083"/>
                    <a:pt x="2601522" y="111013"/>
                    <a:pt x="2601522" y="101058"/>
                  </a:cubicBezTo>
                  <a:cubicBezTo>
                    <a:pt x="2601522" y="91104"/>
                    <a:pt x="2609591" y="83034"/>
                    <a:pt x="2619546" y="83034"/>
                  </a:cubicBezTo>
                  <a:close/>
                  <a:moveTo>
                    <a:pt x="1291748" y="83034"/>
                  </a:moveTo>
                  <a:cubicBezTo>
                    <a:pt x="1301703" y="83034"/>
                    <a:pt x="1309773" y="91104"/>
                    <a:pt x="1309773" y="101058"/>
                  </a:cubicBezTo>
                  <a:cubicBezTo>
                    <a:pt x="1309773" y="111013"/>
                    <a:pt x="1301703" y="119083"/>
                    <a:pt x="1291748" y="119083"/>
                  </a:cubicBezTo>
                  <a:cubicBezTo>
                    <a:pt x="1281794" y="119083"/>
                    <a:pt x="1273724" y="111013"/>
                    <a:pt x="1273724" y="101058"/>
                  </a:cubicBezTo>
                  <a:cubicBezTo>
                    <a:pt x="1273724" y="91104"/>
                    <a:pt x="1281794" y="83034"/>
                    <a:pt x="1291748" y="83034"/>
                  </a:cubicBezTo>
                  <a:close/>
                  <a:moveTo>
                    <a:pt x="702951" y="83034"/>
                  </a:moveTo>
                  <a:cubicBezTo>
                    <a:pt x="712906" y="83034"/>
                    <a:pt x="720976" y="91104"/>
                    <a:pt x="720976" y="101058"/>
                  </a:cubicBezTo>
                  <a:cubicBezTo>
                    <a:pt x="720976" y="111013"/>
                    <a:pt x="712906" y="119083"/>
                    <a:pt x="702951" y="119083"/>
                  </a:cubicBezTo>
                  <a:cubicBezTo>
                    <a:pt x="692997" y="119083"/>
                    <a:pt x="684927" y="111013"/>
                    <a:pt x="684927" y="101058"/>
                  </a:cubicBezTo>
                  <a:cubicBezTo>
                    <a:pt x="684927" y="91104"/>
                    <a:pt x="692997" y="83034"/>
                    <a:pt x="702951" y="83034"/>
                  </a:cubicBezTo>
                  <a:close/>
                  <a:moveTo>
                    <a:pt x="2319139" y="65010"/>
                  </a:moveTo>
                  <a:cubicBezTo>
                    <a:pt x="2329094" y="65010"/>
                    <a:pt x="2337164" y="73080"/>
                    <a:pt x="2337164" y="83034"/>
                  </a:cubicBezTo>
                  <a:cubicBezTo>
                    <a:pt x="2337164" y="92989"/>
                    <a:pt x="2329094" y="101059"/>
                    <a:pt x="2319139" y="101059"/>
                  </a:cubicBezTo>
                  <a:cubicBezTo>
                    <a:pt x="2309185" y="101059"/>
                    <a:pt x="2301115" y="92989"/>
                    <a:pt x="2301115" y="83034"/>
                  </a:cubicBezTo>
                  <a:cubicBezTo>
                    <a:pt x="2301115" y="73080"/>
                    <a:pt x="2309185" y="65010"/>
                    <a:pt x="2319139" y="65010"/>
                  </a:cubicBezTo>
                  <a:close/>
                  <a:moveTo>
                    <a:pt x="564765" y="65010"/>
                  </a:moveTo>
                  <a:cubicBezTo>
                    <a:pt x="574719" y="65010"/>
                    <a:pt x="582789" y="73080"/>
                    <a:pt x="582789" y="83034"/>
                  </a:cubicBezTo>
                  <a:cubicBezTo>
                    <a:pt x="582789" y="92989"/>
                    <a:pt x="574719" y="101059"/>
                    <a:pt x="564765" y="101059"/>
                  </a:cubicBezTo>
                  <a:cubicBezTo>
                    <a:pt x="554810" y="101059"/>
                    <a:pt x="546740" y="92989"/>
                    <a:pt x="546740" y="83034"/>
                  </a:cubicBezTo>
                  <a:cubicBezTo>
                    <a:pt x="546740" y="73080"/>
                    <a:pt x="554810" y="65010"/>
                    <a:pt x="564765" y="65010"/>
                  </a:cubicBezTo>
                  <a:close/>
                  <a:moveTo>
                    <a:pt x="18024" y="65010"/>
                  </a:moveTo>
                  <a:cubicBezTo>
                    <a:pt x="27979" y="65010"/>
                    <a:pt x="36049" y="73080"/>
                    <a:pt x="36049" y="83034"/>
                  </a:cubicBezTo>
                  <a:cubicBezTo>
                    <a:pt x="36049" y="92989"/>
                    <a:pt x="27979" y="101059"/>
                    <a:pt x="18024" y="101059"/>
                  </a:cubicBezTo>
                  <a:cubicBezTo>
                    <a:pt x="8070" y="101059"/>
                    <a:pt x="0" y="92989"/>
                    <a:pt x="0" y="83034"/>
                  </a:cubicBezTo>
                  <a:cubicBezTo>
                    <a:pt x="0" y="73080"/>
                    <a:pt x="8070" y="65010"/>
                    <a:pt x="18024" y="65010"/>
                  </a:cubicBezTo>
                  <a:close/>
                  <a:moveTo>
                    <a:pt x="5052841" y="59002"/>
                  </a:moveTo>
                  <a:cubicBezTo>
                    <a:pt x="5062796" y="59002"/>
                    <a:pt x="5070866" y="67072"/>
                    <a:pt x="5070866" y="77026"/>
                  </a:cubicBezTo>
                  <a:cubicBezTo>
                    <a:pt x="5070866" y="86981"/>
                    <a:pt x="5062796" y="95051"/>
                    <a:pt x="5052841" y="95051"/>
                  </a:cubicBezTo>
                  <a:cubicBezTo>
                    <a:pt x="5042886" y="95051"/>
                    <a:pt x="5034817" y="86981"/>
                    <a:pt x="5034817" y="77026"/>
                  </a:cubicBezTo>
                  <a:cubicBezTo>
                    <a:pt x="5034817" y="67072"/>
                    <a:pt x="5042886" y="59002"/>
                    <a:pt x="5052841" y="59002"/>
                  </a:cubicBezTo>
                  <a:close/>
                  <a:moveTo>
                    <a:pt x="3490726" y="59002"/>
                  </a:moveTo>
                  <a:cubicBezTo>
                    <a:pt x="3500681" y="59002"/>
                    <a:pt x="3508751" y="67072"/>
                    <a:pt x="3508751" y="77026"/>
                  </a:cubicBezTo>
                  <a:cubicBezTo>
                    <a:pt x="3508751" y="86981"/>
                    <a:pt x="3500681" y="95051"/>
                    <a:pt x="3490726" y="95051"/>
                  </a:cubicBezTo>
                  <a:cubicBezTo>
                    <a:pt x="3480771" y="95051"/>
                    <a:pt x="3472702" y="86981"/>
                    <a:pt x="3472702" y="77026"/>
                  </a:cubicBezTo>
                  <a:cubicBezTo>
                    <a:pt x="3472702" y="67072"/>
                    <a:pt x="3480771" y="59002"/>
                    <a:pt x="3490726" y="59002"/>
                  </a:cubicBezTo>
                  <a:close/>
                  <a:moveTo>
                    <a:pt x="1447960" y="59002"/>
                  </a:moveTo>
                  <a:cubicBezTo>
                    <a:pt x="1457915" y="59002"/>
                    <a:pt x="1465985" y="67072"/>
                    <a:pt x="1465985" y="77026"/>
                  </a:cubicBezTo>
                  <a:cubicBezTo>
                    <a:pt x="1465985" y="86981"/>
                    <a:pt x="1457915" y="95051"/>
                    <a:pt x="1447960" y="95051"/>
                  </a:cubicBezTo>
                  <a:cubicBezTo>
                    <a:pt x="1438006" y="95051"/>
                    <a:pt x="1429936" y="86981"/>
                    <a:pt x="1429936" y="77026"/>
                  </a:cubicBezTo>
                  <a:cubicBezTo>
                    <a:pt x="1429936" y="67072"/>
                    <a:pt x="1438006" y="59002"/>
                    <a:pt x="1447960" y="59002"/>
                  </a:cubicBezTo>
                  <a:close/>
                  <a:moveTo>
                    <a:pt x="2192969" y="46987"/>
                  </a:moveTo>
                  <a:cubicBezTo>
                    <a:pt x="2202924" y="46987"/>
                    <a:pt x="2210994" y="55057"/>
                    <a:pt x="2210994" y="65012"/>
                  </a:cubicBezTo>
                  <a:cubicBezTo>
                    <a:pt x="2210994" y="74966"/>
                    <a:pt x="2202924" y="83036"/>
                    <a:pt x="2192969" y="83036"/>
                  </a:cubicBezTo>
                  <a:cubicBezTo>
                    <a:pt x="2183015" y="83036"/>
                    <a:pt x="2174945" y="74966"/>
                    <a:pt x="2174945" y="65012"/>
                  </a:cubicBezTo>
                  <a:cubicBezTo>
                    <a:pt x="2174945" y="55057"/>
                    <a:pt x="2183015" y="46987"/>
                    <a:pt x="2192969" y="46987"/>
                  </a:cubicBezTo>
                  <a:close/>
                  <a:moveTo>
                    <a:pt x="4434003" y="40979"/>
                  </a:moveTo>
                  <a:cubicBezTo>
                    <a:pt x="4443958" y="40979"/>
                    <a:pt x="4452028" y="49048"/>
                    <a:pt x="4452028" y="59003"/>
                  </a:cubicBezTo>
                  <a:cubicBezTo>
                    <a:pt x="4452028" y="68958"/>
                    <a:pt x="4443958" y="77028"/>
                    <a:pt x="4434003" y="77028"/>
                  </a:cubicBezTo>
                  <a:cubicBezTo>
                    <a:pt x="4424049" y="77028"/>
                    <a:pt x="4415979" y="68958"/>
                    <a:pt x="4415979" y="59003"/>
                  </a:cubicBezTo>
                  <a:cubicBezTo>
                    <a:pt x="4415979" y="49048"/>
                    <a:pt x="4424049" y="40979"/>
                    <a:pt x="4434003" y="40979"/>
                  </a:cubicBezTo>
                  <a:close/>
                  <a:moveTo>
                    <a:pt x="3616897" y="40979"/>
                  </a:moveTo>
                  <a:cubicBezTo>
                    <a:pt x="3626852" y="40979"/>
                    <a:pt x="3634922" y="49048"/>
                    <a:pt x="3634922" y="59003"/>
                  </a:cubicBezTo>
                  <a:cubicBezTo>
                    <a:pt x="3634922" y="68958"/>
                    <a:pt x="3626852" y="77028"/>
                    <a:pt x="3616897" y="77028"/>
                  </a:cubicBezTo>
                  <a:cubicBezTo>
                    <a:pt x="3606942" y="77028"/>
                    <a:pt x="3598872" y="68958"/>
                    <a:pt x="3598872" y="59003"/>
                  </a:cubicBezTo>
                  <a:cubicBezTo>
                    <a:pt x="3598872" y="49048"/>
                    <a:pt x="3606942" y="40979"/>
                    <a:pt x="3616897" y="40979"/>
                  </a:cubicBezTo>
                  <a:close/>
                  <a:moveTo>
                    <a:pt x="1826473" y="40979"/>
                  </a:moveTo>
                  <a:cubicBezTo>
                    <a:pt x="1836427" y="40979"/>
                    <a:pt x="1844497" y="49048"/>
                    <a:pt x="1844497" y="59003"/>
                  </a:cubicBezTo>
                  <a:cubicBezTo>
                    <a:pt x="1844497" y="68958"/>
                    <a:pt x="1836427" y="77028"/>
                    <a:pt x="1826473" y="77028"/>
                  </a:cubicBezTo>
                  <a:cubicBezTo>
                    <a:pt x="1816518" y="77028"/>
                    <a:pt x="1808448" y="68958"/>
                    <a:pt x="1808448" y="59003"/>
                  </a:cubicBezTo>
                  <a:cubicBezTo>
                    <a:pt x="1808448" y="49048"/>
                    <a:pt x="1816518" y="40979"/>
                    <a:pt x="1826473" y="40979"/>
                  </a:cubicBezTo>
                  <a:close/>
                  <a:moveTo>
                    <a:pt x="5942045" y="34970"/>
                  </a:moveTo>
                  <a:cubicBezTo>
                    <a:pt x="5952000" y="34970"/>
                    <a:pt x="5960070" y="43040"/>
                    <a:pt x="5960070" y="52994"/>
                  </a:cubicBezTo>
                  <a:cubicBezTo>
                    <a:pt x="5960070" y="62949"/>
                    <a:pt x="5952000" y="71019"/>
                    <a:pt x="5942045" y="71019"/>
                  </a:cubicBezTo>
                  <a:cubicBezTo>
                    <a:pt x="5932091" y="71019"/>
                    <a:pt x="5924021" y="62949"/>
                    <a:pt x="5924021" y="52994"/>
                  </a:cubicBezTo>
                  <a:cubicBezTo>
                    <a:pt x="5924021" y="43040"/>
                    <a:pt x="5932091" y="34970"/>
                    <a:pt x="5942045" y="34970"/>
                  </a:cubicBezTo>
                  <a:close/>
                  <a:moveTo>
                    <a:pt x="5719744" y="34970"/>
                  </a:moveTo>
                  <a:cubicBezTo>
                    <a:pt x="5729699" y="34970"/>
                    <a:pt x="5737769" y="43040"/>
                    <a:pt x="5737769" y="52994"/>
                  </a:cubicBezTo>
                  <a:cubicBezTo>
                    <a:pt x="5737769" y="62949"/>
                    <a:pt x="5729699" y="71019"/>
                    <a:pt x="5719744" y="71019"/>
                  </a:cubicBezTo>
                  <a:cubicBezTo>
                    <a:pt x="5709789" y="71019"/>
                    <a:pt x="5701719" y="62949"/>
                    <a:pt x="5701719" y="52994"/>
                  </a:cubicBezTo>
                  <a:cubicBezTo>
                    <a:pt x="5701719" y="43040"/>
                    <a:pt x="5709789" y="34970"/>
                    <a:pt x="5719744" y="34970"/>
                  </a:cubicBezTo>
                  <a:close/>
                  <a:moveTo>
                    <a:pt x="1171586" y="34970"/>
                  </a:moveTo>
                  <a:cubicBezTo>
                    <a:pt x="1181541" y="34970"/>
                    <a:pt x="1189611" y="43040"/>
                    <a:pt x="1189611" y="52994"/>
                  </a:cubicBezTo>
                  <a:cubicBezTo>
                    <a:pt x="1189611" y="62949"/>
                    <a:pt x="1181541" y="71019"/>
                    <a:pt x="1171586" y="71019"/>
                  </a:cubicBezTo>
                  <a:cubicBezTo>
                    <a:pt x="1161632" y="71019"/>
                    <a:pt x="1153562" y="62949"/>
                    <a:pt x="1153562" y="52994"/>
                  </a:cubicBezTo>
                  <a:cubicBezTo>
                    <a:pt x="1153562" y="43040"/>
                    <a:pt x="1161632" y="34970"/>
                    <a:pt x="1171586" y="34970"/>
                  </a:cubicBezTo>
                  <a:close/>
                  <a:moveTo>
                    <a:pt x="937268" y="34970"/>
                  </a:moveTo>
                  <a:cubicBezTo>
                    <a:pt x="947223" y="34970"/>
                    <a:pt x="955293" y="43040"/>
                    <a:pt x="955293" y="52994"/>
                  </a:cubicBezTo>
                  <a:cubicBezTo>
                    <a:pt x="955293" y="62949"/>
                    <a:pt x="947223" y="71019"/>
                    <a:pt x="937268" y="71019"/>
                  </a:cubicBezTo>
                  <a:cubicBezTo>
                    <a:pt x="927314" y="71019"/>
                    <a:pt x="919244" y="62949"/>
                    <a:pt x="919244" y="52994"/>
                  </a:cubicBezTo>
                  <a:cubicBezTo>
                    <a:pt x="919244" y="43040"/>
                    <a:pt x="927314" y="34970"/>
                    <a:pt x="937268" y="34970"/>
                  </a:cubicBezTo>
                  <a:close/>
                  <a:moveTo>
                    <a:pt x="426577" y="34970"/>
                  </a:moveTo>
                  <a:cubicBezTo>
                    <a:pt x="436532" y="34970"/>
                    <a:pt x="444602" y="43040"/>
                    <a:pt x="444602" y="52994"/>
                  </a:cubicBezTo>
                  <a:cubicBezTo>
                    <a:pt x="444602" y="62949"/>
                    <a:pt x="436532" y="71019"/>
                    <a:pt x="426577" y="71019"/>
                  </a:cubicBezTo>
                  <a:cubicBezTo>
                    <a:pt x="416623" y="71019"/>
                    <a:pt x="408553" y="62949"/>
                    <a:pt x="408553" y="52994"/>
                  </a:cubicBezTo>
                  <a:cubicBezTo>
                    <a:pt x="408553" y="43040"/>
                    <a:pt x="416623" y="34970"/>
                    <a:pt x="426577" y="34970"/>
                  </a:cubicBezTo>
                  <a:close/>
                  <a:moveTo>
                    <a:pt x="6146322" y="28962"/>
                  </a:moveTo>
                  <a:cubicBezTo>
                    <a:pt x="6156277" y="28962"/>
                    <a:pt x="6164347" y="37032"/>
                    <a:pt x="6164347" y="46986"/>
                  </a:cubicBezTo>
                  <a:cubicBezTo>
                    <a:pt x="6164347" y="56941"/>
                    <a:pt x="6156277" y="65011"/>
                    <a:pt x="6146322" y="65011"/>
                  </a:cubicBezTo>
                  <a:cubicBezTo>
                    <a:pt x="6136368" y="65011"/>
                    <a:pt x="6128298" y="56941"/>
                    <a:pt x="6128298" y="46986"/>
                  </a:cubicBezTo>
                  <a:cubicBezTo>
                    <a:pt x="6128298" y="37032"/>
                    <a:pt x="6136368" y="28962"/>
                    <a:pt x="6146322" y="28962"/>
                  </a:cubicBezTo>
                  <a:close/>
                  <a:moveTo>
                    <a:pt x="4776467" y="28962"/>
                  </a:moveTo>
                  <a:cubicBezTo>
                    <a:pt x="4786422" y="28962"/>
                    <a:pt x="4794492" y="37032"/>
                    <a:pt x="4794492" y="46986"/>
                  </a:cubicBezTo>
                  <a:cubicBezTo>
                    <a:pt x="4794492" y="56941"/>
                    <a:pt x="4786422" y="65011"/>
                    <a:pt x="4776467" y="65011"/>
                  </a:cubicBezTo>
                  <a:cubicBezTo>
                    <a:pt x="4766512" y="65011"/>
                    <a:pt x="4758443" y="56941"/>
                    <a:pt x="4758443" y="46986"/>
                  </a:cubicBezTo>
                  <a:cubicBezTo>
                    <a:pt x="4758443" y="37032"/>
                    <a:pt x="4766512" y="28962"/>
                    <a:pt x="4776467" y="28962"/>
                  </a:cubicBezTo>
                  <a:close/>
                  <a:moveTo>
                    <a:pt x="2451318" y="28962"/>
                  </a:moveTo>
                  <a:cubicBezTo>
                    <a:pt x="2461273" y="28962"/>
                    <a:pt x="2469343" y="37032"/>
                    <a:pt x="2469343" y="46986"/>
                  </a:cubicBezTo>
                  <a:cubicBezTo>
                    <a:pt x="2469343" y="56941"/>
                    <a:pt x="2461273" y="65011"/>
                    <a:pt x="2451318" y="65011"/>
                  </a:cubicBezTo>
                  <a:cubicBezTo>
                    <a:pt x="2441364" y="65011"/>
                    <a:pt x="2433294" y="56941"/>
                    <a:pt x="2433294" y="46986"/>
                  </a:cubicBezTo>
                  <a:cubicBezTo>
                    <a:pt x="2433294" y="37032"/>
                    <a:pt x="2441364" y="28962"/>
                    <a:pt x="2451318" y="28962"/>
                  </a:cubicBezTo>
                  <a:close/>
                  <a:moveTo>
                    <a:pt x="150203" y="28962"/>
                  </a:moveTo>
                  <a:cubicBezTo>
                    <a:pt x="160158" y="28962"/>
                    <a:pt x="168228" y="37032"/>
                    <a:pt x="168228" y="46986"/>
                  </a:cubicBezTo>
                  <a:cubicBezTo>
                    <a:pt x="168228" y="56941"/>
                    <a:pt x="160158" y="65011"/>
                    <a:pt x="150203" y="65011"/>
                  </a:cubicBezTo>
                  <a:cubicBezTo>
                    <a:pt x="140249" y="65011"/>
                    <a:pt x="132179" y="56941"/>
                    <a:pt x="132179" y="46986"/>
                  </a:cubicBezTo>
                  <a:cubicBezTo>
                    <a:pt x="132179" y="37032"/>
                    <a:pt x="140249" y="28962"/>
                    <a:pt x="150203" y="28962"/>
                  </a:cubicBezTo>
                  <a:close/>
                  <a:moveTo>
                    <a:pt x="4277792" y="22954"/>
                  </a:moveTo>
                  <a:cubicBezTo>
                    <a:pt x="4287747" y="22954"/>
                    <a:pt x="4295817" y="31024"/>
                    <a:pt x="4295817" y="40978"/>
                  </a:cubicBezTo>
                  <a:cubicBezTo>
                    <a:pt x="4295817" y="50933"/>
                    <a:pt x="4287747" y="59003"/>
                    <a:pt x="4277792" y="59003"/>
                  </a:cubicBezTo>
                  <a:cubicBezTo>
                    <a:pt x="4267837" y="59003"/>
                    <a:pt x="4259767" y="50933"/>
                    <a:pt x="4259767" y="40978"/>
                  </a:cubicBezTo>
                  <a:cubicBezTo>
                    <a:pt x="4259767" y="31024"/>
                    <a:pt x="4267837" y="22954"/>
                    <a:pt x="4277792" y="22954"/>
                  </a:cubicBezTo>
                  <a:close/>
                  <a:moveTo>
                    <a:pt x="4145613" y="22954"/>
                  </a:moveTo>
                  <a:cubicBezTo>
                    <a:pt x="4155568" y="22954"/>
                    <a:pt x="4163638" y="31024"/>
                    <a:pt x="4163638" y="40978"/>
                  </a:cubicBezTo>
                  <a:cubicBezTo>
                    <a:pt x="4163638" y="50933"/>
                    <a:pt x="4155568" y="59003"/>
                    <a:pt x="4145613" y="59003"/>
                  </a:cubicBezTo>
                  <a:cubicBezTo>
                    <a:pt x="4135658" y="59003"/>
                    <a:pt x="4127589" y="50933"/>
                    <a:pt x="4127589" y="40978"/>
                  </a:cubicBezTo>
                  <a:cubicBezTo>
                    <a:pt x="4127589" y="31024"/>
                    <a:pt x="4135658" y="22954"/>
                    <a:pt x="4145613" y="22954"/>
                  </a:cubicBezTo>
                  <a:close/>
                  <a:moveTo>
                    <a:pt x="817106" y="22954"/>
                  </a:moveTo>
                  <a:cubicBezTo>
                    <a:pt x="823743" y="22954"/>
                    <a:pt x="829123" y="28334"/>
                    <a:pt x="829123" y="34970"/>
                  </a:cubicBezTo>
                  <a:cubicBezTo>
                    <a:pt x="829123" y="41607"/>
                    <a:pt x="823743" y="46987"/>
                    <a:pt x="817106" y="46987"/>
                  </a:cubicBezTo>
                  <a:cubicBezTo>
                    <a:pt x="810470" y="46987"/>
                    <a:pt x="805090" y="41606"/>
                    <a:pt x="805090" y="34970"/>
                  </a:cubicBezTo>
                  <a:cubicBezTo>
                    <a:pt x="805090" y="28334"/>
                    <a:pt x="810470" y="22954"/>
                    <a:pt x="817106" y="22954"/>
                  </a:cubicBezTo>
                  <a:close/>
                  <a:moveTo>
                    <a:pt x="5491435" y="16946"/>
                  </a:moveTo>
                  <a:cubicBezTo>
                    <a:pt x="5501390" y="16946"/>
                    <a:pt x="5509460" y="25016"/>
                    <a:pt x="5509460" y="34971"/>
                  </a:cubicBezTo>
                  <a:cubicBezTo>
                    <a:pt x="5509460" y="44925"/>
                    <a:pt x="5501390" y="52995"/>
                    <a:pt x="5491435" y="52995"/>
                  </a:cubicBezTo>
                  <a:cubicBezTo>
                    <a:pt x="5481481" y="52995"/>
                    <a:pt x="5473411" y="44925"/>
                    <a:pt x="5473411" y="34971"/>
                  </a:cubicBezTo>
                  <a:cubicBezTo>
                    <a:pt x="5473411" y="25016"/>
                    <a:pt x="5481481" y="16946"/>
                    <a:pt x="5491435" y="16946"/>
                  </a:cubicBezTo>
                  <a:close/>
                  <a:moveTo>
                    <a:pt x="5323207" y="16946"/>
                  </a:moveTo>
                  <a:cubicBezTo>
                    <a:pt x="5333162" y="16946"/>
                    <a:pt x="5341232" y="25016"/>
                    <a:pt x="5341232" y="34971"/>
                  </a:cubicBezTo>
                  <a:cubicBezTo>
                    <a:pt x="5341232" y="44925"/>
                    <a:pt x="5333162" y="52995"/>
                    <a:pt x="5323207" y="52995"/>
                  </a:cubicBezTo>
                  <a:cubicBezTo>
                    <a:pt x="5313252" y="52995"/>
                    <a:pt x="5305183" y="44925"/>
                    <a:pt x="5305183" y="34971"/>
                  </a:cubicBezTo>
                  <a:cubicBezTo>
                    <a:pt x="5305183" y="25016"/>
                    <a:pt x="5313252" y="16946"/>
                    <a:pt x="5323207" y="16946"/>
                  </a:cubicBezTo>
                  <a:close/>
                  <a:moveTo>
                    <a:pt x="4632272" y="16946"/>
                  </a:moveTo>
                  <a:cubicBezTo>
                    <a:pt x="4642227" y="16946"/>
                    <a:pt x="4650297" y="25016"/>
                    <a:pt x="4650297" y="34971"/>
                  </a:cubicBezTo>
                  <a:cubicBezTo>
                    <a:pt x="4650297" y="44925"/>
                    <a:pt x="4642227" y="52995"/>
                    <a:pt x="4632272" y="52995"/>
                  </a:cubicBezTo>
                  <a:cubicBezTo>
                    <a:pt x="4622317" y="52995"/>
                    <a:pt x="4614248" y="44925"/>
                    <a:pt x="4614248" y="34971"/>
                  </a:cubicBezTo>
                  <a:cubicBezTo>
                    <a:pt x="4614248" y="25016"/>
                    <a:pt x="4622317" y="16946"/>
                    <a:pt x="4632272" y="16946"/>
                  </a:cubicBezTo>
                  <a:close/>
                  <a:moveTo>
                    <a:pt x="3226368" y="16946"/>
                  </a:moveTo>
                  <a:cubicBezTo>
                    <a:pt x="3236323" y="16946"/>
                    <a:pt x="3244393" y="25016"/>
                    <a:pt x="3244393" y="34971"/>
                  </a:cubicBezTo>
                  <a:cubicBezTo>
                    <a:pt x="3244393" y="44925"/>
                    <a:pt x="3236323" y="52995"/>
                    <a:pt x="3226368" y="52995"/>
                  </a:cubicBezTo>
                  <a:cubicBezTo>
                    <a:pt x="3216413" y="52995"/>
                    <a:pt x="3208343" y="44925"/>
                    <a:pt x="3208343" y="34971"/>
                  </a:cubicBezTo>
                  <a:cubicBezTo>
                    <a:pt x="3208343" y="25016"/>
                    <a:pt x="3216413" y="16946"/>
                    <a:pt x="3226368" y="16946"/>
                  </a:cubicBezTo>
                  <a:close/>
                  <a:moveTo>
                    <a:pt x="3983393" y="10938"/>
                  </a:moveTo>
                  <a:cubicBezTo>
                    <a:pt x="3993348" y="10938"/>
                    <a:pt x="4001418" y="19007"/>
                    <a:pt x="4001418" y="28962"/>
                  </a:cubicBezTo>
                  <a:cubicBezTo>
                    <a:pt x="4001418" y="38917"/>
                    <a:pt x="3993348" y="46987"/>
                    <a:pt x="3983393" y="46987"/>
                  </a:cubicBezTo>
                  <a:cubicBezTo>
                    <a:pt x="3973439" y="46987"/>
                    <a:pt x="3965369" y="38917"/>
                    <a:pt x="3965369" y="28962"/>
                  </a:cubicBezTo>
                  <a:cubicBezTo>
                    <a:pt x="3965369" y="19007"/>
                    <a:pt x="3973439" y="10938"/>
                    <a:pt x="3983393" y="10938"/>
                  </a:cubicBezTo>
                  <a:close/>
                  <a:moveTo>
                    <a:pt x="1039407" y="10938"/>
                  </a:moveTo>
                  <a:cubicBezTo>
                    <a:pt x="1049362" y="10938"/>
                    <a:pt x="1057432" y="19007"/>
                    <a:pt x="1057432" y="28962"/>
                  </a:cubicBezTo>
                  <a:cubicBezTo>
                    <a:pt x="1057432" y="38917"/>
                    <a:pt x="1049362" y="46987"/>
                    <a:pt x="1039407" y="46987"/>
                  </a:cubicBezTo>
                  <a:cubicBezTo>
                    <a:pt x="1029453" y="46987"/>
                    <a:pt x="1021383" y="38917"/>
                    <a:pt x="1021383" y="28962"/>
                  </a:cubicBezTo>
                  <a:cubicBezTo>
                    <a:pt x="1021383" y="19007"/>
                    <a:pt x="1029453" y="10938"/>
                    <a:pt x="1039407" y="10938"/>
                  </a:cubicBezTo>
                  <a:close/>
                  <a:moveTo>
                    <a:pt x="312422" y="10938"/>
                  </a:moveTo>
                  <a:cubicBezTo>
                    <a:pt x="322377" y="10938"/>
                    <a:pt x="330447" y="19007"/>
                    <a:pt x="330447" y="28962"/>
                  </a:cubicBezTo>
                  <a:cubicBezTo>
                    <a:pt x="330447" y="38917"/>
                    <a:pt x="322377" y="46987"/>
                    <a:pt x="312422" y="46987"/>
                  </a:cubicBezTo>
                  <a:cubicBezTo>
                    <a:pt x="302468" y="46987"/>
                    <a:pt x="294398" y="38917"/>
                    <a:pt x="294398" y="28962"/>
                  </a:cubicBezTo>
                  <a:cubicBezTo>
                    <a:pt x="294398" y="19007"/>
                    <a:pt x="302468" y="10938"/>
                    <a:pt x="312422" y="10938"/>
                  </a:cubicBezTo>
                  <a:close/>
                  <a:moveTo>
                    <a:pt x="3839198" y="4930"/>
                  </a:moveTo>
                  <a:cubicBezTo>
                    <a:pt x="3849153" y="4930"/>
                    <a:pt x="3857223" y="13000"/>
                    <a:pt x="3857223" y="22954"/>
                  </a:cubicBezTo>
                  <a:cubicBezTo>
                    <a:pt x="3857223" y="32909"/>
                    <a:pt x="3849153" y="40979"/>
                    <a:pt x="3839198" y="40979"/>
                  </a:cubicBezTo>
                  <a:cubicBezTo>
                    <a:pt x="3829244" y="40979"/>
                    <a:pt x="3821174" y="32909"/>
                    <a:pt x="3821174" y="22954"/>
                  </a:cubicBezTo>
                  <a:cubicBezTo>
                    <a:pt x="3821174" y="13000"/>
                    <a:pt x="3829244" y="4930"/>
                    <a:pt x="3839198" y="4930"/>
                  </a:cubicBezTo>
                  <a:close/>
                  <a:moveTo>
                    <a:pt x="3388588" y="4930"/>
                  </a:moveTo>
                  <a:cubicBezTo>
                    <a:pt x="3398543" y="4930"/>
                    <a:pt x="3406613" y="13000"/>
                    <a:pt x="3406613" y="22954"/>
                  </a:cubicBezTo>
                  <a:cubicBezTo>
                    <a:pt x="3406613" y="32909"/>
                    <a:pt x="3398543" y="40979"/>
                    <a:pt x="3388588" y="40979"/>
                  </a:cubicBezTo>
                  <a:cubicBezTo>
                    <a:pt x="3378634" y="40979"/>
                    <a:pt x="3370564" y="32909"/>
                    <a:pt x="3370564" y="22954"/>
                  </a:cubicBezTo>
                  <a:cubicBezTo>
                    <a:pt x="3370564" y="13000"/>
                    <a:pt x="3378634" y="4930"/>
                    <a:pt x="3388588" y="4930"/>
                  </a:cubicBezTo>
                  <a:close/>
                  <a:moveTo>
                    <a:pt x="5171526" y="0"/>
                  </a:moveTo>
                  <a:lnTo>
                    <a:pt x="5198514" y="0"/>
                  </a:lnTo>
                  <a:lnTo>
                    <a:pt x="5203045" y="10937"/>
                  </a:lnTo>
                  <a:cubicBezTo>
                    <a:pt x="5203045" y="20892"/>
                    <a:pt x="5194975" y="28962"/>
                    <a:pt x="5185020" y="28962"/>
                  </a:cubicBezTo>
                  <a:cubicBezTo>
                    <a:pt x="5175066" y="28962"/>
                    <a:pt x="5166996" y="20892"/>
                    <a:pt x="5166996" y="10937"/>
                  </a:cubicBezTo>
                  <a:close/>
                  <a:moveTo>
                    <a:pt x="4908761" y="0"/>
                  </a:moveTo>
                  <a:lnTo>
                    <a:pt x="4932564" y="0"/>
                  </a:lnTo>
                  <a:lnTo>
                    <a:pt x="4920662" y="4930"/>
                  </a:lnTo>
                  <a:close/>
                  <a:moveTo>
                    <a:pt x="3701458" y="0"/>
                  </a:moveTo>
                  <a:lnTo>
                    <a:pt x="3736613" y="0"/>
                  </a:lnTo>
                  <a:lnTo>
                    <a:pt x="3731781" y="11667"/>
                  </a:lnTo>
                  <a:cubicBezTo>
                    <a:pt x="3728519" y="14929"/>
                    <a:pt x="3724013" y="16946"/>
                    <a:pt x="3719035" y="16946"/>
                  </a:cubicBezTo>
                  <a:cubicBezTo>
                    <a:pt x="3714058" y="16946"/>
                    <a:pt x="3709552" y="14929"/>
                    <a:pt x="3706290" y="11667"/>
                  </a:cubicBezTo>
                  <a:close/>
                  <a:moveTo>
                    <a:pt x="3058255" y="0"/>
                  </a:moveTo>
                  <a:lnTo>
                    <a:pt x="3082058" y="0"/>
                  </a:lnTo>
                  <a:lnTo>
                    <a:pt x="3070156" y="4930"/>
                  </a:lnTo>
                  <a:close/>
                  <a:moveTo>
                    <a:pt x="2908383" y="0"/>
                  </a:moveTo>
                  <a:lnTo>
                    <a:pt x="2943539" y="0"/>
                  </a:lnTo>
                  <a:lnTo>
                    <a:pt x="2938707" y="11667"/>
                  </a:lnTo>
                  <a:cubicBezTo>
                    <a:pt x="2935445" y="14929"/>
                    <a:pt x="2930939" y="16946"/>
                    <a:pt x="2925961" y="16946"/>
                  </a:cubicBezTo>
                  <a:cubicBezTo>
                    <a:pt x="2920984" y="16946"/>
                    <a:pt x="2916477" y="14929"/>
                    <a:pt x="2913216" y="11667"/>
                  </a:cubicBezTo>
                  <a:close/>
                  <a:moveTo>
                    <a:pt x="2794230" y="0"/>
                  </a:moveTo>
                  <a:lnTo>
                    <a:pt x="2829385" y="0"/>
                  </a:lnTo>
                  <a:lnTo>
                    <a:pt x="2824553" y="11667"/>
                  </a:lnTo>
                  <a:cubicBezTo>
                    <a:pt x="2821291" y="14929"/>
                    <a:pt x="2816785" y="16946"/>
                    <a:pt x="2811807" y="16946"/>
                  </a:cubicBezTo>
                  <a:cubicBezTo>
                    <a:pt x="2806830" y="16946"/>
                    <a:pt x="2802324" y="14929"/>
                    <a:pt x="2799062" y="11667"/>
                  </a:cubicBezTo>
                  <a:close/>
                  <a:moveTo>
                    <a:pt x="2675662" y="0"/>
                  </a:moveTo>
                  <a:lnTo>
                    <a:pt x="2707627" y="0"/>
                  </a:lnTo>
                  <a:lnTo>
                    <a:pt x="2709669" y="4930"/>
                  </a:lnTo>
                  <a:cubicBezTo>
                    <a:pt x="2709669" y="14884"/>
                    <a:pt x="2701599" y="22954"/>
                    <a:pt x="2691644" y="22954"/>
                  </a:cubicBezTo>
                  <a:cubicBezTo>
                    <a:pt x="2681690" y="22954"/>
                    <a:pt x="2673620" y="14884"/>
                    <a:pt x="2673620" y="4930"/>
                  </a:cubicBezTo>
                  <a:close/>
                  <a:moveTo>
                    <a:pt x="2543483" y="0"/>
                  </a:moveTo>
                  <a:lnTo>
                    <a:pt x="2575448" y="0"/>
                  </a:lnTo>
                  <a:lnTo>
                    <a:pt x="2577490" y="4930"/>
                  </a:lnTo>
                  <a:cubicBezTo>
                    <a:pt x="2577490" y="14884"/>
                    <a:pt x="2569420" y="22954"/>
                    <a:pt x="2559465" y="22954"/>
                  </a:cubicBezTo>
                  <a:cubicBezTo>
                    <a:pt x="2549510" y="22954"/>
                    <a:pt x="2541441" y="14884"/>
                    <a:pt x="2541441" y="4930"/>
                  </a:cubicBezTo>
                  <a:close/>
                  <a:moveTo>
                    <a:pt x="2047297" y="0"/>
                  </a:moveTo>
                  <a:lnTo>
                    <a:pt x="2074285" y="0"/>
                  </a:lnTo>
                  <a:lnTo>
                    <a:pt x="2078815" y="10937"/>
                  </a:lnTo>
                  <a:cubicBezTo>
                    <a:pt x="2078815" y="20892"/>
                    <a:pt x="2070745" y="28962"/>
                    <a:pt x="2060790" y="28962"/>
                  </a:cubicBezTo>
                  <a:cubicBezTo>
                    <a:pt x="2050836" y="28962"/>
                    <a:pt x="2042766" y="20892"/>
                    <a:pt x="2042766" y="10937"/>
                  </a:cubicBezTo>
                  <a:close/>
                  <a:moveTo>
                    <a:pt x="1932017" y="0"/>
                  </a:moveTo>
                  <a:lnTo>
                    <a:pt x="1937222" y="0"/>
                  </a:lnTo>
                  <a:lnTo>
                    <a:pt x="1947365" y="4201"/>
                  </a:lnTo>
                  <a:cubicBezTo>
                    <a:pt x="1950627" y="7463"/>
                    <a:pt x="1952644" y="11969"/>
                    <a:pt x="1952644" y="16946"/>
                  </a:cubicBezTo>
                  <a:cubicBezTo>
                    <a:pt x="1952644" y="26901"/>
                    <a:pt x="1944574" y="34971"/>
                    <a:pt x="1934619" y="34971"/>
                  </a:cubicBezTo>
                  <a:cubicBezTo>
                    <a:pt x="1924665" y="34971"/>
                    <a:pt x="1916595" y="26901"/>
                    <a:pt x="1916595" y="16946"/>
                  </a:cubicBezTo>
                  <a:cubicBezTo>
                    <a:pt x="1916595" y="11969"/>
                    <a:pt x="1918613" y="7463"/>
                    <a:pt x="1921875" y="4201"/>
                  </a:cubicBezTo>
                  <a:close/>
                  <a:moveTo>
                    <a:pt x="1694741" y="0"/>
                  </a:moveTo>
                  <a:lnTo>
                    <a:pt x="1729896" y="0"/>
                  </a:lnTo>
                  <a:lnTo>
                    <a:pt x="1725064" y="11667"/>
                  </a:lnTo>
                  <a:cubicBezTo>
                    <a:pt x="1721802" y="14929"/>
                    <a:pt x="1717296" y="16946"/>
                    <a:pt x="1712318" y="16946"/>
                  </a:cubicBezTo>
                  <a:cubicBezTo>
                    <a:pt x="1707341" y="16946"/>
                    <a:pt x="1702835" y="14929"/>
                    <a:pt x="1699574" y="11667"/>
                  </a:cubicBezTo>
                  <a:close/>
                  <a:moveTo>
                    <a:pt x="1586594" y="0"/>
                  </a:moveTo>
                  <a:lnTo>
                    <a:pt x="1621749" y="0"/>
                  </a:lnTo>
                  <a:lnTo>
                    <a:pt x="1616917" y="11667"/>
                  </a:lnTo>
                  <a:cubicBezTo>
                    <a:pt x="1613655" y="14929"/>
                    <a:pt x="1609149" y="16946"/>
                    <a:pt x="1604171" y="16946"/>
                  </a:cubicBezTo>
                  <a:cubicBezTo>
                    <a:pt x="1599194" y="16946"/>
                    <a:pt x="1594688" y="14929"/>
                    <a:pt x="1591427" y="11667"/>
                  </a:cubicBezTo>
                  <a:close/>
                  <a:moveTo>
                    <a:pt x="1328245" y="0"/>
                  </a:moveTo>
                  <a:lnTo>
                    <a:pt x="1363400" y="0"/>
                  </a:lnTo>
                  <a:lnTo>
                    <a:pt x="1358568" y="11667"/>
                  </a:lnTo>
                  <a:cubicBezTo>
                    <a:pt x="1355306" y="14929"/>
                    <a:pt x="1350800" y="16946"/>
                    <a:pt x="1345823" y="16946"/>
                  </a:cubicBezTo>
                  <a:cubicBezTo>
                    <a:pt x="1340846" y="16946"/>
                    <a:pt x="1336340" y="14929"/>
                    <a:pt x="1333078" y="11667"/>
                  </a:cubicBezTo>
                  <a:close/>
                  <a:moveTo>
                    <a:pt x="636977" y="0"/>
                  </a:moveTo>
                  <a:lnTo>
                    <a:pt x="660780" y="0"/>
                  </a:lnTo>
                  <a:lnTo>
                    <a:pt x="648878" y="493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3" name="Freeform: Shape 22">
              <a:extLst>
                <a:ext uri="{FF2B5EF4-FFF2-40B4-BE49-F238E27FC236}">
                  <a16:creationId xmlns:a16="http://schemas.microsoft.com/office/drawing/2014/main" id="{AADD9643-5489-42CB-9762-FBAC2AAE9FB9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2390523"/>
              <a:ext cx="611491" cy="1421482"/>
            </a:xfrm>
            <a:custGeom>
              <a:avLst/>
              <a:gdLst>
                <a:gd name="connsiteX0" fmla="*/ 0 w 611491"/>
                <a:gd name="connsiteY0" fmla="*/ 0 h 1429512"/>
                <a:gd name="connsiteX1" fmla="*/ 62526 w 611491"/>
                <a:gd name="connsiteY1" fmla="*/ 22473 h 1429512"/>
                <a:gd name="connsiteX2" fmla="*/ 241043 w 611491"/>
                <a:gd name="connsiteY2" fmla="*/ 176817 h 1429512"/>
                <a:gd name="connsiteX3" fmla="*/ 497720 w 611491"/>
                <a:gd name="connsiteY3" fmla="*/ 299929 h 1429512"/>
                <a:gd name="connsiteX4" fmla="*/ 610380 w 611491"/>
                <a:gd name="connsiteY4" fmla="*/ 577513 h 1429512"/>
                <a:gd name="connsiteX5" fmla="*/ 458232 w 611491"/>
                <a:gd name="connsiteY5" fmla="*/ 845805 h 1429512"/>
                <a:gd name="connsiteX6" fmla="*/ 455909 w 611491"/>
                <a:gd name="connsiteY6" fmla="*/ 848128 h 1429512"/>
                <a:gd name="connsiteX7" fmla="*/ 407128 w 611491"/>
                <a:gd name="connsiteY7" fmla="*/ 956142 h 1429512"/>
                <a:gd name="connsiteX8" fmla="*/ 396675 w 611491"/>
                <a:gd name="connsiteY8" fmla="*/ 993308 h 1429512"/>
                <a:gd name="connsiteX9" fmla="*/ 230590 w 611491"/>
                <a:gd name="connsiteY9" fmla="*/ 1283668 h 1429512"/>
                <a:gd name="connsiteX10" fmla="*/ 7730 w 611491"/>
                <a:gd name="connsiteY10" fmla="*/ 1427579 h 1429512"/>
                <a:gd name="connsiteX11" fmla="*/ 0 w 611491"/>
                <a:gd name="connsiteY11" fmla="*/ 1429512 h 14295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11491" h="1429512">
                  <a:moveTo>
                    <a:pt x="0" y="0"/>
                  </a:moveTo>
                  <a:lnTo>
                    <a:pt x="62526" y="22473"/>
                  </a:lnTo>
                  <a:cubicBezTo>
                    <a:pt x="133465" y="57262"/>
                    <a:pt x="193134" y="114099"/>
                    <a:pt x="241043" y="176817"/>
                  </a:cubicBezTo>
                  <a:cubicBezTo>
                    <a:pt x="333958" y="204691"/>
                    <a:pt x="425711" y="231405"/>
                    <a:pt x="497720" y="299929"/>
                  </a:cubicBezTo>
                  <a:cubicBezTo>
                    <a:pt x="569730" y="369616"/>
                    <a:pt x="619671" y="476468"/>
                    <a:pt x="610380" y="577513"/>
                  </a:cubicBezTo>
                  <a:cubicBezTo>
                    <a:pt x="601088" y="676235"/>
                    <a:pt x="515142" y="767989"/>
                    <a:pt x="458232" y="845805"/>
                  </a:cubicBezTo>
                  <a:cubicBezTo>
                    <a:pt x="457070" y="846967"/>
                    <a:pt x="457070" y="848128"/>
                    <a:pt x="455909" y="848128"/>
                  </a:cubicBezTo>
                  <a:cubicBezTo>
                    <a:pt x="432680" y="880648"/>
                    <a:pt x="416420" y="916653"/>
                    <a:pt x="407128" y="956142"/>
                  </a:cubicBezTo>
                  <a:cubicBezTo>
                    <a:pt x="403644" y="968918"/>
                    <a:pt x="401321" y="980532"/>
                    <a:pt x="396675" y="993308"/>
                  </a:cubicBezTo>
                  <a:cubicBezTo>
                    <a:pt x="362994" y="1101322"/>
                    <a:pt x="308406" y="1201205"/>
                    <a:pt x="230590" y="1283668"/>
                  </a:cubicBezTo>
                  <a:cubicBezTo>
                    <a:pt x="170921" y="1347256"/>
                    <a:pt x="92143" y="1398432"/>
                    <a:pt x="7730" y="1427579"/>
                  </a:cubicBezTo>
                  <a:lnTo>
                    <a:pt x="0" y="1429512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4" name="Freeform: Shape 23">
              <a:extLst>
                <a:ext uri="{FF2B5EF4-FFF2-40B4-BE49-F238E27FC236}">
                  <a16:creationId xmlns:a16="http://schemas.microsoft.com/office/drawing/2014/main" id="{09A2C16E-2745-4E3D-BECC-D66755221E3B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3792772" y="0"/>
              <a:ext cx="2423863" cy="1343767"/>
            </a:xfrm>
            <a:custGeom>
              <a:avLst/>
              <a:gdLst>
                <a:gd name="connsiteX0" fmla="*/ 37089 w 3015964"/>
                <a:gd name="connsiteY0" fmla="*/ 0 h 1681468"/>
                <a:gd name="connsiteX1" fmla="*/ 3014022 w 3015964"/>
                <a:gd name="connsiteY1" fmla="*/ 0 h 1681468"/>
                <a:gd name="connsiteX2" fmla="*/ 3015964 w 3015964"/>
                <a:gd name="connsiteY2" fmla="*/ 52718 h 1681468"/>
                <a:gd name="connsiteX3" fmla="*/ 2982682 w 3015964"/>
                <a:gd name="connsiteY3" fmla="*/ 249186 h 1681468"/>
                <a:gd name="connsiteX4" fmla="*/ 1789950 w 3015964"/>
                <a:gd name="connsiteY4" fmla="*/ 1181800 h 1681468"/>
                <a:gd name="connsiteX5" fmla="*/ 1536391 w 3015964"/>
                <a:gd name="connsiteY5" fmla="*/ 1275909 h 1681468"/>
                <a:gd name="connsiteX6" fmla="*/ 1257206 w 3015964"/>
                <a:gd name="connsiteY6" fmla="*/ 1431287 h 1681468"/>
                <a:gd name="connsiteX7" fmla="*/ 990871 w 3015964"/>
                <a:gd name="connsiteY7" fmla="*/ 1669291 h 1681468"/>
                <a:gd name="connsiteX8" fmla="*/ 584900 w 3015964"/>
                <a:gd name="connsiteY8" fmla="*/ 1589975 h 1681468"/>
                <a:gd name="connsiteX9" fmla="*/ 32440 w 3015964"/>
                <a:gd name="connsiteY9" fmla="*/ 985257 h 1681468"/>
                <a:gd name="connsiteX10" fmla="*/ 98094 w 3015964"/>
                <a:gd name="connsiteY10" fmla="*/ 314136 h 1681468"/>
                <a:gd name="connsiteX11" fmla="*/ 37491 w 3015964"/>
                <a:gd name="connsiteY11" fmla="*/ 8555 h 16814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015964" h="1681468">
                  <a:moveTo>
                    <a:pt x="37089" y="0"/>
                  </a:moveTo>
                  <a:lnTo>
                    <a:pt x="3014022" y="0"/>
                  </a:lnTo>
                  <a:lnTo>
                    <a:pt x="3015964" y="52718"/>
                  </a:lnTo>
                  <a:cubicBezTo>
                    <a:pt x="3014020" y="116767"/>
                    <a:pt x="3003328" y="182440"/>
                    <a:pt x="2982682" y="249186"/>
                  </a:cubicBezTo>
                  <a:cubicBezTo>
                    <a:pt x="2816250" y="780974"/>
                    <a:pt x="2269424" y="1021163"/>
                    <a:pt x="1789950" y="1181800"/>
                  </a:cubicBezTo>
                  <a:cubicBezTo>
                    <a:pt x="1704900" y="1210572"/>
                    <a:pt x="1618927" y="1242781"/>
                    <a:pt x="1536391" y="1275909"/>
                  </a:cubicBezTo>
                  <a:cubicBezTo>
                    <a:pt x="1442962" y="1315327"/>
                    <a:pt x="1325233" y="1362965"/>
                    <a:pt x="1257206" y="1431287"/>
                  </a:cubicBezTo>
                  <a:cubicBezTo>
                    <a:pt x="1165891" y="1524673"/>
                    <a:pt x="1138606" y="1633376"/>
                    <a:pt x="990871" y="1669291"/>
                  </a:cubicBezTo>
                  <a:cubicBezTo>
                    <a:pt x="855624" y="1706711"/>
                    <a:pt x="704676" y="1651532"/>
                    <a:pt x="584900" y="1589975"/>
                  </a:cubicBezTo>
                  <a:cubicBezTo>
                    <a:pt x="340993" y="1469377"/>
                    <a:pt x="110379" y="1251058"/>
                    <a:pt x="32440" y="985257"/>
                  </a:cubicBezTo>
                  <a:cubicBezTo>
                    <a:pt x="-35009" y="762780"/>
                    <a:pt x="10420" y="524511"/>
                    <a:pt x="98094" y="314136"/>
                  </a:cubicBezTo>
                  <a:cubicBezTo>
                    <a:pt x="73927" y="211903"/>
                    <a:pt x="49528" y="110530"/>
                    <a:pt x="37491" y="8555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5" name="Freeform: Shape 24">
              <a:extLst>
                <a:ext uri="{FF2B5EF4-FFF2-40B4-BE49-F238E27FC236}">
                  <a16:creationId xmlns:a16="http://schemas.microsoft.com/office/drawing/2014/main" id="{52E5A063-571D-4461-9869-B3E93F6E69DD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10946850" y="0"/>
              <a:ext cx="1242102" cy="2620884"/>
            </a:xfrm>
            <a:custGeom>
              <a:avLst/>
              <a:gdLst>
                <a:gd name="connsiteX0" fmla="*/ 48089 w 1242102"/>
                <a:gd name="connsiteY0" fmla="*/ 0 h 2635689"/>
                <a:gd name="connsiteX1" fmla="*/ 1242102 w 1242102"/>
                <a:gd name="connsiteY1" fmla="*/ 0 h 2635689"/>
                <a:gd name="connsiteX2" fmla="*/ 1242102 w 1242102"/>
                <a:gd name="connsiteY2" fmla="*/ 2546285 h 2635689"/>
                <a:gd name="connsiteX3" fmla="*/ 1169982 w 1242102"/>
                <a:gd name="connsiteY3" fmla="*/ 2578052 h 2635689"/>
                <a:gd name="connsiteX4" fmla="*/ 289259 w 1242102"/>
                <a:gd name="connsiteY4" fmla="*/ 2399682 h 2635689"/>
                <a:gd name="connsiteX5" fmla="*/ 77957 w 1242102"/>
                <a:gd name="connsiteY5" fmla="*/ 900439 h 2635689"/>
                <a:gd name="connsiteX6" fmla="*/ 123236 w 1242102"/>
                <a:gd name="connsiteY6" fmla="*/ 633796 h 2635689"/>
                <a:gd name="connsiteX7" fmla="*/ 128267 w 1242102"/>
                <a:gd name="connsiteY7" fmla="*/ 314326 h 2635689"/>
                <a:gd name="connsiteX8" fmla="*/ 44729 w 1242102"/>
                <a:gd name="connsiteY8" fmla="*/ 16426 h 26356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242102" h="2635689">
                  <a:moveTo>
                    <a:pt x="48089" y="0"/>
                  </a:moveTo>
                  <a:lnTo>
                    <a:pt x="1242102" y="0"/>
                  </a:lnTo>
                  <a:lnTo>
                    <a:pt x="1242102" y="2546285"/>
                  </a:lnTo>
                  <a:lnTo>
                    <a:pt x="1169982" y="2578052"/>
                  </a:lnTo>
                  <a:cubicBezTo>
                    <a:pt x="865271" y="2683266"/>
                    <a:pt x="526660" y="2655949"/>
                    <a:pt x="289259" y="2399682"/>
                  </a:cubicBezTo>
                  <a:cubicBezTo>
                    <a:pt x="-88067" y="1989654"/>
                    <a:pt x="-22664" y="1395994"/>
                    <a:pt x="77957" y="900439"/>
                  </a:cubicBezTo>
                  <a:cubicBezTo>
                    <a:pt x="95565" y="812397"/>
                    <a:pt x="110658" y="721838"/>
                    <a:pt x="123236" y="633796"/>
                  </a:cubicBezTo>
                  <a:cubicBezTo>
                    <a:pt x="135813" y="533175"/>
                    <a:pt x="153422" y="407400"/>
                    <a:pt x="128267" y="314326"/>
                  </a:cubicBezTo>
                  <a:cubicBezTo>
                    <a:pt x="97452" y="204273"/>
                    <a:pt x="31970" y="130812"/>
                    <a:pt x="44729" y="16426"/>
                  </a:cubicBez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366019AD-E33B-4DBF-BAD3-AE3611603168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>
              <p:extLst>
                <p:ext uri="{386F3935-93C4-4BCD-93E2-E3B085C9AB24}">
                  <p16:designElem xmlns:p16="http://schemas.microsoft.com/office/powerpoint/2015/main" val="1"/>
                </p:ext>
              </p:extLst>
            </p:nvPr>
          </p:nvSpPr>
          <p:spPr>
            <a:xfrm>
              <a:off x="0" y="0"/>
              <a:ext cx="1577788" cy="980141"/>
            </a:xfrm>
            <a:custGeom>
              <a:avLst/>
              <a:gdLst>
                <a:gd name="connsiteX0" fmla="*/ 117137 w 1471018"/>
                <a:gd name="connsiteY0" fmla="*/ 759920 h 795676"/>
                <a:gd name="connsiteX1" fmla="*/ 130429 w 1471018"/>
                <a:gd name="connsiteY1" fmla="*/ 768654 h 795676"/>
                <a:gd name="connsiteX2" fmla="*/ 124353 w 1471018"/>
                <a:gd name="connsiteY2" fmla="*/ 792959 h 795676"/>
                <a:gd name="connsiteX3" fmla="*/ 100048 w 1471018"/>
                <a:gd name="connsiteY3" fmla="*/ 786883 h 795676"/>
                <a:gd name="connsiteX4" fmla="*/ 106124 w 1471018"/>
                <a:gd name="connsiteY4" fmla="*/ 762578 h 795676"/>
                <a:gd name="connsiteX5" fmla="*/ 117137 w 1471018"/>
                <a:gd name="connsiteY5" fmla="*/ 759920 h 795676"/>
                <a:gd name="connsiteX6" fmla="*/ 220419 w 1471018"/>
                <a:gd name="connsiteY6" fmla="*/ 753844 h 795676"/>
                <a:gd name="connsiteX7" fmla="*/ 233710 w 1471018"/>
                <a:gd name="connsiteY7" fmla="*/ 762578 h 795676"/>
                <a:gd name="connsiteX8" fmla="*/ 227634 w 1471018"/>
                <a:gd name="connsiteY8" fmla="*/ 786883 h 795676"/>
                <a:gd name="connsiteX9" fmla="*/ 203329 w 1471018"/>
                <a:gd name="connsiteY9" fmla="*/ 780807 h 795676"/>
                <a:gd name="connsiteX10" fmla="*/ 209405 w 1471018"/>
                <a:gd name="connsiteY10" fmla="*/ 756502 h 795676"/>
                <a:gd name="connsiteX11" fmla="*/ 220419 w 1471018"/>
                <a:gd name="connsiteY11" fmla="*/ 753844 h 795676"/>
                <a:gd name="connsiteX12" fmla="*/ 25999 w 1471018"/>
                <a:gd name="connsiteY12" fmla="*/ 741691 h 795676"/>
                <a:gd name="connsiteX13" fmla="*/ 39290 w 1471018"/>
                <a:gd name="connsiteY13" fmla="*/ 750425 h 795676"/>
                <a:gd name="connsiteX14" fmla="*/ 33214 w 1471018"/>
                <a:gd name="connsiteY14" fmla="*/ 774730 h 795676"/>
                <a:gd name="connsiteX15" fmla="*/ 8909 w 1471018"/>
                <a:gd name="connsiteY15" fmla="*/ 768654 h 795676"/>
                <a:gd name="connsiteX16" fmla="*/ 14985 w 1471018"/>
                <a:gd name="connsiteY16" fmla="*/ 744349 h 795676"/>
                <a:gd name="connsiteX17" fmla="*/ 25999 w 1471018"/>
                <a:gd name="connsiteY17" fmla="*/ 741691 h 795676"/>
                <a:gd name="connsiteX18" fmla="*/ 329796 w 1471018"/>
                <a:gd name="connsiteY18" fmla="*/ 735615 h 795676"/>
                <a:gd name="connsiteX19" fmla="*/ 343088 w 1471018"/>
                <a:gd name="connsiteY19" fmla="*/ 744349 h 795676"/>
                <a:gd name="connsiteX20" fmla="*/ 337012 w 1471018"/>
                <a:gd name="connsiteY20" fmla="*/ 768654 h 795676"/>
                <a:gd name="connsiteX21" fmla="*/ 312707 w 1471018"/>
                <a:gd name="connsiteY21" fmla="*/ 762578 h 795676"/>
                <a:gd name="connsiteX22" fmla="*/ 318783 w 1471018"/>
                <a:gd name="connsiteY22" fmla="*/ 738273 h 795676"/>
                <a:gd name="connsiteX23" fmla="*/ 329796 w 1471018"/>
                <a:gd name="connsiteY23" fmla="*/ 735615 h 795676"/>
                <a:gd name="connsiteX24" fmla="*/ 442198 w 1471018"/>
                <a:gd name="connsiteY24" fmla="*/ 702197 h 795676"/>
                <a:gd name="connsiteX25" fmla="*/ 455488 w 1471018"/>
                <a:gd name="connsiteY25" fmla="*/ 710931 h 795676"/>
                <a:gd name="connsiteX26" fmla="*/ 449413 w 1471018"/>
                <a:gd name="connsiteY26" fmla="*/ 735236 h 795676"/>
                <a:gd name="connsiteX27" fmla="*/ 425110 w 1471018"/>
                <a:gd name="connsiteY27" fmla="*/ 729160 h 795676"/>
                <a:gd name="connsiteX28" fmla="*/ 431186 w 1471018"/>
                <a:gd name="connsiteY28" fmla="*/ 704855 h 795676"/>
                <a:gd name="connsiteX29" fmla="*/ 442198 w 1471018"/>
                <a:gd name="connsiteY29" fmla="*/ 702197 h 795676"/>
                <a:gd name="connsiteX30" fmla="*/ 542453 w 1471018"/>
                <a:gd name="connsiteY30" fmla="*/ 668778 h 795676"/>
                <a:gd name="connsiteX31" fmla="*/ 555745 w 1471018"/>
                <a:gd name="connsiteY31" fmla="*/ 677512 h 795676"/>
                <a:gd name="connsiteX32" fmla="*/ 549669 w 1471018"/>
                <a:gd name="connsiteY32" fmla="*/ 701817 h 795676"/>
                <a:gd name="connsiteX33" fmla="*/ 525364 w 1471018"/>
                <a:gd name="connsiteY33" fmla="*/ 695741 h 795676"/>
                <a:gd name="connsiteX34" fmla="*/ 531440 w 1471018"/>
                <a:gd name="connsiteY34" fmla="*/ 671436 h 795676"/>
                <a:gd name="connsiteX35" fmla="*/ 542453 w 1471018"/>
                <a:gd name="connsiteY35" fmla="*/ 668778 h 795676"/>
                <a:gd name="connsiteX36" fmla="*/ 132328 w 1471018"/>
                <a:gd name="connsiteY36" fmla="*/ 650549 h 795676"/>
                <a:gd name="connsiteX37" fmla="*/ 145620 w 1471018"/>
                <a:gd name="connsiteY37" fmla="*/ 659283 h 795676"/>
                <a:gd name="connsiteX38" fmla="*/ 139544 w 1471018"/>
                <a:gd name="connsiteY38" fmla="*/ 683588 h 795676"/>
                <a:gd name="connsiteX39" fmla="*/ 115239 w 1471018"/>
                <a:gd name="connsiteY39" fmla="*/ 677512 h 795676"/>
                <a:gd name="connsiteX40" fmla="*/ 121315 w 1471018"/>
                <a:gd name="connsiteY40" fmla="*/ 653207 h 795676"/>
                <a:gd name="connsiteX41" fmla="*/ 132328 w 1471018"/>
                <a:gd name="connsiteY41" fmla="*/ 650549 h 795676"/>
                <a:gd name="connsiteX42" fmla="*/ 642709 w 1471018"/>
                <a:gd name="connsiteY42" fmla="*/ 641435 h 795676"/>
                <a:gd name="connsiteX43" fmla="*/ 656001 w 1471018"/>
                <a:gd name="connsiteY43" fmla="*/ 650169 h 795676"/>
                <a:gd name="connsiteX44" fmla="*/ 649925 w 1471018"/>
                <a:gd name="connsiteY44" fmla="*/ 674474 h 795676"/>
                <a:gd name="connsiteX45" fmla="*/ 625620 w 1471018"/>
                <a:gd name="connsiteY45" fmla="*/ 668398 h 795676"/>
                <a:gd name="connsiteX46" fmla="*/ 631696 w 1471018"/>
                <a:gd name="connsiteY46" fmla="*/ 644093 h 795676"/>
                <a:gd name="connsiteX47" fmla="*/ 642709 w 1471018"/>
                <a:gd name="connsiteY47" fmla="*/ 641435 h 795676"/>
                <a:gd name="connsiteX48" fmla="*/ 235618 w 1471018"/>
                <a:gd name="connsiteY48" fmla="*/ 641435 h 795676"/>
                <a:gd name="connsiteX49" fmla="*/ 248910 w 1471018"/>
                <a:gd name="connsiteY49" fmla="*/ 650169 h 795676"/>
                <a:gd name="connsiteX50" fmla="*/ 242833 w 1471018"/>
                <a:gd name="connsiteY50" fmla="*/ 674474 h 795676"/>
                <a:gd name="connsiteX51" fmla="*/ 218529 w 1471018"/>
                <a:gd name="connsiteY51" fmla="*/ 668398 h 795676"/>
                <a:gd name="connsiteX52" fmla="*/ 224605 w 1471018"/>
                <a:gd name="connsiteY52" fmla="*/ 644093 h 795676"/>
                <a:gd name="connsiteX53" fmla="*/ 235618 w 1471018"/>
                <a:gd name="connsiteY53" fmla="*/ 641435 h 795676"/>
                <a:gd name="connsiteX54" fmla="*/ 338904 w 1471018"/>
                <a:gd name="connsiteY54" fmla="*/ 629283 h 795676"/>
                <a:gd name="connsiteX55" fmla="*/ 352196 w 1471018"/>
                <a:gd name="connsiteY55" fmla="*/ 638017 h 795676"/>
                <a:gd name="connsiteX56" fmla="*/ 346120 w 1471018"/>
                <a:gd name="connsiteY56" fmla="*/ 662322 h 795676"/>
                <a:gd name="connsiteX57" fmla="*/ 321815 w 1471018"/>
                <a:gd name="connsiteY57" fmla="*/ 656246 h 795676"/>
                <a:gd name="connsiteX58" fmla="*/ 327891 w 1471018"/>
                <a:gd name="connsiteY58" fmla="*/ 631941 h 795676"/>
                <a:gd name="connsiteX59" fmla="*/ 338904 w 1471018"/>
                <a:gd name="connsiteY59" fmla="*/ 629283 h 795676"/>
                <a:gd name="connsiteX60" fmla="*/ 32070 w 1471018"/>
                <a:gd name="connsiteY60" fmla="*/ 601940 h 795676"/>
                <a:gd name="connsiteX61" fmla="*/ 45361 w 1471018"/>
                <a:gd name="connsiteY61" fmla="*/ 610674 h 795676"/>
                <a:gd name="connsiteX62" fmla="*/ 39285 w 1471018"/>
                <a:gd name="connsiteY62" fmla="*/ 634979 h 795676"/>
                <a:gd name="connsiteX63" fmla="*/ 14981 w 1471018"/>
                <a:gd name="connsiteY63" fmla="*/ 628903 h 795676"/>
                <a:gd name="connsiteX64" fmla="*/ 21056 w 1471018"/>
                <a:gd name="connsiteY64" fmla="*/ 604598 h 795676"/>
                <a:gd name="connsiteX65" fmla="*/ 32070 w 1471018"/>
                <a:gd name="connsiteY65" fmla="*/ 601940 h 795676"/>
                <a:gd name="connsiteX66" fmla="*/ 752079 w 1471018"/>
                <a:gd name="connsiteY66" fmla="*/ 586750 h 795676"/>
                <a:gd name="connsiteX67" fmla="*/ 765371 w 1471018"/>
                <a:gd name="connsiteY67" fmla="*/ 595484 h 795676"/>
                <a:gd name="connsiteX68" fmla="*/ 759295 w 1471018"/>
                <a:gd name="connsiteY68" fmla="*/ 619789 h 795676"/>
                <a:gd name="connsiteX69" fmla="*/ 734990 w 1471018"/>
                <a:gd name="connsiteY69" fmla="*/ 613713 h 795676"/>
                <a:gd name="connsiteX70" fmla="*/ 741066 w 1471018"/>
                <a:gd name="connsiteY70" fmla="*/ 589408 h 795676"/>
                <a:gd name="connsiteX71" fmla="*/ 752079 w 1471018"/>
                <a:gd name="connsiteY71" fmla="*/ 586750 h 795676"/>
                <a:gd name="connsiteX72" fmla="*/ 436123 w 1471018"/>
                <a:gd name="connsiteY72" fmla="*/ 583712 h 795676"/>
                <a:gd name="connsiteX73" fmla="*/ 449413 w 1471018"/>
                <a:gd name="connsiteY73" fmla="*/ 592446 h 795676"/>
                <a:gd name="connsiteX74" fmla="*/ 443339 w 1471018"/>
                <a:gd name="connsiteY74" fmla="*/ 616751 h 795676"/>
                <a:gd name="connsiteX75" fmla="*/ 419039 w 1471018"/>
                <a:gd name="connsiteY75" fmla="*/ 610675 h 795676"/>
                <a:gd name="connsiteX76" fmla="*/ 425114 w 1471018"/>
                <a:gd name="connsiteY76" fmla="*/ 586370 h 795676"/>
                <a:gd name="connsiteX77" fmla="*/ 436123 w 1471018"/>
                <a:gd name="connsiteY77" fmla="*/ 583712 h 795676"/>
                <a:gd name="connsiteX78" fmla="*/ 548529 w 1471018"/>
                <a:gd name="connsiteY78" fmla="*/ 556370 h 795676"/>
                <a:gd name="connsiteX79" fmla="*/ 561821 w 1471018"/>
                <a:gd name="connsiteY79" fmla="*/ 565104 h 795676"/>
                <a:gd name="connsiteX80" fmla="*/ 555745 w 1471018"/>
                <a:gd name="connsiteY80" fmla="*/ 589409 h 795676"/>
                <a:gd name="connsiteX81" fmla="*/ 531440 w 1471018"/>
                <a:gd name="connsiteY81" fmla="*/ 583333 h 795676"/>
                <a:gd name="connsiteX82" fmla="*/ 537516 w 1471018"/>
                <a:gd name="connsiteY82" fmla="*/ 559028 h 795676"/>
                <a:gd name="connsiteX83" fmla="*/ 548529 w 1471018"/>
                <a:gd name="connsiteY83" fmla="*/ 556370 h 795676"/>
                <a:gd name="connsiteX84" fmla="*/ 852335 w 1471018"/>
                <a:gd name="connsiteY84" fmla="*/ 550293 h 795676"/>
                <a:gd name="connsiteX85" fmla="*/ 865627 w 1471018"/>
                <a:gd name="connsiteY85" fmla="*/ 559027 h 795676"/>
                <a:gd name="connsiteX86" fmla="*/ 859551 w 1471018"/>
                <a:gd name="connsiteY86" fmla="*/ 583332 h 795676"/>
                <a:gd name="connsiteX87" fmla="*/ 835246 w 1471018"/>
                <a:gd name="connsiteY87" fmla="*/ 577256 h 795676"/>
                <a:gd name="connsiteX88" fmla="*/ 841322 w 1471018"/>
                <a:gd name="connsiteY88" fmla="*/ 552951 h 795676"/>
                <a:gd name="connsiteX89" fmla="*/ 852335 w 1471018"/>
                <a:gd name="connsiteY89" fmla="*/ 550293 h 795676"/>
                <a:gd name="connsiteX90" fmla="*/ 667013 w 1471018"/>
                <a:gd name="connsiteY90" fmla="*/ 532065 h 795676"/>
                <a:gd name="connsiteX91" fmla="*/ 680305 w 1471018"/>
                <a:gd name="connsiteY91" fmla="*/ 540799 h 795676"/>
                <a:gd name="connsiteX92" fmla="*/ 674229 w 1471018"/>
                <a:gd name="connsiteY92" fmla="*/ 565104 h 795676"/>
                <a:gd name="connsiteX93" fmla="*/ 649924 w 1471018"/>
                <a:gd name="connsiteY93" fmla="*/ 559028 h 795676"/>
                <a:gd name="connsiteX94" fmla="*/ 656000 w 1471018"/>
                <a:gd name="connsiteY94" fmla="*/ 534723 h 795676"/>
                <a:gd name="connsiteX95" fmla="*/ 667013 w 1471018"/>
                <a:gd name="connsiteY95" fmla="*/ 532065 h 795676"/>
                <a:gd name="connsiteX96" fmla="*/ 126251 w 1471018"/>
                <a:gd name="connsiteY96" fmla="*/ 532065 h 795676"/>
                <a:gd name="connsiteX97" fmla="*/ 139543 w 1471018"/>
                <a:gd name="connsiteY97" fmla="*/ 540799 h 795676"/>
                <a:gd name="connsiteX98" fmla="*/ 133467 w 1471018"/>
                <a:gd name="connsiteY98" fmla="*/ 565104 h 795676"/>
                <a:gd name="connsiteX99" fmla="*/ 109162 w 1471018"/>
                <a:gd name="connsiteY99" fmla="*/ 559028 h 795676"/>
                <a:gd name="connsiteX100" fmla="*/ 115238 w 1471018"/>
                <a:gd name="connsiteY100" fmla="*/ 534723 h 795676"/>
                <a:gd name="connsiteX101" fmla="*/ 126251 w 1471018"/>
                <a:gd name="connsiteY101" fmla="*/ 532065 h 795676"/>
                <a:gd name="connsiteX102" fmla="*/ 226503 w 1471018"/>
                <a:gd name="connsiteY102" fmla="*/ 529027 h 795676"/>
                <a:gd name="connsiteX103" fmla="*/ 239794 w 1471018"/>
                <a:gd name="connsiteY103" fmla="*/ 537761 h 795676"/>
                <a:gd name="connsiteX104" fmla="*/ 233718 w 1471018"/>
                <a:gd name="connsiteY104" fmla="*/ 562066 h 795676"/>
                <a:gd name="connsiteX105" fmla="*/ 209414 w 1471018"/>
                <a:gd name="connsiteY105" fmla="*/ 555990 h 795676"/>
                <a:gd name="connsiteX106" fmla="*/ 215490 w 1471018"/>
                <a:gd name="connsiteY106" fmla="*/ 531685 h 795676"/>
                <a:gd name="connsiteX107" fmla="*/ 226503 w 1471018"/>
                <a:gd name="connsiteY107" fmla="*/ 529027 h 795676"/>
                <a:gd name="connsiteX108" fmla="*/ 332836 w 1471018"/>
                <a:gd name="connsiteY108" fmla="*/ 519913 h 795676"/>
                <a:gd name="connsiteX109" fmla="*/ 346128 w 1471018"/>
                <a:gd name="connsiteY109" fmla="*/ 528647 h 795676"/>
                <a:gd name="connsiteX110" fmla="*/ 340052 w 1471018"/>
                <a:gd name="connsiteY110" fmla="*/ 552952 h 795676"/>
                <a:gd name="connsiteX111" fmla="*/ 315748 w 1471018"/>
                <a:gd name="connsiteY111" fmla="*/ 546876 h 795676"/>
                <a:gd name="connsiteX112" fmla="*/ 321823 w 1471018"/>
                <a:gd name="connsiteY112" fmla="*/ 522571 h 795676"/>
                <a:gd name="connsiteX113" fmla="*/ 332836 w 1471018"/>
                <a:gd name="connsiteY113" fmla="*/ 519913 h 795676"/>
                <a:gd name="connsiteX114" fmla="*/ 7768 w 1471018"/>
                <a:gd name="connsiteY114" fmla="*/ 507761 h 795676"/>
                <a:gd name="connsiteX115" fmla="*/ 21060 w 1471018"/>
                <a:gd name="connsiteY115" fmla="*/ 516495 h 795676"/>
                <a:gd name="connsiteX116" fmla="*/ 14984 w 1471018"/>
                <a:gd name="connsiteY116" fmla="*/ 540800 h 795676"/>
                <a:gd name="connsiteX117" fmla="*/ 2831 w 1471018"/>
                <a:gd name="connsiteY117" fmla="*/ 543458 h 795676"/>
                <a:gd name="connsiteX118" fmla="*/ 0 w 1471018"/>
                <a:gd name="connsiteY118" fmla="*/ 541423 h 795676"/>
                <a:gd name="connsiteX119" fmla="*/ 0 w 1471018"/>
                <a:gd name="connsiteY119" fmla="*/ 509636 h 795676"/>
                <a:gd name="connsiteX120" fmla="*/ 946515 w 1471018"/>
                <a:gd name="connsiteY120" fmla="*/ 486494 h 795676"/>
                <a:gd name="connsiteX121" fmla="*/ 959807 w 1471018"/>
                <a:gd name="connsiteY121" fmla="*/ 495228 h 795676"/>
                <a:gd name="connsiteX122" fmla="*/ 953731 w 1471018"/>
                <a:gd name="connsiteY122" fmla="*/ 519533 h 795676"/>
                <a:gd name="connsiteX123" fmla="*/ 929426 w 1471018"/>
                <a:gd name="connsiteY123" fmla="*/ 513457 h 795676"/>
                <a:gd name="connsiteX124" fmla="*/ 935502 w 1471018"/>
                <a:gd name="connsiteY124" fmla="*/ 489152 h 795676"/>
                <a:gd name="connsiteX125" fmla="*/ 946515 w 1471018"/>
                <a:gd name="connsiteY125" fmla="*/ 486494 h 795676"/>
                <a:gd name="connsiteX126" fmla="*/ 457386 w 1471018"/>
                <a:gd name="connsiteY126" fmla="*/ 483456 h 795676"/>
                <a:gd name="connsiteX127" fmla="*/ 470679 w 1471018"/>
                <a:gd name="connsiteY127" fmla="*/ 492190 h 795676"/>
                <a:gd name="connsiteX128" fmla="*/ 464601 w 1471018"/>
                <a:gd name="connsiteY128" fmla="*/ 516495 h 795676"/>
                <a:gd name="connsiteX129" fmla="*/ 440300 w 1471018"/>
                <a:gd name="connsiteY129" fmla="*/ 510419 h 795676"/>
                <a:gd name="connsiteX130" fmla="*/ 446374 w 1471018"/>
                <a:gd name="connsiteY130" fmla="*/ 486114 h 795676"/>
                <a:gd name="connsiteX131" fmla="*/ 457386 w 1471018"/>
                <a:gd name="connsiteY131" fmla="*/ 483456 h 795676"/>
                <a:gd name="connsiteX132" fmla="*/ 821954 w 1471018"/>
                <a:gd name="connsiteY132" fmla="*/ 456114 h 795676"/>
                <a:gd name="connsiteX133" fmla="*/ 835246 w 1471018"/>
                <a:gd name="connsiteY133" fmla="*/ 464848 h 795676"/>
                <a:gd name="connsiteX134" fmla="*/ 829170 w 1471018"/>
                <a:gd name="connsiteY134" fmla="*/ 489153 h 795676"/>
                <a:gd name="connsiteX135" fmla="*/ 804865 w 1471018"/>
                <a:gd name="connsiteY135" fmla="*/ 483077 h 795676"/>
                <a:gd name="connsiteX136" fmla="*/ 810941 w 1471018"/>
                <a:gd name="connsiteY136" fmla="*/ 458772 h 795676"/>
                <a:gd name="connsiteX137" fmla="*/ 821954 w 1471018"/>
                <a:gd name="connsiteY137" fmla="*/ 456114 h 795676"/>
                <a:gd name="connsiteX138" fmla="*/ 584986 w 1471018"/>
                <a:gd name="connsiteY138" fmla="*/ 456114 h 795676"/>
                <a:gd name="connsiteX139" fmla="*/ 598278 w 1471018"/>
                <a:gd name="connsiteY139" fmla="*/ 464848 h 795676"/>
                <a:gd name="connsiteX140" fmla="*/ 592202 w 1471018"/>
                <a:gd name="connsiteY140" fmla="*/ 489153 h 795676"/>
                <a:gd name="connsiteX141" fmla="*/ 567897 w 1471018"/>
                <a:gd name="connsiteY141" fmla="*/ 483077 h 795676"/>
                <a:gd name="connsiteX142" fmla="*/ 573973 w 1471018"/>
                <a:gd name="connsiteY142" fmla="*/ 458772 h 795676"/>
                <a:gd name="connsiteX143" fmla="*/ 584986 w 1471018"/>
                <a:gd name="connsiteY143" fmla="*/ 456114 h 795676"/>
                <a:gd name="connsiteX144" fmla="*/ 718660 w 1471018"/>
                <a:gd name="connsiteY144" fmla="*/ 443961 h 795676"/>
                <a:gd name="connsiteX145" fmla="*/ 731952 w 1471018"/>
                <a:gd name="connsiteY145" fmla="*/ 452695 h 795676"/>
                <a:gd name="connsiteX146" fmla="*/ 725876 w 1471018"/>
                <a:gd name="connsiteY146" fmla="*/ 477000 h 795676"/>
                <a:gd name="connsiteX147" fmla="*/ 701571 w 1471018"/>
                <a:gd name="connsiteY147" fmla="*/ 470924 h 795676"/>
                <a:gd name="connsiteX148" fmla="*/ 707647 w 1471018"/>
                <a:gd name="connsiteY148" fmla="*/ 446619 h 795676"/>
                <a:gd name="connsiteX149" fmla="*/ 718660 w 1471018"/>
                <a:gd name="connsiteY149" fmla="*/ 443961 h 795676"/>
                <a:gd name="connsiteX150" fmla="*/ 1016390 w 1471018"/>
                <a:gd name="connsiteY150" fmla="*/ 425733 h 795676"/>
                <a:gd name="connsiteX151" fmla="*/ 1029681 w 1471018"/>
                <a:gd name="connsiteY151" fmla="*/ 434467 h 795676"/>
                <a:gd name="connsiteX152" fmla="*/ 1023605 w 1471018"/>
                <a:gd name="connsiteY152" fmla="*/ 458772 h 795676"/>
                <a:gd name="connsiteX153" fmla="*/ 999301 w 1471018"/>
                <a:gd name="connsiteY153" fmla="*/ 452696 h 795676"/>
                <a:gd name="connsiteX154" fmla="*/ 1005377 w 1471018"/>
                <a:gd name="connsiteY154" fmla="*/ 428391 h 795676"/>
                <a:gd name="connsiteX155" fmla="*/ 1016390 w 1471018"/>
                <a:gd name="connsiteY155" fmla="*/ 425733 h 795676"/>
                <a:gd name="connsiteX156" fmla="*/ 250806 w 1471018"/>
                <a:gd name="connsiteY156" fmla="*/ 416619 h 795676"/>
                <a:gd name="connsiteX157" fmla="*/ 264098 w 1471018"/>
                <a:gd name="connsiteY157" fmla="*/ 425353 h 795676"/>
                <a:gd name="connsiteX158" fmla="*/ 258022 w 1471018"/>
                <a:gd name="connsiteY158" fmla="*/ 449658 h 795676"/>
                <a:gd name="connsiteX159" fmla="*/ 233717 w 1471018"/>
                <a:gd name="connsiteY159" fmla="*/ 443582 h 795676"/>
                <a:gd name="connsiteX160" fmla="*/ 239793 w 1471018"/>
                <a:gd name="connsiteY160" fmla="*/ 419277 h 795676"/>
                <a:gd name="connsiteX161" fmla="*/ 250806 w 1471018"/>
                <a:gd name="connsiteY161" fmla="*/ 416619 h 795676"/>
                <a:gd name="connsiteX162" fmla="*/ 144467 w 1471018"/>
                <a:gd name="connsiteY162" fmla="*/ 416619 h 795676"/>
                <a:gd name="connsiteX163" fmla="*/ 157759 w 1471018"/>
                <a:gd name="connsiteY163" fmla="*/ 425353 h 795676"/>
                <a:gd name="connsiteX164" fmla="*/ 151683 w 1471018"/>
                <a:gd name="connsiteY164" fmla="*/ 449658 h 795676"/>
                <a:gd name="connsiteX165" fmla="*/ 127378 w 1471018"/>
                <a:gd name="connsiteY165" fmla="*/ 443582 h 795676"/>
                <a:gd name="connsiteX166" fmla="*/ 133454 w 1471018"/>
                <a:gd name="connsiteY166" fmla="*/ 419277 h 795676"/>
                <a:gd name="connsiteX167" fmla="*/ 144467 w 1471018"/>
                <a:gd name="connsiteY167" fmla="*/ 416619 h 795676"/>
                <a:gd name="connsiteX168" fmla="*/ 29033 w 1471018"/>
                <a:gd name="connsiteY168" fmla="*/ 416619 h 795676"/>
                <a:gd name="connsiteX169" fmla="*/ 42324 w 1471018"/>
                <a:gd name="connsiteY169" fmla="*/ 425353 h 795676"/>
                <a:gd name="connsiteX170" fmla="*/ 36248 w 1471018"/>
                <a:gd name="connsiteY170" fmla="*/ 449658 h 795676"/>
                <a:gd name="connsiteX171" fmla="*/ 11944 w 1471018"/>
                <a:gd name="connsiteY171" fmla="*/ 443582 h 795676"/>
                <a:gd name="connsiteX172" fmla="*/ 18020 w 1471018"/>
                <a:gd name="connsiteY172" fmla="*/ 419277 h 795676"/>
                <a:gd name="connsiteX173" fmla="*/ 29033 w 1471018"/>
                <a:gd name="connsiteY173" fmla="*/ 416619 h 795676"/>
                <a:gd name="connsiteX174" fmla="*/ 360172 w 1471018"/>
                <a:gd name="connsiteY174" fmla="*/ 410543 h 795676"/>
                <a:gd name="connsiteX175" fmla="*/ 373464 w 1471018"/>
                <a:gd name="connsiteY175" fmla="*/ 419277 h 795676"/>
                <a:gd name="connsiteX176" fmla="*/ 367388 w 1471018"/>
                <a:gd name="connsiteY176" fmla="*/ 443582 h 795676"/>
                <a:gd name="connsiteX177" fmla="*/ 343083 w 1471018"/>
                <a:gd name="connsiteY177" fmla="*/ 437506 h 795676"/>
                <a:gd name="connsiteX178" fmla="*/ 349159 w 1471018"/>
                <a:gd name="connsiteY178" fmla="*/ 413201 h 795676"/>
                <a:gd name="connsiteX179" fmla="*/ 360172 w 1471018"/>
                <a:gd name="connsiteY179" fmla="*/ 410543 h 795676"/>
                <a:gd name="connsiteX180" fmla="*/ 1110570 w 1471018"/>
                <a:gd name="connsiteY180" fmla="*/ 389276 h 795676"/>
                <a:gd name="connsiteX181" fmla="*/ 1123862 w 1471018"/>
                <a:gd name="connsiteY181" fmla="*/ 398010 h 795676"/>
                <a:gd name="connsiteX182" fmla="*/ 1117786 w 1471018"/>
                <a:gd name="connsiteY182" fmla="*/ 422315 h 795676"/>
                <a:gd name="connsiteX183" fmla="*/ 1093481 w 1471018"/>
                <a:gd name="connsiteY183" fmla="*/ 416239 h 795676"/>
                <a:gd name="connsiteX184" fmla="*/ 1099557 w 1471018"/>
                <a:gd name="connsiteY184" fmla="*/ 391934 h 795676"/>
                <a:gd name="connsiteX185" fmla="*/ 1110570 w 1471018"/>
                <a:gd name="connsiteY185" fmla="*/ 389276 h 795676"/>
                <a:gd name="connsiteX186" fmla="*/ 490806 w 1471018"/>
                <a:gd name="connsiteY186" fmla="*/ 383200 h 795676"/>
                <a:gd name="connsiteX187" fmla="*/ 504098 w 1471018"/>
                <a:gd name="connsiteY187" fmla="*/ 391934 h 795676"/>
                <a:gd name="connsiteX188" fmla="*/ 498022 w 1471018"/>
                <a:gd name="connsiteY188" fmla="*/ 416239 h 795676"/>
                <a:gd name="connsiteX189" fmla="*/ 473717 w 1471018"/>
                <a:gd name="connsiteY189" fmla="*/ 410163 h 795676"/>
                <a:gd name="connsiteX190" fmla="*/ 479793 w 1471018"/>
                <a:gd name="connsiteY190" fmla="*/ 385858 h 795676"/>
                <a:gd name="connsiteX191" fmla="*/ 490806 w 1471018"/>
                <a:gd name="connsiteY191" fmla="*/ 383200 h 795676"/>
                <a:gd name="connsiteX192" fmla="*/ 900944 w 1471018"/>
                <a:gd name="connsiteY192" fmla="*/ 380162 h 795676"/>
                <a:gd name="connsiteX193" fmla="*/ 914236 w 1471018"/>
                <a:gd name="connsiteY193" fmla="*/ 388896 h 795676"/>
                <a:gd name="connsiteX194" fmla="*/ 908160 w 1471018"/>
                <a:gd name="connsiteY194" fmla="*/ 413201 h 795676"/>
                <a:gd name="connsiteX195" fmla="*/ 883855 w 1471018"/>
                <a:gd name="connsiteY195" fmla="*/ 407125 h 795676"/>
                <a:gd name="connsiteX196" fmla="*/ 889931 w 1471018"/>
                <a:gd name="connsiteY196" fmla="*/ 382820 h 795676"/>
                <a:gd name="connsiteX197" fmla="*/ 900944 w 1471018"/>
                <a:gd name="connsiteY197" fmla="*/ 380162 h 795676"/>
                <a:gd name="connsiteX198" fmla="*/ 618404 w 1471018"/>
                <a:gd name="connsiteY198" fmla="*/ 361934 h 795676"/>
                <a:gd name="connsiteX199" fmla="*/ 631696 w 1471018"/>
                <a:gd name="connsiteY199" fmla="*/ 370668 h 795676"/>
                <a:gd name="connsiteX200" fmla="*/ 625620 w 1471018"/>
                <a:gd name="connsiteY200" fmla="*/ 394973 h 795676"/>
                <a:gd name="connsiteX201" fmla="*/ 601315 w 1471018"/>
                <a:gd name="connsiteY201" fmla="*/ 388897 h 795676"/>
                <a:gd name="connsiteX202" fmla="*/ 607391 w 1471018"/>
                <a:gd name="connsiteY202" fmla="*/ 364592 h 795676"/>
                <a:gd name="connsiteX203" fmla="*/ 618404 w 1471018"/>
                <a:gd name="connsiteY203" fmla="*/ 361934 h 795676"/>
                <a:gd name="connsiteX204" fmla="*/ 749041 w 1471018"/>
                <a:gd name="connsiteY204" fmla="*/ 355858 h 795676"/>
                <a:gd name="connsiteX205" fmla="*/ 762333 w 1471018"/>
                <a:gd name="connsiteY205" fmla="*/ 364592 h 795676"/>
                <a:gd name="connsiteX206" fmla="*/ 756257 w 1471018"/>
                <a:gd name="connsiteY206" fmla="*/ 388897 h 795676"/>
                <a:gd name="connsiteX207" fmla="*/ 731952 w 1471018"/>
                <a:gd name="connsiteY207" fmla="*/ 382821 h 795676"/>
                <a:gd name="connsiteX208" fmla="*/ 738028 w 1471018"/>
                <a:gd name="connsiteY208" fmla="*/ 358516 h 795676"/>
                <a:gd name="connsiteX209" fmla="*/ 749041 w 1471018"/>
                <a:gd name="connsiteY209" fmla="*/ 355858 h 795676"/>
                <a:gd name="connsiteX210" fmla="*/ 10801 w 1471018"/>
                <a:gd name="connsiteY210" fmla="*/ 334591 h 795676"/>
                <a:gd name="connsiteX211" fmla="*/ 24093 w 1471018"/>
                <a:gd name="connsiteY211" fmla="*/ 343325 h 795676"/>
                <a:gd name="connsiteX212" fmla="*/ 18017 w 1471018"/>
                <a:gd name="connsiteY212" fmla="*/ 367630 h 795676"/>
                <a:gd name="connsiteX213" fmla="*/ 5865 w 1471018"/>
                <a:gd name="connsiteY213" fmla="*/ 370288 h 795676"/>
                <a:gd name="connsiteX214" fmla="*/ 0 w 1471018"/>
                <a:gd name="connsiteY214" fmla="*/ 366073 h 795676"/>
                <a:gd name="connsiteX215" fmla="*/ 0 w 1471018"/>
                <a:gd name="connsiteY215" fmla="*/ 337198 h 795676"/>
                <a:gd name="connsiteX216" fmla="*/ 1213864 w 1471018"/>
                <a:gd name="connsiteY216" fmla="*/ 313325 h 795676"/>
                <a:gd name="connsiteX217" fmla="*/ 1227156 w 1471018"/>
                <a:gd name="connsiteY217" fmla="*/ 322059 h 795676"/>
                <a:gd name="connsiteX218" fmla="*/ 1221080 w 1471018"/>
                <a:gd name="connsiteY218" fmla="*/ 346364 h 795676"/>
                <a:gd name="connsiteX219" fmla="*/ 1196775 w 1471018"/>
                <a:gd name="connsiteY219" fmla="*/ 340288 h 795676"/>
                <a:gd name="connsiteX220" fmla="*/ 1202851 w 1471018"/>
                <a:gd name="connsiteY220" fmla="*/ 315983 h 795676"/>
                <a:gd name="connsiteX221" fmla="*/ 1213864 w 1471018"/>
                <a:gd name="connsiteY221" fmla="*/ 313325 h 795676"/>
                <a:gd name="connsiteX222" fmla="*/ 211313 w 1471018"/>
                <a:gd name="connsiteY222" fmla="*/ 313325 h 795676"/>
                <a:gd name="connsiteX223" fmla="*/ 224605 w 1471018"/>
                <a:gd name="connsiteY223" fmla="*/ 322059 h 795676"/>
                <a:gd name="connsiteX224" fmla="*/ 218529 w 1471018"/>
                <a:gd name="connsiteY224" fmla="*/ 346364 h 795676"/>
                <a:gd name="connsiteX225" fmla="*/ 194224 w 1471018"/>
                <a:gd name="connsiteY225" fmla="*/ 340288 h 795676"/>
                <a:gd name="connsiteX226" fmla="*/ 200300 w 1471018"/>
                <a:gd name="connsiteY226" fmla="*/ 315983 h 795676"/>
                <a:gd name="connsiteX227" fmla="*/ 211313 w 1471018"/>
                <a:gd name="connsiteY227" fmla="*/ 313325 h 795676"/>
                <a:gd name="connsiteX228" fmla="*/ 314600 w 1471018"/>
                <a:gd name="connsiteY228" fmla="*/ 301172 h 795676"/>
                <a:gd name="connsiteX229" fmla="*/ 327892 w 1471018"/>
                <a:gd name="connsiteY229" fmla="*/ 309906 h 795676"/>
                <a:gd name="connsiteX230" fmla="*/ 321816 w 1471018"/>
                <a:gd name="connsiteY230" fmla="*/ 334211 h 795676"/>
                <a:gd name="connsiteX231" fmla="*/ 297511 w 1471018"/>
                <a:gd name="connsiteY231" fmla="*/ 328135 h 795676"/>
                <a:gd name="connsiteX232" fmla="*/ 303587 w 1471018"/>
                <a:gd name="connsiteY232" fmla="*/ 303830 h 795676"/>
                <a:gd name="connsiteX233" fmla="*/ 314600 w 1471018"/>
                <a:gd name="connsiteY233" fmla="*/ 301172 h 795676"/>
                <a:gd name="connsiteX234" fmla="*/ 982972 w 1471018"/>
                <a:gd name="connsiteY234" fmla="*/ 298134 h 795676"/>
                <a:gd name="connsiteX235" fmla="*/ 996264 w 1471018"/>
                <a:gd name="connsiteY235" fmla="*/ 306868 h 795676"/>
                <a:gd name="connsiteX236" fmla="*/ 990188 w 1471018"/>
                <a:gd name="connsiteY236" fmla="*/ 331173 h 795676"/>
                <a:gd name="connsiteX237" fmla="*/ 965883 w 1471018"/>
                <a:gd name="connsiteY237" fmla="*/ 325097 h 795676"/>
                <a:gd name="connsiteX238" fmla="*/ 971959 w 1471018"/>
                <a:gd name="connsiteY238" fmla="*/ 300792 h 795676"/>
                <a:gd name="connsiteX239" fmla="*/ 982972 w 1471018"/>
                <a:gd name="connsiteY239" fmla="*/ 298134 h 795676"/>
                <a:gd name="connsiteX240" fmla="*/ 417898 w 1471018"/>
                <a:gd name="connsiteY240" fmla="*/ 298134 h 795676"/>
                <a:gd name="connsiteX241" fmla="*/ 431187 w 1471018"/>
                <a:gd name="connsiteY241" fmla="*/ 306868 h 795676"/>
                <a:gd name="connsiteX242" fmla="*/ 425112 w 1471018"/>
                <a:gd name="connsiteY242" fmla="*/ 331173 h 795676"/>
                <a:gd name="connsiteX243" fmla="*/ 400806 w 1471018"/>
                <a:gd name="connsiteY243" fmla="*/ 325097 h 795676"/>
                <a:gd name="connsiteX244" fmla="*/ 406884 w 1471018"/>
                <a:gd name="connsiteY244" fmla="*/ 300792 h 795676"/>
                <a:gd name="connsiteX245" fmla="*/ 417898 w 1471018"/>
                <a:gd name="connsiteY245" fmla="*/ 298134 h 795676"/>
                <a:gd name="connsiteX246" fmla="*/ 858411 w 1471018"/>
                <a:gd name="connsiteY246" fmla="*/ 295096 h 795676"/>
                <a:gd name="connsiteX247" fmla="*/ 871703 w 1471018"/>
                <a:gd name="connsiteY247" fmla="*/ 303830 h 795676"/>
                <a:gd name="connsiteX248" fmla="*/ 865627 w 1471018"/>
                <a:gd name="connsiteY248" fmla="*/ 328135 h 795676"/>
                <a:gd name="connsiteX249" fmla="*/ 841322 w 1471018"/>
                <a:gd name="connsiteY249" fmla="*/ 322059 h 795676"/>
                <a:gd name="connsiteX250" fmla="*/ 847398 w 1471018"/>
                <a:gd name="connsiteY250" fmla="*/ 297754 h 795676"/>
                <a:gd name="connsiteX251" fmla="*/ 858411 w 1471018"/>
                <a:gd name="connsiteY251" fmla="*/ 295096 h 795676"/>
                <a:gd name="connsiteX252" fmla="*/ 1095380 w 1471018"/>
                <a:gd name="connsiteY252" fmla="*/ 292058 h 795676"/>
                <a:gd name="connsiteX253" fmla="*/ 1108672 w 1471018"/>
                <a:gd name="connsiteY253" fmla="*/ 300792 h 795676"/>
                <a:gd name="connsiteX254" fmla="*/ 1102596 w 1471018"/>
                <a:gd name="connsiteY254" fmla="*/ 325097 h 795676"/>
                <a:gd name="connsiteX255" fmla="*/ 1078291 w 1471018"/>
                <a:gd name="connsiteY255" fmla="*/ 319021 h 795676"/>
                <a:gd name="connsiteX256" fmla="*/ 1084367 w 1471018"/>
                <a:gd name="connsiteY256" fmla="*/ 294716 h 795676"/>
                <a:gd name="connsiteX257" fmla="*/ 1095380 w 1471018"/>
                <a:gd name="connsiteY257" fmla="*/ 292058 h 795676"/>
                <a:gd name="connsiteX258" fmla="*/ 108024 w 1471018"/>
                <a:gd name="connsiteY258" fmla="*/ 289020 h 795676"/>
                <a:gd name="connsiteX259" fmla="*/ 121316 w 1471018"/>
                <a:gd name="connsiteY259" fmla="*/ 297754 h 795676"/>
                <a:gd name="connsiteX260" fmla="*/ 115240 w 1471018"/>
                <a:gd name="connsiteY260" fmla="*/ 322059 h 795676"/>
                <a:gd name="connsiteX261" fmla="*/ 90935 w 1471018"/>
                <a:gd name="connsiteY261" fmla="*/ 315983 h 795676"/>
                <a:gd name="connsiteX262" fmla="*/ 97011 w 1471018"/>
                <a:gd name="connsiteY262" fmla="*/ 291678 h 795676"/>
                <a:gd name="connsiteX263" fmla="*/ 108024 w 1471018"/>
                <a:gd name="connsiteY263" fmla="*/ 289020 h 795676"/>
                <a:gd name="connsiteX264" fmla="*/ 533338 w 1471018"/>
                <a:gd name="connsiteY264" fmla="*/ 270792 h 795676"/>
                <a:gd name="connsiteX265" fmla="*/ 546630 w 1471018"/>
                <a:gd name="connsiteY265" fmla="*/ 279526 h 795676"/>
                <a:gd name="connsiteX266" fmla="*/ 540554 w 1471018"/>
                <a:gd name="connsiteY266" fmla="*/ 303831 h 795676"/>
                <a:gd name="connsiteX267" fmla="*/ 516251 w 1471018"/>
                <a:gd name="connsiteY267" fmla="*/ 297755 h 795676"/>
                <a:gd name="connsiteX268" fmla="*/ 522328 w 1471018"/>
                <a:gd name="connsiteY268" fmla="*/ 273450 h 795676"/>
                <a:gd name="connsiteX269" fmla="*/ 533338 w 1471018"/>
                <a:gd name="connsiteY269" fmla="*/ 270792 h 795676"/>
                <a:gd name="connsiteX270" fmla="*/ 633594 w 1471018"/>
                <a:gd name="connsiteY270" fmla="*/ 261678 h 795676"/>
                <a:gd name="connsiteX271" fmla="*/ 646886 w 1471018"/>
                <a:gd name="connsiteY271" fmla="*/ 270412 h 795676"/>
                <a:gd name="connsiteX272" fmla="*/ 640810 w 1471018"/>
                <a:gd name="connsiteY272" fmla="*/ 294717 h 795676"/>
                <a:gd name="connsiteX273" fmla="*/ 616505 w 1471018"/>
                <a:gd name="connsiteY273" fmla="*/ 288641 h 795676"/>
                <a:gd name="connsiteX274" fmla="*/ 622581 w 1471018"/>
                <a:gd name="connsiteY274" fmla="*/ 264336 h 795676"/>
                <a:gd name="connsiteX275" fmla="*/ 633594 w 1471018"/>
                <a:gd name="connsiteY275" fmla="*/ 261678 h 795676"/>
                <a:gd name="connsiteX276" fmla="*/ 746003 w 1471018"/>
                <a:gd name="connsiteY276" fmla="*/ 258640 h 795676"/>
                <a:gd name="connsiteX277" fmla="*/ 759295 w 1471018"/>
                <a:gd name="connsiteY277" fmla="*/ 267374 h 795676"/>
                <a:gd name="connsiteX278" fmla="*/ 753219 w 1471018"/>
                <a:gd name="connsiteY278" fmla="*/ 291679 h 795676"/>
                <a:gd name="connsiteX279" fmla="*/ 728914 w 1471018"/>
                <a:gd name="connsiteY279" fmla="*/ 285603 h 795676"/>
                <a:gd name="connsiteX280" fmla="*/ 734990 w 1471018"/>
                <a:gd name="connsiteY280" fmla="*/ 261298 h 795676"/>
                <a:gd name="connsiteX281" fmla="*/ 746003 w 1471018"/>
                <a:gd name="connsiteY281" fmla="*/ 258640 h 795676"/>
                <a:gd name="connsiteX282" fmla="*/ 1301968 w 1471018"/>
                <a:gd name="connsiteY282" fmla="*/ 225221 h 795676"/>
                <a:gd name="connsiteX283" fmla="*/ 1315260 w 1471018"/>
                <a:gd name="connsiteY283" fmla="*/ 233955 h 795676"/>
                <a:gd name="connsiteX284" fmla="*/ 1309184 w 1471018"/>
                <a:gd name="connsiteY284" fmla="*/ 258260 h 795676"/>
                <a:gd name="connsiteX285" fmla="*/ 1284879 w 1471018"/>
                <a:gd name="connsiteY285" fmla="*/ 252184 h 795676"/>
                <a:gd name="connsiteX286" fmla="*/ 1290955 w 1471018"/>
                <a:gd name="connsiteY286" fmla="*/ 227879 h 795676"/>
                <a:gd name="connsiteX287" fmla="*/ 1301968 w 1471018"/>
                <a:gd name="connsiteY287" fmla="*/ 225221 h 795676"/>
                <a:gd name="connsiteX288" fmla="*/ 7756 w 1471018"/>
                <a:gd name="connsiteY288" fmla="*/ 225221 h 795676"/>
                <a:gd name="connsiteX289" fmla="*/ 21048 w 1471018"/>
                <a:gd name="connsiteY289" fmla="*/ 233955 h 795676"/>
                <a:gd name="connsiteX290" fmla="*/ 14972 w 1471018"/>
                <a:gd name="connsiteY290" fmla="*/ 258260 h 795676"/>
                <a:gd name="connsiteX291" fmla="*/ 2819 w 1471018"/>
                <a:gd name="connsiteY291" fmla="*/ 260918 h 795676"/>
                <a:gd name="connsiteX292" fmla="*/ 0 w 1471018"/>
                <a:gd name="connsiteY292" fmla="*/ 258892 h 795676"/>
                <a:gd name="connsiteX293" fmla="*/ 0 w 1471018"/>
                <a:gd name="connsiteY293" fmla="*/ 227093 h 795676"/>
                <a:gd name="connsiteX294" fmla="*/ 180938 w 1471018"/>
                <a:gd name="connsiteY294" fmla="*/ 210031 h 795676"/>
                <a:gd name="connsiteX295" fmla="*/ 194229 w 1471018"/>
                <a:gd name="connsiteY295" fmla="*/ 218765 h 795676"/>
                <a:gd name="connsiteX296" fmla="*/ 188153 w 1471018"/>
                <a:gd name="connsiteY296" fmla="*/ 243070 h 795676"/>
                <a:gd name="connsiteX297" fmla="*/ 163849 w 1471018"/>
                <a:gd name="connsiteY297" fmla="*/ 236994 h 795676"/>
                <a:gd name="connsiteX298" fmla="*/ 169925 w 1471018"/>
                <a:gd name="connsiteY298" fmla="*/ 212689 h 795676"/>
                <a:gd name="connsiteX299" fmla="*/ 180938 w 1471018"/>
                <a:gd name="connsiteY299" fmla="*/ 210031 h 795676"/>
                <a:gd name="connsiteX300" fmla="*/ 1183484 w 1471018"/>
                <a:gd name="connsiteY300" fmla="*/ 203954 h 795676"/>
                <a:gd name="connsiteX301" fmla="*/ 1196776 w 1471018"/>
                <a:gd name="connsiteY301" fmla="*/ 212688 h 795676"/>
                <a:gd name="connsiteX302" fmla="*/ 1190700 w 1471018"/>
                <a:gd name="connsiteY302" fmla="*/ 236993 h 795676"/>
                <a:gd name="connsiteX303" fmla="*/ 1166395 w 1471018"/>
                <a:gd name="connsiteY303" fmla="*/ 230917 h 795676"/>
                <a:gd name="connsiteX304" fmla="*/ 1172471 w 1471018"/>
                <a:gd name="connsiteY304" fmla="*/ 206612 h 795676"/>
                <a:gd name="connsiteX305" fmla="*/ 1183484 w 1471018"/>
                <a:gd name="connsiteY305" fmla="*/ 203954 h 795676"/>
                <a:gd name="connsiteX306" fmla="*/ 946515 w 1471018"/>
                <a:gd name="connsiteY306" fmla="*/ 197878 h 795676"/>
                <a:gd name="connsiteX307" fmla="*/ 959807 w 1471018"/>
                <a:gd name="connsiteY307" fmla="*/ 206612 h 795676"/>
                <a:gd name="connsiteX308" fmla="*/ 953731 w 1471018"/>
                <a:gd name="connsiteY308" fmla="*/ 230917 h 795676"/>
                <a:gd name="connsiteX309" fmla="*/ 929426 w 1471018"/>
                <a:gd name="connsiteY309" fmla="*/ 224841 h 795676"/>
                <a:gd name="connsiteX310" fmla="*/ 935502 w 1471018"/>
                <a:gd name="connsiteY310" fmla="*/ 200536 h 795676"/>
                <a:gd name="connsiteX311" fmla="*/ 946515 w 1471018"/>
                <a:gd name="connsiteY311" fmla="*/ 197878 h 795676"/>
                <a:gd name="connsiteX312" fmla="*/ 466501 w 1471018"/>
                <a:gd name="connsiteY312" fmla="*/ 197878 h 795676"/>
                <a:gd name="connsiteX313" fmla="*/ 479793 w 1471018"/>
                <a:gd name="connsiteY313" fmla="*/ 206612 h 795676"/>
                <a:gd name="connsiteX314" fmla="*/ 473717 w 1471018"/>
                <a:gd name="connsiteY314" fmla="*/ 230917 h 795676"/>
                <a:gd name="connsiteX315" fmla="*/ 449412 w 1471018"/>
                <a:gd name="connsiteY315" fmla="*/ 224841 h 795676"/>
                <a:gd name="connsiteX316" fmla="*/ 455486 w 1471018"/>
                <a:gd name="connsiteY316" fmla="*/ 200536 h 795676"/>
                <a:gd name="connsiteX317" fmla="*/ 466501 w 1471018"/>
                <a:gd name="connsiteY317" fmla="*/ 197878 h 795676"/>
                <a:gd name="connsiteX318" fmla="*/ 323717 w 1471018"/>
                <a:gd name="connsiteY318" fmla="*/ 197878 h 795676"/>
                <a:gd name="connsiteX319" fmla="*/ 337009 w 1471018"/>
                <a:gd name="connsiteY319" fmla="*/ 206612 h 795676"/>
                <a:gd name="connsiteX320" fmla="*/ 330933 w 1471018"/>
                <a:gd name="connsiteY320" fmla="*/ 230917 h 795676"/>
                <a:gd name="connsiteX321" fmla="*/ 306628 w 1471018"/>
                <a:gd name="connsiteY321" fmla="*/ 224841 h 795676"/>
                <a:gd name="connsiteX322" fmla="*/ 312704 w 1471018"/>
                <a:gd name="connsiteY322" fmla="*/ 200536 h 795676"/>
                <a:gd name="connsiteX323" fmla="*/ 323717 w 1471018"/>
                <a:gd name="connsiteY323" fmla="*/ 197878 h 795676"/>
                <a:gd name="connsiteX324" fmla="*/ 1074113 w 1471018"/>
                <a:gd name="connsiteY324" fmla="*/ 188764 h 795676"/>
                <a:gd name="connsiteX325" fmla="*/ 1087405 w 1471018"/>
                <a:gd name="connsiteY325" fmla="*/ 197498 h 795676"/>
                <a:gd name="connsiteX326" fmla="*/ 1081329 w 1471018"/>
                <a:gd name="connsiteY326" fmla="*/ 221803 h 795676"/>
                <a:gd name="connsiteX327" fmla="*/ 1057024 w 1471018"/>
                <a:gd name="connsiteY327" fmla="*/ 215727 h 795676"/>
                <a:gd name="connsiteX328" fmla="*/ 1063100 w 1471018"/>
                <a:gd name="connsiteY328" fmla="*/ 191422 h 795676"/>
                <a:gd name="connsiteX329" fmla="*/ 1074113 w 1471018"/>
                <a:gd name="connsiteY329" fmla="*/ 188764 h 795676"/>
                <a:gd name="connsiteX330" fmla="*/ 846259 w 1471018"/>
                <a:gd name="connsiteY330" fmla="*/ 188764 h 795676"/>
                <a:gd name="connsiteX331" fmla="*/ 859551 w 1471018"/>
                <a:gd name="connsiteY331" fmla="*/ 197498 h 795676"/>
                <a:gd name="connsiteX332" fmla="*/ 853475 w 1471018"/>
                <a:gd name="connsiteY332" fmla="*/ 221803 h 795676"/>
                <a:gd name="connsiteX333" fmla="*/ 829170 w 1471018"/>
                <a:gd name="connsiteY333" fmla="*/ 215727 h 795676"/>
                <a:gd name="connsiteX334" fmla="*/ 835246 w 1471018"/>
                <a:gd name="connsiteY334" fmla="*/ 191422 h 795676"/>
                <a:gd name="connsiteX335" fmla="*/ 846259 w 1471018"/>
                <a:gd name="connsiteY335" fmla="*/ 188764 h 795676"/>
                <a:gd name="connsiteX336" fmla="*/ 694356 w 1471018"/>
                <a:gd name="connsiteY336" fmla="*/ 164460 h 795676"/>
                <a:gd name="connsiteX337" fmla="*/ 707648 w 1471018"/>
                <a:gd name="connsiteY337" fmla="*/ 173194 h 795676"/>
                <a:gd name="connsiteX338" fmla="*/ 701572 w 1471018"/>
                <a:gd name="connsiteY338" fmla="*/ 197499 h 795676"/>
                <a:gd name="connsiteX339" fmla="*/ 677267 w 1471018"/>
                <a:gd name="connsiteY339" fmla="*/ 191423 h 795676"/>
                <a:gd name="connsiteX340" fmla="*/ 683343 w 1471018"/>
                <a:gd name="connsiteY340" fmla="*/ 167118 h 795676"/>
                <a:gd name="connsiteX341" fmla="*/ 694356 w 1471018"/>
                <a:gd name="connsiteY341" fmla="*/ 164460 h 795676"/>
                <a:gd name="connsiteX342" fmla="*/ 77635 w 1471018"/>
                <a:gd name="connsiteY342" fmla="*/ 152307 h 795676"/>
                <a:gd name="connsiteX343" fmla="*/ 90926 w 1471018"/>
                <a:gd name="connsiteY343" fmla="*/ 161041 h 795676"/>
                <a:gd name="connsiteX344" fmla="*/ 84851 w 1471018"/>
                <a:gd name="connsiteY344" fmla="*/ 185346 h 795676"/>
                <a:gd name="connsiteX345" fmla="*/ 60546 w 1471018"/>
                <a:gd name="connsiteY345" fmla="*/ 179270 h 795676"/>
                <a:gd name="connsiteX346" fmla="*/ 66622 w 1471018"/>
                <a:gd name="connsiteY346" fmla="*/ 154965 h 795676"/>
                <a:gd name="connsiteX347" fmla="*/ 77635 w 1471018"/>
                <a:gd name="connsiteY347" fmla="*/ 152307 h 795676"/>
                <a:gd name="connsiteX348" fmla="*/ 1377919 w 1471018"/>
                <a:gd name="connsiteY348" fmla="*/ 146231 h 795676"/>
                <a:gd name="connsiteX349" fmla="*/ 1391211 w 1471018"/>
                <a:gd name="connsiteY349" fmla="*/ 154965 h 795676"/>
                <a:gd name="connsiteX350" fmla="*/ 1385135 w 1471018"/>
                <a:gd name="connsiteY350" fmla="*/ 179270 h 795676"/>
                <a:gd name="connsiteX351" fmla="*/ 1360830 w 1471018"/>
                <a:gd name="connsiteY351" fmla="*/ 173194 h 795676"/>
                <a:gd name="connsiteX352" fmla="*/ 1366906 w 1471018"/>
                <a:gd name="connsiteY352" fmla="*/ 148889 h 795676"/>
                <a:gd name="connsiteX353" fmla="*/ 1377919 w 1471018"/>
                <a:gd name="connsiteY353" fmla="*/ 146231 h 795676"/>
                <a:gd name="connsiteX354" fmla="*/ 588024 w 1471018"/>
                <a:gd name="connsiteY354" fmla="*/ 143193 h 795676"/>
                <a:gd name="connsiteX355" fmla="*/ 601316 w 1471018"/>
                <a:gd name="connsiteY355" fmla="*/ 151927 h 795676"/>
                <a:gd name="connsiteX356" fmla="*/ 595240 w 1471018"/>
                <a:gd name="connsiteY356" fmla="*/ 176232 h 795676"/>
                <a:gd name="connsiteX357" fmla="*/ 570935 w 1471018"/>
                <a:gd name="connsiteY357" fmla="*/ 170156 h 795676"/>
                <a:gd name="connsiteX358" fmla="*/ 577011 w 1471018"/>
                <a:gd name="connsiteY358" fmla="*/ 145851 h 795676"/>
                <a:gd name="connsiteX359" fmla="*/ 588024 w 1471018"/>
                <a:gd name="connsiteY359" fmla="*/ 143193 h 795676"/>
                <a:gd name="connsiteX360" fmla="*/ 241687 w 1471018"/>
                <a:gd name="connsiteY360" fmla="*/ 128003 h 795676"/>
                <a:gd name="connsiteX361" fmla="*/ 254979 w 1471018"/>
                <a:gd name="connsiteY361" fmla="*/ 136737 h 795676"/>
                <a:gd name="connsiteX362" fmla="*/ 248903 w 1471018"/>
                <a:gd name="connsiteY362" fmla="*/ 161042 h 795676"/>
                <a:gd name="connsiteX363" fmla="*/ 224598 w 1471018"/>
                <a:gd name="connsiteY363" fmla="*/ 154966 h 795676"/>
                <a:gd name="connsiteX364" fmla="*/ 230674 w 1471018"/>
                <a:gd name="connsiteY364" fmla="*/ 130661 h 795676"/>
                <a:gd name="connsiteX365" fmla="*/ 241687 w 1471018"/>
                <a:gd name="connsiteY365" fmla="*/ 128003 h 795676"/>
                <a:gd name="connsiteX366" fmla="*/ 1259435 w 1471018"/>
                <a:gd name="connsiteY366" fmla="*/ 124965 h 795676"/>
                <a:gd name="connsiteX367" fmla="*/ 1272727 w 1471018"/>
                <a:gd name="connsiteY367" fmla="*/ 133699 h 795676"/>
                <a:gd name="connsiteX368" fmla="*/ 1266651 w 1471018"/>
                <a:gd name="connsiteY368" fmla="*/ 158004 h 795676"/>
                <a:gd name="connsiteX369" fmla="*/ 1242346 w 1471018"/>
                <a:gd name="connsiteY369" fmla="*/ 151928 h 795676"/>
                <a:gd name="connsiteX370" fmla="*/ 1248422 w 1471018"/>
                <a:gd name="connsiteY370" fmla="*/ 127623 h 795676"/>
                <a:gd name="connsiteX371" fmla="*/ 1259435 w 1471018"/>
                <a:gd name="connsiteY371" fmla="*/ 124965 h 795676"/>
                <a:gd name="connsiteX372" fmla="*/ 399672 w 1471018"/>
                <a:gd name="connsiteY372" fmla="*/ 118889 h 795676"/>
                <a:gd name="connsiteX373" fmla="*/ 412966 w 1471018"/>
                <a:gd name="connsiteY373" fmla="*/ 127623 h 795676"/>
                <a:gd name="connsiteX374" fmla="*/ 406890 w 1471018"/>
                <a:gd name="connsiteY374" fmla="*/ 151928 h 795676"/>
                <a:gd name="connsiteX375" fmla="*/ 382584 w 1471018"/>
                <a:gd name="connsiteY375" fmla="*/ 145852 h 795676"/>
                <a:gd name="connsiteX376" fmla="*/ 388658 w 1471018"/>
                <a:gd name="connsiteY376" fmla="*/ 121547 h 795676"/>
                <a:gd name="connsiteX377" fmla="*/ 399672 w 1471018"/>
                <a:gd name="connsiteY377" fmla="*/ 118889 h 795676"/>
                <a:gd name="connsiteX378" fmla="*/ 1004238 w 1471018"/>
                <a:gd name="connsiteY378" fmla="*/ 112813 h 795676"/>
                <a:gd name="connsiteX379" fmla="*/ 1017530 w 1471018"/>
                <a:gd name="connsiteY379" fmla="*/ 121547 h 795676"/>
                <a:gd name="connsiteX380" fmla="*/ 1011454 w 1471018"/>
                <a:gd name="connsiteY380" fmla="*/ 145852 h 795676"/>
                <a:gd name="connsiteX381" fmla="*/ 987149 w 1471018"/>
                <a:gd name="connsiteY381" fmla="*/ 139776 h 795676"/>
                <a:gd name="connsiteX382" fmla="*/ 993225 w 1471018"/>
                <a:gd name="connsiteY382" fmla="*/ 115471 h 795676"/>
                <a:gd name="connsiteX383" fmla="*/ 1004238 w 1471018"/>
                <a:gd name="connsiteY383" fmla="*/ 112813 h 795676"/>
                <a:gd name="connsiteX384" fmla="*/ 800688 w 1471018"/>
                <a:gd name="connsiteY384" fmla="*/ 97622 h 795676"/>
                <a:gd name="connsiteX385" fmla="*/ 813980 w 1471018"/>
                <a:gd name="connsiteY385" fmla="*/ 106356 h 795676"/>
                <a:gd name="connsiteX386" fmla="*/ 807904 w 1471018"/>
                <a:gd name="connsiteY386" fmla="*/ 130661 h 795676"/>
                <a:gd name="connsiteX387" fmla="*/ 783599 w 1471018"/>
                <a:gd name="connsiteY387" fmla="*/ 124585 h 795676"/>
                <a:gd name="connsiteX388" fmla="*/ 789675 w 1471018"/>
                <a:gd name="connsiteY388" fmla="*/ 100280 h 795676"/>
                <a:gd name="connsiteX389" fmla="*/ 800688 w 1471018"/>
                <a:gd name="connsiteY389" fmla="*/ 97622 h 795676"/>
                <a:gd name="connsiteX390" fmla="*/ 1128799 w 1471018"/>
                <a:gd name="connsiteY390" fmla="*/ 85470 h 795676"/>
                <a:gd name="connsiteX391" fmla="*/ 1142090 w 1471018"/>
                <a:gd name="connsiteY391" fmla="*/ 94204 h 795676"/>
                <a:gd name="connsiteX392" fmla="*/ 1136014 w 1471018"/>
                <a:gd name="connsiteY392" fmla="*/ 118509 h 795676"/>
                <a:gd name="connsiteX393" fmla="*/ 1111709 w 1471018"/>
                <a:gd name="connsiteY393" fmla="*/ 112433 h 795676"/>
                <a:gd name="connsiteX394" fmla="*/ 1117785 w 1471018"/>
                <a:gd name="connsiteY394" fmla="*/ 88128 h 795676"/>
                <a:gd name="connsiteX395" fmla="*/ 1128799 w 1471018"/>
                <a:gd name="connsiteY395" fmla="*/ 85470 h 795676"/>
                <a:gd name="connsiteX396" fmla="*/ 515112 w 1471018"/>
                <a:gd name="connsiteY396" fmla="*/ 85470 h 795676"/>
                <a:gd name="connsiteX397" fmla="*/ 528402 w 1471018"/>
                <a:gd name="connsiteY397" fmla="*/ 94204 h 795676"/>
                <a:gd name="connsiteX398" fmla="*/ 522328 w 1471018"/>
                <a:gd name="connsiteY398" fmla="*/ 118509 h 795676"/>
                <a:gd name="connsiteX399" fmla="*/ 498023 w 1471018"/>
                <a:gd name="connsiteY399" fmla="*/ 112433 h 795676"/>
                <a:gd name="connsiteX400" fmla="*/ 504099 w 1471018"/>
                <a:gd name="connsiteY400" fmla="*/ 88128 h 795676"/>
                <a:gd name="connsiteX401" fmla="*/ 515112 w 1471018"/>
                <a:gd name="connsiteY401" fmla="*/ 85470 h 795676"/>
                <a:gd name="connsiteX402" fmla="*/ 682203 w 1471018"/>
                <a:gd name="connsiteY402" fmla="*/ 73318 h 795676"/>
                <a:gd name="connsiteX403" fmla="*/ 695495 w 1471018"/>
                <a:gd name="connsiteY403" fmla="*/ 82052 h 795676"/>
                <a:gd name="connsiteX404" fmla="*/ 689419 w 1471018"/>
                <a:gd name="connsiteY404" fmla="*/ 106357 h 795676"/>
                <a:gd name="connsiteX405" fmla="*/ 665114 w 1471018"/>
                <a:gd name="connsiteY405" fmla="*/ 100281 h 795676"/>
                <a:gd name="connsiteX406" fmla="*/ 671190 w 1471018"/>
                <a:gd name="connsiteY406" fmla="*/ 75976 h 795676"/>
                <a:gd name="connsiteX407" fmla="*/ 682203 w 1471018"/>
                <a:gd name="connsiteY407" fmla="*/ 73318 h 795676"/>
                <a:gd name="connsiteX408" fmla="*/ 159669 w 1471018"/>
                <a:gd name="connsiteY408" fmla="*/ 67242 h 795676"/>
                <a:gd name="connsiteX409" fmla="*/ 172960 w 1471018"/>
                <a:gd name="connsiteY409" fmla="*/ 75976 h 795676"/>
                <a:gd name="connsiteX410" fmla="*/ 166884 w 1471018"/>
                <a:gd name="connsiteY410" fmla="*/ 100281 h 795676"/>
                <a:gd name="connsiteX411" fmla="*/ 142579 w 1471018"/>
                <a:gd name="connsiteY411" fmla="*/ 94205 h 795676"/>
                <a:gd name="connsiteX412" fmla="*/ 148655 w 1471018"/>
                <a:gd name="connsiteY412" fmla="*/ 69900 h 795676"/>
                <a:gd name="connsiteX413" fmla="*/ 159669 w 1471018"/>
                <a:gd name="connsiteY413" fmla="*/ 67242 h 795676"/>
                <a:gd name="connsiteX414" fmla="*/ 1453871 w 1471018"/>
                <a:gd name="connsiteY414" fmla="*/ 58127 h 795676"/>
                <a:gd name="connsiteX415" fmla="*/ 1467163 w 1471018"/>
                <a:gd name="connsiteY415" fmla="*/ 66861 h 795676"/>
                <a:gd name="connsiteX416" fmla="*/ 1461087 w 1471018"/>
                <a:gd name="connsiteY416" fmla="*/ 91166 h 795676"/>
                <a:gd name="connsiteX417" fmla="*/ 1436782 w 1471018"/>
                <a:gd name="connsiteY417" fmla="*/ 85090 h 795676"/>
                <a:gd name="connsiteX418" fmla="*/ 1442858 w 1471018"/>
                <a:gd name="connsiteY418" fmla="*/ 60785 h 795676"/>
                <a:gd name="connsiteX419" fmla="*/ 1453871 w 1471018"/>
                <a:gd name="connsiteY419" fmla="*/ 58127 h 795676"/>
                <a:gd name="connsiteX420" fmla="*/ 47254 w 1471018"/>
                <a:gd name="connsiteY420" fmla="*/ 58127 h 795676"/>
                <a:gd name="connsiteX421" fmla="*/ 60546 w 1471018"/>
                <a:gd name="connsiteY421" fmla="*/ 66861 h 795676"/>
                <a:gd name="connsiteX422" fmla="*/ 54470 w 1471018"/>
                <a:gd name="connsiteY422" fmla="*/ 91166 h 795676"/>
                <a:gd name="connsiteX423" fmla="*/ 30165 w 1471018"/>
                <a:gd name="connsiteY423" fmla="*/ 85090 h 795676"/>
                <a:gd name="connsiteX424" fmla="*/ 36241 w 1471018"/>
                <a:gd name="connsiteY424" fmla="*/ 60785 h 795676"/>
                <a:gd name="connsiteX425" fmla="*/ 47254 w 1471018"/>
                <a:gd name="connsiteY425" fmla="*/ 58127 h 795676"/>
                <a:gd name="connsiteX426" fmla="*/ 314611 w 1471018"/>
                <a:gd name="connsiteY426" fmla="*/ 55089 h 795676"/>
                <a:gd name="connsiteX427" fmla="*/ 327903 w 1471018"/>
                <a:gd name="connsiteY427" fmla="*/ 63823 h 795676"/>
                <a:gd name="connsiteX428" fmla="*/ 321827 w 1471018"/>
                <a:gd name="connsiteY428" fmla="*/ 88128 h 795676"/>
                <a:gd name="connsiteX429" fmla="*/ 297522 w 1471018"/>
                <a:gd name="connsiteY429" fmla="*/ 82052 h 795676"/>
                <a:gd name="connsiteX430" fmla="*/ 303598 w 1471018"/>
                <a:gd name="connsiteY430" fmla="*/ 57747 h 795676"/>
                <a:gd name="connsiteX431" fmla="*/ 314611 w 1471018"/>
                <a:gd name="connsiteY431" fmla="*/ 55089 h 795676"/>
                <a:gd name="connsiteX432" fmla="*/ 885754 w 1471018"/>
                <a:gd name="connsiteY432" fmla="*/ 52051 h 795676"/>
                <a:gd name="connsiteX433" fmla="*/ 899046 w 1471018"/>
                <a:gd name="connsiteY433" fmla="*/ 60785 h 795676"/>
                <a:gd name="connsiteX434" fmla="*/ 892970 w 1471018"/>
                <a:gd name="connsiteY434" fmla="*/ 85090 h 795676"/>
                <a:gd name="connsiteX435" fmla="*/ 868665 w 1471018"/>
                <a:gd name="connsiteY435" fmla="*/ 79014 h 795676"/>
                <a:gd name="connsiteX436" fmla="*/ 874741 w 1471018"/>
                <a:gd name="connsiteY436" fmla="*/ 54709 h 795676"/>
                <a:gd name="connsiteX437" fmla="*/ 885754 w 1471018"/>
                <a:gd name="connsiteY437" fmla="*/ 52051 h 795676"/>
                <a:gd name="connsiteX438" fmla="*/ 1341464 w 1471018"/>
                <a:gd name="connsiteY438" fmla="*/ 39899 h 795676"/>
                <a:gd name="connsiteX439" fmla="*/ 1354755 w 1471018"/>
                <a:gd name="connsiteY439" fmla="*/ 48633 h 795676"/>
                <a:gd name="connsiteX440" fmla="*/ 1348679 w 1471018"/>
                <a:gd name="connsiteY440" fmla="*/ 72938 h 795676"/>
                <a:gd name="connsiteX441" fmla="*/ 1324374 w 1471018"/>
                <a:gd name="connsiteY441" fmla="*/ 66862 h 795676"/>
                <a:gd name="connsiteX442" fmla="*/ 1330450 w 1471018"/>
                <a:gd name="connsiteY442" fmla="*/ 42557 h 795676"/>
                <a:gd name="connsiteX443" fmla="*/ 1341464 w 1471018"/>
                <a:gd name="connsiteY443" fmla="*/ 39899 h 795676"/>
                <a:gd name="connsiteX444" fmla="*/ 1204751 w 1471018"/>
                <a:gd name="connsiteY444" fmla="*/ 27747 h 795676"/>
                <a:gd name="connsiteX445" fmla="*/ 1218042 w 1471018"/>
                <a:gd name="connsiteY445" fmla="*/ 36481 h 795676"/>
                <a:gd name="connsiteX446" fmla="*/ 1211966 w 1471018"/>
                <a:gd name="connsiteY446" fmla="*/ 60786 h 795676"/>
                <a:gd name="connsiteX447" fmla="*/ 1187661 w 1471018"/>
                <a:gd name="connsiteY447" fmla="*/ 54710 h 795676"/>
                <a:gd name="connsiteX448" fmla="*/ 1193737 w 1471018"/>
                <a:gd name="connsiteY448" fmla="*/ 30405 h 795676"/>
                <a:gd name="connsiteX449" fmla="*/ 1204751 w 1471018"/>
                <a:gd name="connsiteY449" fmla="*/ 27747 h 795676"/>
                <a:gd name="connsiteX450" fmla="*/ 979933 w 1471018"/>
                <a:gd name="connsiteY450" fmla="*/ 21671 h 795676"/>
                <a:gd name="connsiteX451" fmla="*/ 993225 w 1471018"/>
                <a:gd name="connsiteY451" fmla="*/ 30405 h 795676"/>
                <a:gd name="connsiteX452" fmla="*/ 987149 w 1471018"/>
                <a:gd name="connsiteY452" fmla="*/ 54710 h 795676"/>
                <a:gd name="connsiteX453" fmla="*/ 962844 w 1471018"/>
                <a:gd name="connsiteY453" fmla="*/ 48634 h 795676"/>
                <a:gd name="connsiteX454" fmla="*/ 968920 w 1471018"/>
                <a:gd name="connsiteY454" fmla="*/ 24329 h 795676"/>
                <a:gd name="connsiteX455" fmla="*/ 979933 w 1471018"/>
                <a:gd name="connsiteY455" fmla="*/ 21671 h 795676"/>
                <a:gd name="connsiteX456" fmla="*/ 451312 w 1471018"/>
                <a:gd name="connsiteY456" fmla="*/ 8759 h 795676"/>
                <a:gd name="connsiteX457" fmla="*/ 464603 w 1471018"/>
                <a:gd name="connsiteY457" fmla="*/ 21291 h 795676"/>
                <a:gd name="connsiteX458" fmla="*/ 458526 w 1471018"/>
                <a:gd name="connsiteY458" fmla="*/ 45596 h 795676"/>
                <a:gd name="connsiteX459" fmla="*/ 434225 w 1471018"/>
                <a:gd name="connsiteY459" fmla="*/ 39520 h 795676"/>
                <a:gd name="connsiteX460" fmla="*/ 440301 w 1471018"/>
                <a:gd name="connsiteY460" fmla="*/ 12177 h 795676"/>
                <a:gd name="connsiteX461" fmla="*/ 451312 w 1471018"/>
                <a:gd name="connsiteY461" fmla="*/ 8759 h 795676"/>
                <a:gd name="connsiteX462" fmla="*/ 1049824 w 1471018"/>
                <a:gd name="connsiteY462" fmla="*/ 0 h 795676"/>
                <a:gd name="connsiteX463" fmla="*/ 1083563 w 1471018"/>
                <a:gd name="connsiteY463" fmla="*/ 0 h 795676"/>
                <a:gd name="connsiteX464" fmla="*/ 1083987 w 1471018"/>
                <a:gd name="connsiteY464" fmla="*/ 2304 h 795676"/>
                <a:gd name="connsiteX465" fmla="*/ 1075253 w 1471018"/>
                <a:gd name="connsiteY465" fmla="*/ 12178 h 795676"/>
                <a:gd name="connsiteX466" fmla="*/ 1050948 w 1471018"/>
                <a:gd name="connsiteY466" fmla="*/ 6102 h 795676"/>
                <a:gd name="connsiteX467" fmla="*/ 773962 w 1471018"/>
                <a:gd name="connsiteY467" fmla="*/ 0 h 795676"/>
                <a:gd name="connsiteX468" fmla="*/ 806875 w 1471018"/>
                <a:gd name="connsiteY468" fmla="*/ 0 h 795676"/>
                <a:gd name="connsiteX469" fmla="*/ 798790 w 1471018"/>
                <a:gd name="connsiteY469" fmla="*/ 9140 h 795676"/>
                <a:gd name="connsiteX470" fmla="*/ 774485 w 1471018"/>
                <a:gd name="connsiteY470" fmla="*/ 3064 h 795676"/>
                <a:gd name="connsiteX471" fmla="*/ 659033 w 1471018"/>
                <a:gd name="connsiteY471" fmla="*/ 0 h 795676"/>
                <a:gd name="connsiteX472" fmla="*/ 688741 w 1471018"/>
                <a:gd name="connsiteY472" fmla="*/ 0 h 795676"/>
                <a:gd name="connsiteX473" fmla="*/ 683343 w 1471018"/>
                <a:gd name="connsiteY473" fmla="*/ 6102 h 795676"/>
                <a:gd name="connsiteX474" fmla="*/ 659038 w 1471018"/>
                <a:gd name="connsiteY474" fmla="*/ 26 h 795676"/>
                <a:gd name="connsiteX475" fmla="*/ 558807 w 1471018"/>
                <a:gd name="connsiteY475" fmla="*/ 0 h 795676"/>
                <a:gd name="connsiteX476" fmla="*/ 589125 w 1471018"/>
                <a:gd name="connsiteY476" fmla="*/ 0 h 795676"/>
                <a:gd name="connsiteX477" fmla="*/ 589163 w 1471018"/>
                <a:gd name="connsiteY477" fmla="*/ 25 h 795676"/>
                <a:gd name="connsiteX478" fmla="*/ 583087 w 1471018"/>
                <a:gd name="connsiteY478" fmla="*/ 24330 h 795676"/>
                <a:gd name="connsiteX479" fmla="*/ 558782 w 1471018"/>
                <a:gd name="connsiteY479" fmla="*/ 18254 h 795676"/>
                <a:gd name="connsiteX480" fmla="*/ 556124 w 1471018"/>
                <a:gd name="connsiteY480" fmla="*/ 2683 h 795676"/>
                <a:gd name="connsiteX481" fmla="*/ 189731 w 1471018"/>
                <a:gd name="connsiteY481" fmla="*/ 0 h 795676"/>
                <a:gd name="connsiteX482" fmla="*/ 223240 w 1471018"/>
                <a:gd name="connsiteY482" fmla="*/ 0 h 795676"/>
                <a:gd name="connsiteX483" fmla="*/ 224224 w 1471018"/>
                <a:gd name="connsiteY483" fmla="*/ 5342 h 795676"/>
                <a:gd name="connsiteX484" fmla="*/ 215490 w 1471018"/>
                <a:gd name="connsiteY484" fmla="*/ 15216 h 795676"/>
                <a:gd name="connsiteX485" fmla="*/ 191185 w 1471018"/>
                <a:gd name="connsiteY485" fmla="*/ 9140 h 795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  <a:cxn ang="0">
                  <a:pos x="connsiteX418" y="connsiteY418"/>
                </a:cxn>
                <a:cxn ang="0">
                  <a:pos x="connsiteX419" y="connsiteY419"/>
                </a:cxn>
                <a:cxn ang="0">
                  <a:pos x="connsiteX420" y="connsiteY420"/>
                </a:cxn>
                <a:cxn ang="0">
                  <a:pos x="connsiteX421" y="connsiteY421"/>
                </a:cxn>
                <a:cxn ang="0">
                  <a:pos x="connsiteX422" y="connsiteY422"/>
                </a:cxn>
                <a:cxn ang="0">
                  <a:pos x="connsiteX423" y="connsiteY423"/>
                </a:cxn>
                <a:cxn ang="0">
                  <a:pos x="connsiteX424" y="connsiteY424"/>
                </a:cxn>
                <a:cxn ang="0">
                  <a:pos x="connsiteX425" y="connsiteY425"/>
                </a:cxn>
                <a:cxn ang="0">
                  <a:pos x="connsiteX426" y="connsiteY426"/>
                </a:cxn>
                <a:cxn ang="0">
                  <a:pos x="connsiteX427" y="connsiteY427"/>
                </a:cxn>
                <a:cxn ang="0">
                  <a:pos x="connsiteX428" y="connsiteY428"/>
                </a:cxn>
                <a:cxn ang="0">
                  <a:pos x="connsiteX429" y="connsiteY429"/>
                </a:cxn>
                <a:cxn ang="0">
                  <a:pos x="connsiteX430" y="connsiteY430"/>
                </a:cxn>
                <a:cxn ang="0">
                  <a:pos x="connsiteX431" y="connsiteY431"/>
                </a:cxn>
                <a:cxn ang="0">
                  <a:pos x="connsiteX432" y="connsiteY432"/>
                </a:cxn>
                <a:cxn ang="0">
                  <a:pos x="connsiteX433" y="connsiteY433"/>
                </a:cxn>
                <a:cxn ang="0">
                  <a:pos x="connsiteX434" y="connsiteY434"/>
                </a:cxn>
                <a:cxn ang="0">
                  <a:pos x="connsiteX435" y="connsiteY435"/>
                </a:cxn>
                <a:cxn ang="0">
                  <a:pos x="connsiteX436" y="connsiteY436"/>
                </a:cxn>
                <a:cxn ang="0">
                  <a:pos x="connsiteX437" y="connsiteY437"/>
                </a:cxn>
                <a:cxn ang="0">
                  <a:pos x="connsiteX438" y="connsiteY438"/>
                </a:cxn>
                <a:cxn ang="0">
                  <a:pos x="connsiteX439" y="connsiteY439"/>
                </a:cxn>
                <a:cxn ang="0">
                  <a:pos x="connsiteX440" y="connsiteY440"/>
                </a:cxn>
                <a:cxn ang="0">
                  <a:pos x="connsiteX441" y="connsiteY441"/>
                </a:cxn>
                <a:cxn ang="0">
                  <a:pos x="connsiteX442" y="connsiteY442"/>
                </a:cxn>
                <a:cxn ang="0">
                  <a:pos x="connsiteX443" y="connsiteY443"/>
                </a:cxn>
                <a:cxn ang="0">
                  <a:pos x="connsiteX444" y="connsiteY444"/>
                </a:cxn>
                <a:cxn ang="0">
                  <a:pos x="connsiteX445" y="connsiteY445"/>
                </a:cxn>
                <a:cxn ang="0">
                  <a:pos x="connsiteX446" y="connsiteY446"/>
                </a:cxn>
                <a:cxn ang="0">
                  <a:pos x="connsiteX447" y="connsiteY447"/>
                </a:cxn>
                <a:cxn ang="0">
                  <a:pos x="connsiteX448" y="connsiteY448"/>
                </a:cxn>
                <a:cxn ang="0">
                  <a:pos x="connsiteX449" y="connsiteY449"/>
                </a:cxn>
                <a:cxn ang="0">
                  <a:pos x="connsiteX450" y="connsiteY450"/>
                </a:cxn>
                <a:cxn ang="0">
                  <a:pos x="connsiteX451" y="connsiteY451"/>
                </a:cxn>
                <a:cxn ang="0">
                  <a:pos x="connsiteX452" y="connsiteY452"/>
                </a:cxn>
                <a:cxn ang="0">
                  <a:pos x="connsiteX453" y="connsiteY453"/>
                </a:cxn>
                <a:cxn ang="0">
                  <a:pos x="connsiteX454" y="connsiteY454"/>
                </a:cxn>
                <a:cxn ang="0">
                  <a:pos x="connsiteX455" y="connsiteY455"/>
                </a:cxn>
                <a:cxn ang="0">
                  <a:pos x="connsiteX456" y="connsiteY456"/>
                </a:cxn>
                <a:cxn ang="0">
                  <a:pos x="connsiteX457" y="connsiteY457"/>
                </a:cxn>
                <a:cxn ang="0">
                  <a:pos x="connsiteX458" y="connsiteY458"/>
                </a:cxn>
                <a:cxn ang="0">
                  <a:pos x="connsiteX459" y="connsiteY459"/>
                </a:cxn>
                <a:cxn ang="0">
                  <a:pos x="connsiteX460" y="connsiteY460"/>
                </a:cxn>
                <a:cxn ang="0">
                  <a:pos x="connsiteX461" y="connsiteY461"/>
                </a:cxn>
                <a:cxn ang="0">
                  <a:pos x="connsiteX462" y="connsiteY462"/>
                </a:cxn>
                <a:cxn ang="0">
                  <a:pos x="connsiteX463" y="connsiteY463"/>
                </a:cxn>
                <a:cxn ang="0">
                  <a:pos x="connsiteX464" y="connsiteY464"/>
                </a:cxn>
                <a:cxn ang="0">
                  <a:pos x="connsiteX465" y="connsiteY465"/>
                </a:cxn>
                <a:cxn ang="0">
                  <a:pos x="connsiteX466" y="connsiteY466"/>
                </a:cxn>
                <a:cxn ang="0">
                  <a:pos x="connsiteX467" y="connsiteY467"/>
                </a:cxn>
                <a:cxn ang="0">
                  <a:pos x="connsiteX468" y="connsiteY468"/>
                </a:cxn>
                <a:cxn ang="0">
                  <a:pos x="connsiteX469" y="connsiteY469"/>
                </a:cxn>
                <a:cxn ang="0">
                  <a:pos x="connsiteX470" y="connsiteY470"/>
                </a:cxn>
                <a:cxn ang="0">
                  <a:pos x="connsiteX471" y="connsiteY471"/>
                </a:cxn>
                <a:cxn ang="0">
                  <a:pos x="connsiteX472" y="connsiteY472"/>
                </a:cxn>
                <a:cxn ang="0">
                  <a:pos x="connsiteX473" y="connsiteY473"/>
                </a:cxn>
                <a:cxn ang="0">
                  <a:pos x="connsiteX474" y="connsiteY474"/>
                </a:cxn>
                <a:cxn ang="0">
                  <a:pos x="connsiteX475" y="connsiteY475"/>
                </a:cxn>
                <a:cxn ang="0">
                  <a:pos x="connsiteX476" y="connsiteY476"/>
                </a:cxn>
                <a:cxn ang="0">
                  <a:pos x="connsiteX477" y="connsiteY477"/>
                </a:cxn>
                <a:cxn ang="0">
                  <a:pos x="connsiteX478" y="connsiteY478"/>
                </a:cxn>
                <a:cxn ang="0">
                  <a:pos x="connsiteX479" y="connsiteY479"/>
                </a:cxn>
                <a:cxn ang="0">
                  <a:pos x="connsiteX480" y="connsiteY480"/>
                </a:cxn>
                <a:cxn ang="0">
                  <a:pos x="connsiteX481" y="connsiteY481"/>
                </a:cxn>
                <a:cxn ang="0">
                  <a:pos x="connsiteX482" y="connsiteY482"/>
                </a:cxn>
                <a:cxn ang="0">
                  <a:pos x="connsiteX483" y="connsiteY483"/>
                </a:cxn>
                <a:cxn ang="0">
                  <a:pos x="connsiteX484" y="connsiteY484"/>
                </a:cxn>
                <a:cxn ang="0">
                  <a:pos x="connsiteX485" y="connsiteY485"/>
                </a:cxn>
              </a:cxnLst>
              <a:rect l="l" t="t" r="r" b="b"/>
              <a:pathLst>
                <a:path w="1471018" h="795676">
                  <a:moveTo>
                    <a:pt x="117137" y="759920"/>
                  </a:moveTo>
                  <a:cubicBezTo>
                    <a:pt x="121315" y="761059"/>
                    <a:pt x="125872" y="764097"/>
                    <a:pt x="130429" y="768654"/>
                  </a:cubicBezTo>
                  <a:cubicBezTo>
                    <a:pt x="139543" y="777769"/>
                    <a:pt x="133467" y="786883"/>
                    <a:pt x="124353" y="792959"/>
                  </a:cubicBezTo>
                  <a:cubicBezTo>
                    <a:pt x="118277" y="795997"/>
                    <a:pt x="106124" y="799035"/>
                    <a:pt x="100048" y="786883"/>
                  </a:cubicBezTo>
                  <a:cubicBezTo>
                    <a:pt x="93972" y="771692"/>
                    <a:pt x="97010" y="765616"/>
                    <a:pt x="106124" y="762578"/>
                  </a:cubicBezTo>
                  <a:cubicBezTo>
                    <a:pt x="109162" y="759540"/>
                    <a:pt x="112960" y="758781"/>
                    <a:pt x="117137" y="759920"/>
                  </a:cubicBezTo>
                  <a:close/>
                  <a:moveTo>
                    <a:pt x="220419" y="753844"/>
                  </a:moveTo>
                  <a:cubicBezTo>
                    <a:pt x="224596" y="754983"/>
                    <a:pt x="229153" y="758021"/>
                    <a:pt x="233710" y="762578"/>
                  </a:cubicBezTo>
                  <a:cubicBezTo>
                    <a:pt x="242824" y="771692"/>
                    <a:pt x="236748" y="780807"/>
                    <a:pt x="227634" y="786883"/>
                  </a:cubicBezTo>
                  <a:cubicBezTo>
                    <a:pt x="221557" y="789921"/>
                    <a:pt x="209405" y="792959"/>
                    <a:pt x="203329" y="780807"/>
                  </a:cubicBezTo>
                  <a:cubicBezTo>
                    <a:pt x="197253" y="768654"/>
                    <a:pt x="197253" y="762578"/>
                    <a:pt x="209405" y="756502"/>
                  </a:cubicBezTo>
                  <a:cubicBezTo>
                    <a:pt x="212443" y="753464"/>
                    <a:pt x="216241" y="752705"/>
                    <a:pt x="220419" y="753844"/>
                  </a:cubicBezTo>
                  <a:close/>
                  <a:moveTo>
                    <a:pt x="25999" y="741691"/>
                  </a:moveTo>
                  <a:cubicBezTo>
                    <a:pt x="30176" y="742830"/>
                    <a:pt x="34733" y="745868"/>
                    <a:pt x="39290" y="750425"/>
                  </a:cubicBezTo>
                  <a:cubicBezTo>
                    <a:pt x="48404" y="759540"/>
                    <a:pt x="42328" y="768654"/>
                    <a:pt x="33214" y="774730"/>
                  </a:cubicBezTo>
                  <a:cubicBezTo>
                    <a:pt x="27138" y="777768"/>
                    <a:pt x="14985" y="780806"/>
                    <a:pt x="8909" y="768654"/>
                  </a:cubicBezTo>
                  <a:cubicBezTo>
                    <a:pt x="2834" y="756501"/>
                    <a:pt x="5872" y="750425"/>
                    <a:pt x="14985" y="744349"/>
                  </a:cubicBezTo>
                  <a:cubicBezTo>
                    <a:pt x="18023" y="741311"/>
                    <a:pt x="21821" y="740552"/>
                    <a:pt x="25999" y="741691"/>
                  </a:cubicBezTo>
                  <a:close/>
                  <a:moveTo>
                    <a:pt x="329796" y="735615"/>
                  </a:moveTo>
                  <a:cubicBezTo>
                    <a:pt x="333974" y="736754"/>
                    <a:pt x="338531" y="739792"/>
                    <a:pt x="343088" y="744349"/>
                  </a:cubicBezTo>
                  <a:cubicBezTo>
                    <a:pt x="352202" y="753463"/>
                    <a:pt x="346126" y="762578"/>
                    <a:pt x="337012" y="768654"/>
                  </a:cubicBezTo>
                  <a:cubicBezTo>
                    <a:pt x="330935" y="771692"/>
                    <a:pt x="318783" y="774730"/>
                    <a:pt x="312707" y="762578"/>
                  </a:cubicBezTo>
                  <a:cubicBezTo>
                    <a:pt x="306631" y="747387"/>
                    <a:pt x="306631" y="741311"/>
                    <a:pt x="318783" y="738273"/>
                  </a:cubicBezTo>
                  <a:cubicBezTo>
                    <a:pt x="321821" y="735235"/>
                    <a:pt x="325619" y="734476"/>
                    <a:pt x="329796" y="735615"/>
                  </a:cubicBezTo>
                  <a:close/>
                  <a:moveTo>
                    <a:pt x="442198" y="702197"/>
                  </a:moveTo>
                  <a:cubicBezTo>
                    <a:pt x="446375" y="703336"/>
                    <a:pt x="450932" y="706374"/>
                    <a:pt x="455488" y="710931"/>
                  </a:cubicBezTo>
                  <a:cubicBezTo>
                    <a:pt x="464602" y="720045"/>
                    <a:pt x="458526" y="729160"/>
                    <a:pt x="449413" y="735236"/>
                  </a:cubicBezTo>
                  <a:cubicBezTo>
                    <a:pt x="443338" y="738274"/>
                    <a:pt x="431186" y="741312"/>
                    <a:pt x="425110" y="729160"/>
                  </a:cubicBezTo>
                  <a:cubicBezTo>
                    <a:pt x="419035" y="717007"/>
                    <a:pt x="422073" y="710931"/>
                    <a:pt x="431186" y="704855"/>
                  </a:cubicBezTo>
                  <a:cubicBezTo>
                    <a:pt x="434224" y="701817"/>
                    <a:pt x="438021" y="701058"/>
                    <a:pt x="442198" y="702197"/>
                  </a:cubicBezTo>
                  <a:close/>
                  <a:moveTo>
                    <a:pt x="542453" y="668778"/>
                  </a:moveTo>
                  <a:cubicBezTo>
                    <a:pt x="546631" y="669917"/>
                    <a:pt x="551188" y="672955"/>
                    <a:pt x="555745" y="677512"/>
                  </a:cubicBezTo>
                  <a:cubicBezTo>
                    <a:pt x="564859" y="686627"/>
                    <a:pt x="558783" y="695741"/>
                    <a:pt x="549669" y="701817"/>
                  </a:cubicBezTo>
                  <a:cubicBezTo>
                    <a:pt x="543593" y="704855"/>
                    <a:pt x="531440" y="707893"/>
                    <a:pt x="525364" y="695741"/>
                  </a:cubicBezTo>
                  <a:cubicBezTo>
                    <a:pt x="519291" y="683589"/>
                    <a:pt x="522328" y="677512"/>
                    <a:pt x="531440" y="671436"/>
                  </a:cubicBezTo>
                  <a:cubicBezTo>
                    <a:pt x="534478" y="668398"/>
                    <a:pt x="538276" y="667639"/>
                    <a:pt x="542453" y="668778"/>
                  </a:cubicBezTo>
                  <a:close/>
                  <a:moveTo>
                    <a:pt x="132328" y="650549"/>
                  </a:moveTo>
                  <a:cubicBezTo>
                    <a:pt x="136506" y="651688"/>
                    <a:pt x="141063" y="654726"/>
                    <a:pt x="145620" y="659283"/>
                  </a:cubicBezTo>
                  <a:cubicBezTo>
                    <a:pt x="154734" y="668398"/>
                    <a:pt x="148658" y="677512"/>
                    <a:pt x="139544" y="683588"/>
                  </a:cubicBezTo>
                  <a:cubicBezTo>
                    <a:pt x="133468" y="686626"/>
                    <a:pt x="121315" y="689664"/>
                    <a:pt x="115239" y="677512"/>
                  </a:cubicBezTo>
                  <a:cubicBezTo>
                    <a:pt x="109163" y="662321"/>
                    <a:pt x="112201" y="656245"/>
                    <a:pt x="121315" y="653207"/>
                  </a:cubicBezTo>
                  <a:cubicBezTo>
                    <a:pt x="124353" y="650169"/>
                    <a:pt x="128151" y="649410"/>
                    <a:pt x="132328" y="650549"/>
                  </a:cubicBezTo>
                  <a:close/>
                  <a:moveTo>
                    <a:pt x="642709" y="641435"/>
                  </a:moveTo>
                  <a:cubicBezTo>
                    <a:pt x="646887" y="642574"/>
                    <a:pt x="651444" y="645612"/>
                    <a:pt x="656001" y="650169"/>
                  </a:cubicBezTo>
                  <a:cubicBezTo>
                    <a:pt x="665115" y="659283"/>
                    <a:pt x="659039" y="668398"/>
                    <a:pt x="649925" y="674474"/>
                  </a:cubicBezTo>
                  <a:cubicBezTo>
                    <a:pt x="643849" y="677512"/>
                    <a:pt x="631696" y="680550"/>
                    <a:pt x="625620" y="668398"/>
                  </a:cubicBezTo>
                  <a:cubicBezTo>
                    <a:pt x="619544" y="653207"/>
                    <a:pt x="622582" y="647131"/>
                    <a:pt x="631696" y="644093"/>
                  </a:cubicBezTo>
                  <a:cubicBezTo>
                    <a:pt x="634734" y="641055"/>
                    <a:pt x="638532" y="640296"/>
                    <a:pt x="642709" y="641435"/>
                  </a:cubicBezTo>
                  <a:close/>
                  <a:moveTo>
                    <a:pt x="235618" y="641435"/>
                  </a:moveTo>
                  <a:cubicBezTo>
                    <a:pt x="239795" y="642574"/>
                    <a:pt x="244352" y="645612"/>
                    <a:pt x="248910" y="650169"/>
                  </a:cubicBezTo>
                  <a:cubicBezTo>
                    <a:pt x="258024" y="659283"/>
                    <a:pt x="251948" y="668398"/>
                    <a:pt x="242833" y="674474"/>
                  </a:cubicBezTo>
                  <a:cubicBezTo>
                    <a:pt x="236757" y="677512"/>
                    <a:pt x="224605" y="680550"/>
                    <a:pt x="218529" y="668398"/>
                  </a:cubicBezTo>
                  <a:cubicBezTo>
                    <a:pt x="215491" y="656245"/>
                    <a:pt x="215491" y="647131"/>
                    <a:pt x="224605" y="644093"/>
                  </a:cubicBezTo>
                  <a:cubicBezTo>
                    <a:pt x="227643" y="641055"/>
                    <a:pt x="231440" y="640296"/>
                    <a:pt x="235618" y="641435"/>
                  </a:cubicBezTo>
                  <a:close/>
                  <a:moveTo>
                    <a:pt x="338904" y="629283"/>
                  </a:moveTo>
                  <a:cubicBezTo>
                    <a:pt x="343081" y="630422"/>
                    <a:pt x="347639" y="633460"/>
                    <a:pt x="352196" y="638017"/>
                  </a:cubicBezTo>
                  <a:cubicBezTo>
                    <a:pt x="361310" y="647131"/>
                    <a:pt x="355234" y="656246"/>
                    <a:pt x="346120" y="662322"/>
                  </a:cubicBezTo>
                  <a:cubicBezTo>
                    <a:pt x="340044" y="665360"/>
                    <a:pt x="327891" y="668398"/>
                    <a:pt x="321815" y="656246"/>
                  </a:cubicBezTo>
                  <a:cubicBezTo>
                    <a:pt x="315739" y="641055"/>
                    <a:pt x="318777" y="634979"/>
                    <a:pt x="327891" y="631941"/>
                  </a:cubicBezTo>
                  <a:cubicBezTo>
                    <a:pt x="330929" y="628903"/>
                    <a:pt x="334726" y="628144"/>
                    <a:pt x="338904" y="629283"/>
                  </a:cubicBezTo>
                  <a:close/>
                  <a:moveTo>
                    <a:pt x="32070" y="601940"/>
                  </a:moveTo>
                  <a:cubicBezTo>
                    <a:pt x="36247" y="603079"/>
                    <a:pt x="40804" y="606117"/>
                    <a:pt x="45361" y="610674"/>
                  </a:cubicBezTo>
                  <a:cubicBezTo>
                    <a:pt x="54475" y="619788"/>
                    <a:pt x="48399" y="628903"/>
                    <a:pt x="39285" y="634979"/>
                  </a:cubicBezTo>
                  <a:cubicBezTo>
                    <a:pt x="33209" y="638017"/>
                    <a:pt x="21056" y="641055"/>
                    <a:pt x="14981" y="628903"/>
                  </a:cubicBezTo>
                  <a:cubicBezTo>
                    <a:pt x="8905" y="616750"/>
                    <a:pt x="11943" y="607636"/>
                    <a:pt x="21056" y="604598"/>
                  </a:cubicBezTo>
                  <a:cubicBezTo>
                    <a:pt x="24094" y="601560"/>
                    <a:pt x="27892" y="600801"/>
                    <a:pt x="32070" y="601940"/>
                  </a:cubicBezTo>
                  <a:close/>
                  <a:moveTo>
                    <a:pt x="752079" y="586750"/>
                  </a:moveTo>
                  <a:cubicBezTo>
                    <a:pt x="756257" y="587889"/>
                    <a:pt x="760814" y="590927"/>
                    <a:pt x="765371" y="595484"/>
                  </a:cubicBezTo>
                  <a:cubicBezTo>
                    <a:pt x="774485" y="604598"/>
                    <a:pt x="768409" y="613713"/>
                    <a:pt x="759295" y="619789"/>
                  </a:cubicBezTo>
                  <a:cubicBezTo>
                    <a:pt x="753218" y="622827"/>
                    <a:pt x="741066" y="625865"/>
                    <a:pt x="734990" y="613713"/>
                  </a:cubicBezTo>
                  <a:cubicBezTo>
                    <a:pt x="728914" y="601560"/>
                    <a:pt x="731952" y="595484"/>
                    <a:pt x="741066" y="589408"/>
                  </a:cubicBezTo>
                  <a:cubicBezTo>
                    <a:pt x="744104" y="586370"/>
                    <a:pt x="747902" y="585611"/>
                    <a:pt x="752079" y="586750"/>
                  </a:cubicBezTo>
                  <a:close/>
                  <a:moveTo>
                    <a:pt x="436123" y="583712"/>
                  </a:moveTo>
                  <a:cubicBezTo>
                    <a:pt x="440300" y="584851"/>
                    <a:pt x="444857" y="587889"/>
                    <a:pt x="449413" y="592446"/>
                  </a:cubicBezTo>
                  <a:cubicBezTo>
                    <a:pt x="458525" y="601560"/>
                    <a:pt x="452450" y="610675"/>
                    <a:pt x="443339" y="616751"/>
                  </a:cubicBezTo>
                  <a:cubicBezTo>
                    <a:pt x="437263" y="619789"/>
                    <a:pt x="425114" y="622827"/>
                    <a:pt x="419039" y="610675"/>
                  </a:cubicBezTo>
                  <a:cubicBezTo>
                    <a:pt x="416003" y="598522"/>
                    <a:pt x="416003" y="592446"/>
                    <a:pt x="425114" y="586370"/>
                  </a:cubicBezTo>
                  <a:cubicBezTo>
                    <a:pt x="428151" y="583332"/>
                    <a:pt x="431946" y="582573"/>
                    <a:pt x="436123" y="583712"/>
                  </a:cubicBezTo>
                  <a:close/>
                  <a:moveTo>
                    <a:pt x="548529" y="556370"/>
                  </a:moveTo>
                  <a:cubicBezTo>
                    <a:pt x="552707" y="557509"/>
                    <a:pt x="557264" y="560547"/>
                    <a:pt x="561821" y="565104"/>
                  </a:cubicBezTo>
                  <a:cubicBezTo>
                    <a:pt x="570935" y="574218"/>
                    <a:pt x="564859" y="583333"/>
                    <a:pt x="555745" y="589409"/>
                  </a:cubicBezTo>
                  <a:cubicBezTo>
                    <a:pt x="549669" y="592447"/>
                    <a:pt x="537516" y="595485"/>
                    <a:pt x="531440" y="583333"/>
                  </a:cubicBezTo>
                  <a:cubicBezTo>
                    <a:pt x="525364" y="571180"/>
                    <a:pt x="528402" y="565104"/>
                    <a:pt x="537516" y="559028"/>
                  </a:cubicBezTo>
                  <a:cubicBezTo>
                    <a:pt x="540554" y="555990"/>
                    <a:pt x="544352" y="555231"/>
                    <a:pt x="548529" y="556370"/>
                  </a:cubicBezTo>
                  <a:close/>
                  <a:moveTo>
                    <a:pt x="852335" y="550293"/>
                  </a:moveTo>
                  <a:cubicBezTo>
                    <a:pt x="856513" y="551432"/>
                    <a:pt x="861070" y="554470"/>
                    <a:pt x="865627" y="559027"/>
                  </a:cubicBezTo>
                  <a:cubicBezTo>
                    <a:pt x="874741" y="568141"/>
                    <a:pt x="868665" y="577256"/>
                    <a:pt x="859551" y="583332"/>
                  </a:cubicBezTo>
                  <a:cubicBezTo>
                    <a:pt x="853475" y="586370"/>
                    <a:pt x="841322" y="589408"/>
                    <a:pt x="835246" y="577256"/>
                  </a:cubicBezTo>
                  <a:cubicBezTo>
                    <a:pt x="829170" y="565103"/>
                    <a:pt x="832208" y="559027"/>
                    <a:pt x="841322" y="552951"/>
                  </a:cubicBezTo>
                  <a:cubicBezTo>
                    <a:pt x="844360" y="549913"/>
                    <a:pt x="848158" y="549154"/>
                    <a:pt x="852335" y="550293"/>
                  </a:cubicBezTo>
                  <a:close/>
                  <a:moveTo>
                    <a:pt x="667013" y="532065"/>
                  </a:moveTo>
                  <a:cubicBezTo>
                    <a:pt x="671191" y="533204"/>
                    <a:pt x="675748" y="536242"/>
                    <a:pt x="680305" y="540799"/>
                  </a:cubicBezTo>
                  <a:cubicBezTo>
                    <a:pt x="689419" y="549914"/>
                    <a:pt x="683343" y="559028"/>
                    <a:pt x="674229" y="565104"/>
                  </a:cubicBezTo>
                  <a:cubicBezTo>
                    <a:pt x="668153" y="568142"/>
                    <a:pt x="656000" y="571180"/>
                    <a:pt x="649924" y="559028"/>
                  </a:cubicBezTo>
                  <a:cubicBezTo>
                    <a:pt x="643848" y="546876"/>
                    <a:pt x="646886" y="540799"/>
                    <a:pt x="656000" y="534723"/>
                  </a:cubicBezTo>
                  <a:cubicBezTo>
                    <a:pt x="659038" y="531685"/>
                    <a:pt x="662836" y="530926"/>
                    <a:pt x="667013" y="532065"/>
                  </a:cubicBezTo>
                  <a:close/>
                  <a:moveTo>
                    <a:pt x="126251" y="532065"/>
                  </a:moveTo>
                  <a:cubicBezTo>
                    <a:pt x="130428" y="533204"/>
                    <a:pt x="134985" y="536242"/>
                    <a:pt x="139543" y="540799"/>
                  </a:cubicBezTo>
                  <a:cubicBezTo>
                    <a:pt x="148657" y="549914"/>
                    <a:pt x="142581" y="559028"/>
                    <a:pt x="133467" y="565104"/>
                  </a:cubicBezTo>
                  <a:cubicBezTo>
                    <a:pt x="127390" y="568142"/>
                    <a:pt x="115238" y="571180"/>
                    <a:pt x="109162" y="559028"/>
                  </a:cubicBezTo>
                  <a:cubicBezTo>
                    <a:pt x="103086" y="546876"/>
                    <a:pt x="103086" y="540799"/>
                    <a:pt x="115238" y="534723"/>
                  </a:cubicBezTo>
                  <a:cubicBezTo>
                    <a:pt x="118276" y="531685"/>
                    <a:pt x="122073" y="530926"/>
                    <a:pt x="126251" y="532065"/>
                  </a:cubicBezTo>
                  <a:close/>
                  <a:moveTo>
                    <a:pt x="226503" y="529027"/>
                  </a:moveTo>
                  <a:cubicBezTo>
                    <a:pt x="230680" y="530166"/>
                    <a:pt x="235237" y="533204"/>
                    <a:pt x="239794" y="537761"/>
                  </a:cubicBezTo>
                  <a:cubicBezTo>
                    <a:pt x="248908" y="546876"/>
                    <a:pt x="242832" y="555990"/>
                    <a:pt x="233718" y="562066"/>
                  </a:cubicBezTo>
                  <a:cubicBezTo>
                    <a:pt x="227641" y="565104"/>
                    <a:pt x="215490" y="568142"/>
                    <a:pt x="209414" y="555990"/>
                  </a:cubicBezTo>
                  <a:cubicBezTo>
                    <a:pt x="203338" y="540799"/>
                    <a:pt x="203338" y="534723"/>
                    <a:pt x="215490" y="531685"/>
                  </a:cubicBezTo>
                  <a:cubicBezTo>
                    <a:pt x="218528" y="528647"/>
                    <a:pt x="222325" y="527888"/>
                    <a:pt x="226503" y="529027"/>
                  </a:cubicBezTo>
                  <a:close/>
                  <a:moveTo>
                    <a:pt x="332836" y="519913"/>
                  </a:moveTo>
                  <a:cubicBezTo>
                    <a:pt x="337014" y="521052"/>
                    <a:pt x="341571" y="524090"/>
                    <a:pt x="346128" y="528647"/>
                  </a:cubicBezTo>
                  <a:cubicBezTo>
                    <a:pt x="355242" y="537761"/>
                    <a:pt x="349166" y="546876"/>
                    <a:pt x="340052" y="552952"/>
                  </a:cubicBezTo>
                  <a:cubicBezTo>
                    <a:pt x="333976" y="555990"/>
                    <a:pt x="321823" y="559028"/>
                    <a:pt x="315748" y="546876"/>
                  </a:cubicBezTo>
                  <a:cubicBezTo>
                    <a:pt x="309671" y="531685"/>
                    <a:pt x="312709" y="525609"/>
                    <a:pt x="321823" y="522571"/>
                  </a:cubicBezTo>
                  <a:cubicBezTo>
                    <a:pt x="324861" y="519533"/>
                    <a:pt x="328659" y="518774"/>
                    <a:pt x="332836" y="519913"/>
                  </a:cubicBezTo>
                  <a:close/>
                  <a:moveTo>
                    <a:pt x="7768" y="507761"/>
                  </a:moveTo>
                  <a:cubicBezTo>
                    <a:pt x="11946" y="508900"/>
                    <a:pt x="16503" y="511938"/>
                    <a:pt x="21060" y="516495"/>
                  </a:cubicBezTo>
                  <a:cubicBezTo>
                    <a:pt x="30174" y="525609"/>
                    <a:pt x="24098" y="534724"/>
                    <a:pt x="14984" y="540800"/>
                  </a:cubicBezTo>
                  <a:cubicBezTo>
                    <a:pt x="11946" y="542319"/>
                    <a:pt x="7388" y="543838"/>
                    <a:pt x="2831" y="543458"/>
                  </a:cubicBezTo>
                  <a:lnTo>
                    <a:pt x="0" y="541423"/>
                  </a:lnTo>
                  <a:lnTo>
                    <a:pt x="0" y="509636"/>
                  </a:lnTo>
                  <a:close/>
                  <a:moveTo>
                    <a:pt x="946515" y="486494"/>
                  </a:moveTo>
                  <a:cubicBezTo>
                    <a:pt x="950693" y="487633"/>
                    <a:pt x="955250" y="490671"/>
                    <a:pt x="959807" y="495228"/>
                  </a:cubicBezTo>
                  <a:cubicBezTo>
                    <a:pt x="968921" y="504343"/>
                    <a:pt x="962845" y="513457"/>
                    <a:pt x="953731" y="519533"/>
                  </a:cubicBezTo>
                  <a:cubicBezTo>
                    <a:pt x="947655" y="522571"/>
                    <a:pt x="935502" y="525609"/>
                    <a:pt x="929426" y="513457"/>
                  </a:cubicBezTo>
                  <a:cubicBezTo>
                    <a:pt x="923350" y="501305"/>
                    <a:pt x="926388" y="492190"/>
                    <a:pt x="935502" y="489152"/>
                  </a:cubicBezTo>
                  <a:cubicBezTo>
                    <a:pt x="938540" y="486114"/>
                    <a:pt x="942338" y="485355"/>
                    <a:pt x="946515" y="486494"/>
                  </a:cubicBezTo>
                  <a:close/>
                  <a:moveTo>
                    <a:pt x="457386" y="483456"/>
                  </a:moveTo>
                  <a:cubicBezTo>
                    <a:pt x="461563" y="484595"/>
                    <a:pt x="466121" y="487633"/>
                    <a:pt x="470679" y="492190"/>
                  </a:cubicBezTo>
                  <a:cubicBezTo>
                    <a:pt x="479793" y="501305"/>
                    <a:pt x="473717" y="510419"/>
                    <a:pt x="464601" y="516495"/>
                  </a:cubicBezTo>
                  <a:cubicBezTo>
                    <a:pt x="458525" y="519533"/>
                    <a:pt x="446374" y="522571"/>
                    <a:pt x="440300" y="510419"/>
                  </a:cubicBezTo>
                  <a:cubicBezTo>
                    <a:pt x="437261" y="495228"/>
                    <a:pt x="437261" y="489152"/>
                    <a:pt x="446374" y="486114"/>
                  </a:cubicBezTo>
                  <a:cubicBezTo>
                    <a:pt x="449412" y="483076"/>
                    <a:pt x="453209" y="482317"/>
                    <a:pt x="457386" y="483456"/>
                  </a:cubicBezTo>
                  <a:close/>
                  <a:moveTo>
                    <a:pt x="821954" y="456114"/>
                  </a:moveTo>
                  <a:cubicBezTo>
                    <a:pt x="826132" y="457253"/>
                    <a:pt x="830689" y="460291"/>
                    <a:pt x="835246" y="464848"/>
                  </a:cubicBezTo>
                  <a:cubicBezTo>
                    <a:pt x="844360" y="473963"/>
                    <a:pt x="838284" y="483077"/>
                    <a:pt x="829170" y="489153"/>
                  </a:cubicBezTo>
                  <a:cubicBezTo>
                    <a:pt x="823094" y="492191"/>
                    <a:pt x="810941" y="495229"/>
                    <a:pt x="804865" y="483077"/>
                  </a:cubicBezTo>
                  <a:cubicBezTo>
                    <a:pt x="798789" y="470925"/>
                    <a:pt x="801827" y="464848"/>
                    <a:pt x="810941" y="458772"/>
                  </a:cubicBezTo>
                  <a:cubicBezTo>
                    <a:pt x="813979" y="455734"/>
                    <a:pt x="817777" y="454975"/>
                    <a:pt x="821954" y="456114"/>
                  </a:cubicBezTo>
                  <a:close/>
                  <a:moveTo>
                    <a:pt x="584986" y="456114"/>
                  </a:moveTo>
                  <a:cubicBezTo>
                    <a:pt x="589164" y="457253"/>
                    <a:pt x="593721" y="460291"/>
                    <a:pt x="598278" y="464848"/>
                  </a:cubicBezTo>
                  <a:cubicBezTo>
                    <a:pt x="607392" y="473963"/>
                    <a:pt x="601316" y="483077"/>
                    <a:pt x="592202" y="489153"/>
                  </a:cubicBezTo>
                  <a:cubicBezTo>
                    <a:pt x="586125" y="492191"/>
                    <a:pt x="573973" y="495229"/>
                    <a:pt x="567897" y="483077"/>
                  </a:cubicBezTo>
                  <a:cubicBezTo>
                    <a:pt x="561821" y="467886"/>
                    <a:pt x="564859" y="461810"/>
                    <a:pt x="573973" y="458772"/>
                  </a:cubicBezTo>
                  <a:cubicBezTo>
                    <a:pt x="577011" y="455734"/>
                    <a:pt x="580809" y="454975"/>
                    <a:pt x="584986" y="456114"/>
                  </a:cubicBezTo>
                  <a:close/>
                  <a:moveTo>
                    <a:pt x="718660" y="443961"/>
                  </a:moveTo>
                  <a:cubicBezTo>
                    <a:pt x="722838" y="445100"/>
                    <a:pt x="727395" y="448138"/>
                    <a:pt x="731952" y="452695"/>
                  </a:cubicBezTo>
                  <a:cubicBezTo>
                    <a:pt x="741066" y="461809"/>
                    <a:pt x="734990" y="470924"/>
                    <a:pt x="725876" y="477000"/>
                  </a:cubicBezTo>
                  <a:cubicBezTo>
                    <a:pt x="719800" y="480038"/>
                    <a:pt x="707647" y="483076"/>
                    <a:pt x="701571" y="470924"/>
                  </a:cubicBezTo>
                  <a:cubicBezTo>
                    <a:pt x="695495" y="458771"/>
                    <a:pt x="698533" y="449657"/>
                    <a:pt x="707647" y="446619"/>
                  </a:cubicBezTo>
                  <a:cubicBezTo>
                    <a:pt x="710685" y="443581"/>
                    <a:pt x="714483" y="442822"/>
                    <a:pt x="718660" y="443961"/>
                  </a:cubicBezTo>
                  <a:close/>
                  <a:moveTo>
                    <a:pt x="1016390" y="425733"/>
                  </a:moveTo>
                  <a:cubicBezTo>
                    <a:pt x="1020567" y="426872"/>
                    <a:pt x="1025124" y="429910"/>
                    <a:pt x="1029681" y="434467"/>
                  </a:cubicBezTo>
                  <a:cubicBezTo>
                    <a:pt x="1038796" y="443582"/>
                    <a:pt x="1032720" y="452696"/>
                    <a:pt x="1023605" y="458772"/>
                  </a:cubicBezTo>
                  <a:cubicBezTo>
                    <a:pt x="1017529" y="461810"/>
                    <a:pt x="1005377" y="464848"/>
                    <a:pt x="999301" y="452696"/>
                  </a:cubicBezTo>
                  <a:cubicBezTo>
                    <a:pt x="993225" y="437505"/>
                    <a:pt x="999301" y="434467"/>
                    <a:pt x="1005377" y="428391"/>
                  </a:cubicBezTo>
                  <a:cubicBezTo>
                    <a:pt x="1008415" y="425353"/>
                    <a:pt x="1012213" y="424594"/>
                    <a:pt x="1016390" y="425733"/>
                  </a:cubicBezTo>
                  <a:close/>
                  <a:moveTo>
                    <a:pt x="250806" y="416619"/>
                  </a:moveTo>
                  <a:cubicBezTo>
                    <a:pt x="254983" y="417758"/>
                    <a:pt x="259540" y="420796"/>
                    <a:pt x="264098" y="425353"/>
                  </a:cubicBezTo>
                  <a:cubicBezTo>
                    <a:pt x="273212" y="434467"/>
                    <a:pt x="267136" y="443582"/>
                    <a:pt x="258022" y="449658"/>
                  </a:cubicBezTo>
                  <a:cubicBezTo>
                    <a:pt x="251944" y="452696"/>
                    <a:pt x="239793" y="455734"/>
                    <a:pt x="233717" y="443582"/>
                  </a:cubicBezTo>
                  <a:cubicBezTo>
                    <a:pt x="227641" y="431429"/>
                    <a:pt x="230679" y="425353"/>
                    <a:pt x="239793" y="419277"/>
                  </a:cubicBezTo>
                  <a:cubicBezTo>
                    <a:pt x="242831" y="416239"/>
                    <a:pt x="246628" y="415480"/>
                    <a:pt x="250806" y="416619"/>
                  </a:cubicBezTo>
                  <a:close/>
                  <a:moveTo>
                    <a:pt x="144467" y="416619"/>
                  </a:moveTo>
                  <a:cubicBezTo>
                    <a:pt x="148645" y="417758"/>
                    <a:pt x="153202" y="420796"/>
                    <a:pt x="157759" y="425353"/>
                  </a:cubicBezTo>
                  <a:cubicBezTo>
                    <a:pt x="166873" y="434467"/>
                    <a:pt x="160797" y="443582"/>
                    <a:pt x="151683" y="449658"/>
                  </a:cubicBezTo>
                  <a:cubicBezTo>
                    <a:pt x="145606" y="452696"/>
                    <a:pt x="133454" y="455734"/>
                    <a:pt x="127378" y="443582"/>
                  </a:cubicBezTo>
                  <a:cubicBezTo>
                    <a:pt x="121302" y="431429"/>
                    <a:pt x="124340" y="425353"/>
                    <a:pt x="133454" y="419277"/>
                  </a:cubicBezTo>
                  <a:cubicBezTo>
                    <a:pt x="136492" y="416239"/>
                    <a:pt x="140290" y="415480"/>
                    <a:pt x="144467" y="416619"/>
                  </a:cubicBezTo>
                  <a:close/>
                  <a:moveTo>
                    <a:pt x="29033" y="416619"/>
                  </a:moveTo>
                  <a:cubicBezTo>
                    <a:pt x="33210" y="417758"/>
                    <a:pt x="37767" y="420796"/>
                    <a:pt x="42324" y="425353"/>
                  </a:cubicBezTo>
                  <a:cubicBezTo>
                    <a:pt x="51438" y="434467"/>
                    <a:pt x="45362" y="443582"/>
                    <a:pt x="36248" y="449658"/>
                  </a:cubicBezTo>
                  <a:cubicBezTo>
                    <a:pt x="30173" y="452696"/>
                    <a:pt x="18020" y="455734"/>
                    <a:pt x="11944" y="443582"/>
                  </a:cubicBezTo>
                  <a:cubicBezTo>
                    <a:pt x="5868" y="431429"/>
                    <a:pt x="8906" y="425353"/>
                    <a:pt x="18020" y="419277"/>
                  </a:cubicBezTo>
                  <a:cubicBezTo>
                    <a:pt x="21058" y="416239"/>
                    <a:pt x="24855" y="415480"/>
                    <a:pt x="29033" y="416619"/>
                  </a:cubicBezTo>
                  <a:close/>
                  <a:moveTo>
                    <a:pt x="360172" y="410543"/>
                  </a:moveTo>
                  <a:cubicBezTo>
                    <a:pt x="364349" y="411682"/>
                    <a:pt x="368907" y="414720"/>
                    <a:pt x="373464" y="419277"/>
                  </a:cubicBezTo>
                  <a:cubicBezTo>
                    <a:pt x="382577" y="428392"/>
                    <a:pt x="376502" y="437506"/>
                    <a:pt x="367388" y="443582"/>
                  </a:cubicBezTo>
                  <a:cubicBezTo>
                    <a:pt x="361312" y="446620"/>
                    <a:pt x="349159" y="449658"/>
                    <a:pt x="343083" y="437506"/>
                  </a:cubicBezTo>
                  <a:cubicBezTo>
                    <a:pt x="337007" y="425354"/>
                    <a:pt x="340045" y="419277"/>
                    <a:pt x="349159" y="413201"/>
                  </a:cubicBezTo>
                  <a:cubicBezTo>
                    <a:pt x="352197" y="410163"/>
                    <a:pt x="355995" y="409404"/>
                    <a:pt x="360172" y="410543"/>
                  </a:cubicBezTo>
                  <a:close/>
                  <a:moveTo>
                    <a:pt x="1110570" y="389276"/>
                  </a:moveTo>
                  <a:cubicBezTo>
                    <a:pt x="1114748" y="390415"/>
                    <a:pt x="1119305" y="393453"/>
                    <a:pt x="1123862" y="398010"/>
                  </a:cubicBezTo>
                  <a:cubicBezTo>
                    <a:pt x="1132976" y="407124"/>
                    <a:pt x="1126900" y="416239"/>
                    <a:pt x="1117786" y="422315"/>
                  </a:cubicBezTo>
                  <a:cubicBezTo>
                    <a:pt x="1111710" y="425353"/>
                    <a:pt x="1099557" y="428391"/>
                    <a:pt x="1093481" y="416239"/>
                  </a:cubicBezTo>
                  <a:cubicBezTo>
                    <a:pt x="1087405" y="401048"/>
                    <a:pt x="1090443" y="394972"/>
                    <a:pt x="1099557" y="391934"/>
                  </a:cubicBezTo>
                  <a:cubicBezTo>
                    <a:pt x="1102595" y="388896"/>
                    <a:pt x="1106393" y="388137"/>
                    <a:pt x="1110570" y="389276"/>
                  </a:cubicBezTo>
                  <a:close/>
                  <a:moveTo>
                    <a:pt x="490806" y="383200"/>
                  </a:moveTo>
                  <a:cubicBezTo>
                    <a:pt x="494984" y="384339"/>
                    <a:pt x="499541" y="387377"/>
                    <a:pt x="504098" y="391934"/>
                  </a:cubicBezTo>
                  <a:cubicBezTo>
                    <a:pt x="513212" y="401048"/>
                    <a:pt x="507136" y="410163"/>
                    <a:pt x="498022" y="416239"/>
                  </a:cubicBezTo>
                  <a:cubicBezTo>
                    <a:pt x="491946" y="419277"/>
                    <a:pt x="479793" y="422315"/>
                    <a:pt x="473717" y="410163"/>
                  </a:cubicBezTo>
                  <a:cubicBezTo>
                    <a:pt x="467641" y="394972"/>
                    <a:pt x="470679" y="388896"/>
                    <a:pt x="479793" y="385858"/>
                  </a:cubicBezTo>
                  <a:cubicBezTo>
                    <a:pt x="482831" y="382820"/>
                    <a:pt x="486629" y="382061"/>
                    <a:pt x="490806" y="383200"/>
                  </a:cubicBezTo>
                  <a:close/>
                  <a:moveTo>
                    <a:pt x="900944" y="380162"/>
                  </a:moveTo>
                  <a:cubicBezTo>
                    <a:pt x="905122" y="381301"/>
                    <a:pt x="909679" y="384339"/>
                    <a:pt x="914236" y="388896"/>
                  </a:cubicBezTo>
                  <a:cubicBezTo>
                    <a:pt x="923350" y="398011"/>
                    <a:pt x="917274" y="407125"/>
                    <a:pt x="908160" y="413201"/>
                  </a:cubicBezTo>
                  <a:cubicBezTo>
                    <a:pt x="902084" y="416239"/>
                    <a:pt x="889931" y="419277"/>
                    <a:pt x="883855" y="407125"/>
                  </a:cubicBezTo>
                  <a:cubicBezTo>
                    <a:pt x="877779" y="394973"/>
                    <a:pt x="880817" y="388896"/>
                    <a:pt x="889931" y="382820"/>
                  </a:cubicBezTo>
                  <a:cubicBezTo>
                    <a:pt x="892969" y="379782"/>
                    <a:pt x="896767" y="379023"/>
                    <a:pt x="900944" y="380162"/>
                  </a:cubicBezTo>
                  <a:close/>
                  <a:moveTo>
                    <a:pt x="618404" y="361934"/>
                  </a:moveTo>
                  <a:cubicBezTo>
                    <a:pt x="622582" y="363073"/>
                    <a:pt x="627139" y="366111"/>
                    <a:pt x="631696" y="370668"/>
                  </a:cubicBezTo>
                  <a:cubicBezTo>
                    <a:pt x="640810" y="379783"/>
                    <a:pt x="634734" y="388897"/>
                    <a:pt x="625620" y="394973"/>
                  </a:cubicBezTo>
                  <a:cubicBezTo>
                    <a:pt x="619544" y="398011"/>
                    <a:pt x="607391" y="401049"/>
                    <a:pt x="601315" y="388897"/>
                  </a:cubicBezTo>
                  <a:cubicBezTo>
                    <a:pt x="595239" y="376744"/>
                    <a:pt x="598277" y="370668"/>
                    <a:pt x="607391" y="364592"/>
                  </a:cubicBezTo>
                  <a:cubicBezTo>
                    <a:pt x="610429" y="361554"/>
                    <a:pt x="614227" y="360795"/>
                    <a:pt x="618404" y="361934"/>
                  </a:cubicBezTo>
                  <a:close/>
                  <a:moveTo>
                    <a:pt x="749041" y="355858"/>
                  </a:moveTo>
                  <a:cubicBezTo>
                    <a:pt x="753219" y="356997"/>
                    <a:pt x="757776" y="360035"/>
                    <a:pt x="762333" y="364592"/>
                  </a:cubicBezTo>
                  <a:cubicBezTo>
                    <a:pt x="771447" y="373706"/>
                    <a:pt x="765371" y="382821"/>
                    <a:pt x="756257" y="388897"/>
                  </a:cubicBezTo>
                  <a:cubicBezTo>
                    <a:pt x="750181" y="391935"/>
                    <a:pt x="738028" y="394973"/>
                    <a:pt x="731952" y="382821"/>
                  </a:cubicBezTo>
                  <a:cubicBezTo>
                    <a:pt x="725876" y="367630"/>
                    <a:pt x="728914" y="361554"/>
                    <a:pt x="738028" y="358516"/>
                  </a:cubicBezTo>
                  <a:cubicBezTo>
                    <a:pt x="741066" y="355478"/>
                    <a:pt x="744864" y="354719"/>
                    <a:pt x="749041" y="355858"/>
                  </a:cubicBezTo>
                  <a:close/>
                  <a:moveTo>
                    <a:pt x="10801" y="334591"/>
                  </a:moveTo>
                  <a:cubicBezTo>
                    <a:pt x="14978" y="335730"/>
                    <a:pt x="19536" y="338768"/>
                    <a:pt x="24093" y="343325"/>
                  </a:cubicBezTo>
                  <a:cubicBezTo>
                    <a:pt x="33207" y="352440"/>
                    <a:pt x="24093" y="364592"/>
                    <a:pt x="18017" y="367630"/>
                  </a:cubicBezTo>
                  <a:cubicBezTo>
                    <a:pt x="14979" y="369149"/>
                    <a:pt x="10422" y="370668"/>
                    <a:pt x="5865" y="370288"/>
                  </a:cubicBezTo>
                  <a:lnTo>
                    <a:pt x="0" y="366073"/>
                  </a:lnTo>
                  <a:lnTo>
                    <a:pt x="0" y="337198"/>
                  </a:lnTo>
                  <a:close/>
                  <a:moveTo>
                    <a:pt x="1213864" y="313325"/>
                  </a:moveTo>
                  <a:cubicBezTo>
                    <a:pt x="1218042" y="314464"/>
                    <a:pt x="1222599" y="317502"/>
                    <a:pt x="1227156" y="322059"/>
                  </a:cubicBezTo>
                  <a:cubicBezTo>
                    <a:pt x="1236270" y="331173"/>
                    <a:pt x="1230194" y="340288"/>
                    <a:pt x="1221080" y="346364"/>
                  </a:cubicBezTo>
                  <a:cubicBezTo>
                    <a:pt x="1215004" y="349402"/>
                    <a:pt x="1202851" y="352440"/>
                    <a:pt x="1196775" y="340288"/>
                  </a:cubicBezTo>
                  <a:cubicBezTo>
                    <a:pt x="1190699" y="325097"/>
                    <a:pt x="1193737" y="319021"/>
                    <a:pt x="1202851" y="315983"/>
                  </a:cubicBezTo>
                  <a:cubicBezTo>
                    <a:pt x="1205889" y="312945"/>
                    <a:pt x="1209687" y="312186"/>
                    <a:pt x="1213864" y="313325"/>
                  </a:cubicBezTo>
                  <a:close/>
                  <a:moveTo>
                    <a:pt x="211313" y="313325"/>
                  </a:moveTo>
                  <a:cubicBezTo>
                    <a:pt x="215491" y="314464"/>
                    <a:pt x="220048" y="317502"/>
                    <a:pt x="224605" y="322059"/>
                  </a:cubicBezTo>
                  <a:cubicBezTo>
                    <a:pt x="233719" y="331173"/>
                    <a:pt x="227643" y="340288"/>
                    <a:pt x="218529" y="346364"/>
                  </a:cubicBezTo>
                  <a:cubicBezTo>
                    <a:pt x="212453" y="349402"/>
                    <a:pt x="200300" y="352440"/>
                    <a:pt x="194224" y="340288"/>
                  </a:cubicBezTo>
                  <a:cubicBezTo>
                    <a:pt x="188148" y="328135"/>
                    <a:pt x="191186" y="322059"/>
                    <a:pt x="200300" y="315983"/>
                  </a:cubicBezTo>
                  <a:cubicBezTo>
                    <a:pt x="203338" y="312945"/>
                    <a:pt x="207136" y="312186"/>
                    <a:pt x="211313" y="313325"/>
                  </a:cubicBezTo>
                  <a:close/>
                  <a:moveTo>
                    <a:pt x="314600" y="301172"/>
                  </a:moveTo>
                  <a:cubicBezTo>
                    <a:pt x="318778" y="302311"/>
                    <a:pt x="323335" y="305349"/>
                    <a:pt x="327892" y="309906"/>
                  </a:cubicBezTo>
                  <a:cubicBezTo>
                    <a:pt x="337006" y="319021"/>
                    <a:pt x="330930" y="328135"/>
                    <a:pt x="321816" y="334211"/>
                  </a:cubicBezTo>
                  <a:cubicBezTo>
                    <a:pt x="315740" y="337249"/>
                    <a:pt x="303587" y="340287"/>
                    <a:pt x="297511" y="328135"/>
                  </a:cubicBezTo>
                  <a:cubicBezTo>
                    <a:pt x="291435" y="315982"/>
                    <a:pt x="294473" y="309906"/>
                    <a:pt x="303587" y="303830"/>
                  </a:cubicBezTo>
                  <a:cubicBezTo>
                    <a:pt x="306625" y="300792"/>
                    <a:pt x="310423" y="300033"/>
                    <a:pt x="314600" y="301172"/>
                  </a:cubicBezTo>
                  <a:close/>
                  <a:moveTo>
                    <a:pt x="982972" y="298134"/>
                  </a:moveTo>
                  <a:cubicBezTo>
                    <a:pt x="987150" y="299273"/>
                    <a:pt x="991707" y="302311"/>
                    <a:pt x="996264" y="306868"/>
                  </a:cubicBezTo>
                  <a:cubicBezTo>
                    <a:pt x="1005378" y="315982"/>
                    <a:pt x="999302" y="325097"/>
                    <a:pt x="990188" y="331173"/>
                  </a:cubicBezTo>
                  <a:cubicBezTo>
                    <a:pt x="984111" y="334211"/>
                    <a:pt x="971959" y="337249"/>
                    <a:pt x="965883" y="325097"/>
                  </a:cubicBezTo>
                  <a:cubicBezTo>
                    <a:pt x="959807" y="312944"/>
                    <a:pt x="962845" y="306868"/>
                    <a:pt x="971959" y="300792"/>
                  </a:cubicBezTo>
                  <a:cubicBezTo>
                    <a:pt x="974997" y="297754"/>
                    <a:pt x="978795" y="296995"/>
                    <a:pt x="982972" y="298134"/>
                  </a:cubicBezTo>
                  <a:close/>
                  <a:moveTo>
                    <a:pt x="417898" y="298134"/>
                  </a:moveTo>
                  <a:cubicBezTo>
                    <a:pt x="422075" y="299273"/>
                    <a:pt x="426630" y="302311"/>
                    <a:pt x="431187" y="306868"/>
                  </a:cubicBezTo>
                  <a:cubicBezTo>
                    <a:pt x="440300" y="315982"/>
                    <a:pt x="434224" y="325097"/>
                    <a:pt x="425112" y="331173"/>
                  </a:cubicBezTo>
                  <a:cubicBezTo>
                    <a:pt x="419036" y="334211"/>
                    <a:pt x="406884" y="337249"/>
                    <a:pt x="400806" y="325097"/>
                  </a:cubicBezTo>
                  <a:cubicBezTo>
                    <a:pt x="394729" y="312944"/>
                    <a:pt x="394729" y="306868"/>
                    <a:pt x="406884" y="300792"/>
                  </a:cubicBezTo>
                  <a:cubicBezTo>
                    <a:pt x="409923" y="297754"/>
                    <a:pt x="413721" y="296995"/>
                    <a:pt x="417898" y="298134"/>
                  </a:cubicBezTo>
                  <a:close/>
                  <a:moveTo>
                    <a:pt x="858411" y="295096"/>
                  </a:moveTo>
                  <a:cubicBezTo>
                    <a:pt x="862589" y="296235"/>
                    <a:pt x="867146" y="299273"/>
                    <a:pt x="871703" y="303830"/>
                  </a:cubicBezTo>
                  <a:cubicBezTo>
                    <a:pt x="880817" y="312944"/>
                    <a:pt x="874741" y="322059"/>
                    <a:pt x="865627" y="328135"/>
                  </a:cubicBezTo>
                  <a:cubicBezTo>
                    <a:pt x="859550" y="331173"/>
                    <a:pt x="847398" y="334211"/>
                    <a:pt x="841322" y="322059"/>
                  </a:cubicBezTo>
                  <a:cubicBezTo>
                    <a:pt x="835246" y="309906"/>
                    <a:pt x="838284" y="303830"/>
                    <a:pt x="847398" y="297754"/>
                  </a:cubicBezTo>
                  <a:cubicBezTo>
                    <a:pt x="850436" y="294716"/>
                    <a:pt x="854234" y="293957"/>
                    <a:pt x="858411" y="295096"/>
                  </a:cubicBezTo>
                  <a:close/>
                  <a:moveTo>
                    <a:pt x="1095380" y="292058"/>
                  </a:moveTo>
                  <a:cubicBezTo>
                    <a:pt x="1099558" y="293197"/>
                    <a:pt x="1104115" y="296235"/>
                    <a:pt x="1108672" y="300792"/>
                  </a:cubicBezTo>
                  <a:cubicBezTo>
                    <a:pt x="1117786" y="309906"/>
                    <a:pt x="1111710" y="319021"/>
                    <a:pt x="1102596" y="325097"/>
                  </a:cubicBezTo>
                  <a:cubicBezTo>
                    <a:pt x="1096520" y="328135"/>
                    <a:pt x="1084367" y="331173"/>
                    <a:pt x="1078291" y="319021"/>
                  </a:cubicBezTo>
                  <a:cubicBezTo>
                    <a:pt x="1072215" y="303830"/>
                    <a:pt x="1075253" y="297754"/>
                    <a:pt x="1084367" y="294716"/>
                  </a:cubicBezTo>
                  <a:cubicBezTo>
                    <a:pt x="1087405" y="291678"/>
                    <a:pt x="1091203" y="290919"/>
                    <a:pt x="1095380" y="292058"/>
                  </a:cubicBezTo>
                  <a:close/>
                  <a:moveTo>
                    <a:pt x="108024" y="289020"/>
                  </a:moveTo>
                  <a:cubicBezTo>
                    <a:pt x="112201" y="290159"/>
                    <a:pt x="116759" y="293197"/>
                    <a:pt x="121316" y="297754"/>
                  </a:cubicBezTo>
                  <a:cubicBezTo>
                    <a:pt x="130429" y="306868"/>
                    <a:pt x="124354" y="315983"/>
                    <a:pt x="115240" y="322059"/>
                  </a:cubicBezTo>
                  <a:cubicBezTo>
                    <a:pt x="109164" y="325097"/>
                    <a:pt x="97011" y="328135"/>
                    <a:pt x="90935" y="315983"/>
                  </a:cubicBezTo>
                  <a:cubicBezTo>
                    <a:pt x="84859" y="300792"/>
                    <a:pt x="87897" y="294716"/>
                    <a:pt x="97011" y="291678"/>
                  </a:cubicBezTo>
                  <a:cubicBezTo>
                    <a:pt x="100049" y="288640"/>
                    <a:pt x="103846" y="287881"/>
                    <a:pt x="108024" y="289020"/>
                  </a:cubicBezTo>
                  <a:close/>
                  <a:moveTo>
                    <a:pt x="533338" y="270792"/>
                  </a:moveTo>
                  <a:cubicBezTo>
                    <a:pt x="537516" y="271931"/>
                    <a:pt x="542073" y="274969"/>
                    <a:pt x="546630" y="279526"/>
                  </a:cubicBezTo>
                  <a:cubicBezTo>
                    <a:pt x="555744" y="288640"/>
                    <a:pt x="549668" y="297755"/>
                    <a:pt x="540554" y="303831"/>
                  </a:cubicBezTo>
                  <a:cubicBezTo>
                    <a:pt x="534478" y="306869"/>
                    <a:pt x="522328" y="309907"/>
                    <a:pt x="516251" y="297755"/>
                  </a:cubicBezTo>
                  <a:cubicBezTo>
                    <a:pt x="510175" y="285602"/>
                    <a:pt x="513213" y="276488"/>
                    <a:pt x="522328" y="273450"/>
                  </a:cubicBezTo>
                  <a:cubicBezTo>
                    <a:pt x="525363" y="270412"/>
                    <a:pt x="529161" y="269653"/>
                    <a:pt x="533338" y="270792"/>
                  </a:cubicBezTo>
                  <a:close/>
                  <a:moveTo>
                    <a:pt x="633594" y="261678"/>
                  </a:moveTo>
                  <a:cubicBezTo>
                    <a:pt x="637772" y="262817"/>
                    <a:pt x="642329" y="265855"/>
                    <a:pt x="646886" y="270412"/>
                  </a:cubicBezTo>
                  <a:cubicBezTo>
                    <a:pt x="656000" y="279526"/>
                    <a:pt x="646886" y="291679"/>
                    <a:pt x="640810" y="294717"/>
                  </a:cubicBezTo>
                  <a:cubicBezTo>
                    <a:pt x="634734" y="297755"/>
                    <a:pt x="622581" y="300793"/>
                    <a:pt x="616505" y="288641"/>
                  </a:cubicBezTo>
                  <a:cubicBezTo>
                    <a:pt x="610429" y="276488"/>
                    <a:pt x="613467" y="267374"/>
                    <a:pt x="622581" y="264336"/>
                  </a:cubicBezTo>
                  <a:cubicBezTo>
                    <a:pt x="625619" y="261298"/>
                    <a:pt x="629417" y="260539"/>
                    <a:pt x="633594" y="261678"/>
                  </a:cubicBezTo>
                  <a:close/>
                  <a:moveTo>
                    <a:pt x="746003" y="258640"/>
                  </a:moveTo>
                  <a:cubicBezTo>
                    <a:pt x="750181" y="259779"/>
                    <a:pt x="754738" y="262817"/>
                    <a:pt x="759295" y="267374"/>
                  </a:cubicBezTo>
                  <a:cubicBezTo>
                    <a:pt x="768409" y="276488"/>
                    <a:pt x="759295" y="288641"/>
                    <a:pt x="753219" y="291679"/>
                  </a:cubicBezTo>
                  <a:cubicBezTo>
                    <a:pt x="747143" y="294717"/>
                    <a:pt x="734990" y="297755"/>
                    <a:pt x="728914" y="285603"/>
                  </a:cubicBezTo>
                  <a:cubicBezTo>
                    <a:pt x="722838" y="270412"/>
                    <a:pt x="725876" y="264336"/>
                    <a:pt x="734990" y="261298"/>
                  </a:cubicBezTo>
                  <a:cubicBezTo>
                    <a:pt x="738028" y="258260"/>
                    <a:pt x="741826" y="257500"/>
                    <a:pt x="746003" y="258640"/>
                  </a:cubicBezTo>
                  <a:close/>
                  <a:moveTo>
                    <a:pt x="1301968" y="225221"/>
                  </a:moveTo>
                  <a:cubicBezTo>
                    <a:pt x="1306146" y="226360"/>
                    <a:pt x="1310703" y="229398"/>
                    <a:pt x="1315260" y="233955"/>
                  </a:cubicBezTo>
                  <a:cubicBezTo>
                    <a:pt x="1324374" y="243069"/>
                    <a:pt x="1315260" y="255222"/>
                    <a:pt x="1309184" y="258260"/>
                  </a:cubicBezTo>
                  <a:cubicBezTo>
                    <a:pt x="1303107" y="261298"/>
                    <a:pt x="1290955" y="264336"/>
                    <a:pt x="1284879" y="252184"/>
                  </a:cubicBezTo>
                  <a:cubicBezTo>
                    <a:pt x="1278803" y="240031"/>
                    <a:pt x="1281841" y="233955"/>
                    <a:pt x="1290955" y="227879"/>
                  </a:cubicBezTo>
                  <a:cubicBezTo>
                    <a:pt x="1293993" y="224841"/>
                    <a:pt x="1297791" y="224081"/>
                    <a:pt x="1301968" y="225221"/>
                  </a:cubicBezTo>
                  <a:close/>
                  <a:moveTo>
                    <a:pt x="7756" y="225221"/>
                  </a:moveTo>
                  <a:cubicBezTo>
                    <a:pt x="11933" y="226360"/>
                    <a:pt x="16491" y="229398"/>
                    <a:pt x="21048" y="233955"/>
                  </a:cubicBezTo>
                  <a:cubicBezTo>
                    <a:pt x="30162" y="243069"/>
                    <a:pt x="21048" y="255222"/>
                    <a:pt x="14972" y="258260"/>
                  </a:cubicBezTo>
                  <a:cubicBezTo>
                    <a:pt x="11934" y="259779"/>
                    <a:pt x="7376" y="261298"/>
                    <a:pt x="2819" y="260918"/>
                  </a:cubicBezTo>
                  <a:lnTo>
                    <a:pt x="0" y="258892"/>
                  </a:lnTo>
                  <a:lnTo>
                    <a:pt x="0" y="227093"/>
                  </a:lnTo>
                  <a:close/>
                  <a:moveTo>
                    <a:pt x="180938" y="210031"/>
                  </a:moveTo>
                  <a:cubicBezTo>
                    <a:pt x="185115" y="211170"/>
                    <a:pt x="189672" y="214208"/>
                    <a:pt x="194229" y="218765"/>
                  </a:cubicBezTo>
                  <a:cubicBezTo>
                    <a:pt x="203343" y="227879"/>
                    <a:pt x="194229" y="240032"/>
                    <a:pt x="188153" y="243070"/>
                  </a:cubicBezTo>
                  <a:cubicBezTo>
                    <a:pt x="182077" y="246108"/>
                    <a:pt x="169925" y="249146"/>
                    <a:pt x="163849" y="236994"/>
                  </a:cubicBezTo>
                  <a:cubicBezTo>
                    <a:pt x="157773" y="224841"/>
                    <a:pt x="160811" y="215727"/>
                    <a:pt x="169925" y="212689"/>
                  </a:cubicBezTo>
                  <a:cubicBezTo>
                    <a:pt x="172962" y="209651"/>
                    <a:pt x="176760" y="208891"/>
                    <a:pt x="180938" y="210031"/>
                  </a:cubicBezTo>
                  <a:close/>
                  <a:moveTo>
                    <a:pt x="1183484" y="203954"/>
                  </a:moveTo>
                  <a:cubicBezTo>
                    <a:pt x="1187662" y="205093"/>
                    <a:pt x="1192219" y="208131"/>
                    <a:pt x="1196776" y="212688"/>
                  </a:cubicBezTo>
                  <a:cubicBezTo>
                    <a:pt x="1205890" y="221802"/>
                    <a:pt x="1199814" y="230917"/>
                    <a:pt x="1190700" y="236993"/>
                  </a:cubicBezTo>
                  <a:cubicBezTo>
                    <a:pt x="1184624" y="240031"/>
                    <a:pt x="1172471" y="243069"/>
                    <a:pt x="1166395" y="230917"/>
                  </a:cubicBezTo>
                  <a:cubicBezTo>
                    <a:pt x="1160319" y="218764"/>
                    <a:pt x="1160319" y="212688"/>
                    <a:pt x="1172471" y="206612"/>
                  </a:cubicBezTo>
                  <a:cubicBezTo>
                    <a:pt x="1175509" y="203574"/>
                    <a:pt x="1179307" y="202814"/>
                    <a:pt x="1183484" y="203954"/>
                  </a:cubicBezTo>
                  <a:close/>
                  <a:moveTo>
                    <a:pt x="946515" y="197878"/>
                  </a:moveTo>
                  <a:cubicBezTo>
                    <a:pt x="950693" y="199017"/>
                    <a:pt x="955250" y="202055"/>
                    <a:pt x="959807" y="206612"/>
                  </a:cubicBezTo>
                  <a:cubicBezTo>
                    <a:pt x="968921" y="215726"/>
                    <a:pt x="962845" y="224841"/>
                    <a:pt x="953731" y="230917"/>
                  </a:cubicBezTo>
                  <a:cubicBezTo>
                    <a:pt x="947655" y="233955"/>
                    <a:pt x="935502" y="236993"/>
                    <a:pt x="929426" y="224841"/>
                  </a:cubicBezTo>
                  <a:cubicBezTo>
                    <a:pt x="923350" y="209650"/>
                    <a:pt x="926388" y="203574"/>
                    <a:pt x="935502" y="200536"/>
                  </a:cubicBezTo>
                  <a:cubicBezTo>
                    <a:pt x="938540" y="197498"/>
                    <a:pt x="942338" y="196739"/>
                    <a:pt x="946515" y="197878"/>
                  </a:cubicBezTo>
                  <a:close/>
                  <a:moveTo>
                    <a:pt x="466501" y="197878"/>
                  </a:moveTo>
                  <a:cubicBezTo>
                    <a:pt x="470678" y="199017"/>
                    <a:pt x="475236" y="202055"/>
                    <a:pt x="479793" y="206612"/>
                  </a:cubicBezTo>
                  <a:cubicBezTo>
                    <a:pt x="488908" y="215726"/>
                    <a:pt x="479793" y="227879"/>
                    <a:pt x="473717" y="230917"/>
                  </a:cubicBezTo>
                  <a:cubicBezTo>
                    <a:pt x="467641" y="233955"/>
                    <a:pt x="455486" y="236993"/>
                    <a:pt x="449412" y="224841"/>
                  </a:cubicBezTo>
                  <a:cubicBezTo>
                    <a:pt x="443337" y="212688"/>
                    <a:pt x="446374" y="206612"/>
                    <a:pt x="455486" y="200536"/>
                  </a:cubicBezTo>
                  <a:cubicBezTo>
                    <a:pt x="458524" y="197498"/>
                    <a:pt x="462322" y="196739"/>
                    <a:pt x="466501" y="197878"/>
                  </a:cubicBezTo>
                  <a:close/>
                  <a:moveTo>
                    <a:pt x="323717" y="197878"/>
                  </a:moveTo>
                  <a:cubicBezTo>
                    <a:pt x="327895" y="199017"/>
                    <a:pt x="332452" y="202055"/>
                    <a:pt x="337009" y="206612"/>
                  </a:cubicBezTo>
                  <a:cubicBezTo>
                    <a:pt x="346123" y="215726"/>
                    <a:pt x="337009" y="227879"/>
                    <a:pt x="330933" y="230917"/>
                  </a:cubicBezTo>
                  <a:cubicBezTo>
                    <a:pt x="324857" y="233955"/>
                    <a:pt x="312704" y="236993"/>
                    <a:pt x="306628" y="224841"/>
                  </a:cubicBezTo>
                  <a:cubicBezTo>
                    <a:pt x="300552" y="209650"/>
                    <a:pt x="303590" y="203574"/>
                    <a:pt x="312704" y="200536"/>
                  </a:cubicBezTo>
                  <a:cubicBezTo>
                    <a:pt x="315742" y="197498"/>
                    <a:pt x="319540" y="196739"/>
                    <a:pt x="323717" y="197878"/>
                  </a:cubicBezTo>
                  <a:close/>
                  <a:moveTo>
                    <a:pt x="1074113" y="188764"/>
                  </a:moveTo>
                  <a:cubicBezTo>
                    <a:pt x="1078291" y="189903"/>
                    <a:pt x="1082848" y="192941"/>
                    <a:pt x="1087405" y="197498"/>
                  </a:cubicBezTo>
                  <a:cubicBezTo>
                    <a:pt x="1096519" y="206612"/>
                    <a:pt x="1087405" y="218765"/>
                    <a:pt x="1081329" y="221803"/>
                  </a:cubicBezTo>
                  <a:cubicBezTo>
                    <a:pt x="1075252" y="224841"/>
                    <a:pt x="1063100" y="227879"/>
                    <a:pt x="1057024" y="215727"/>
                  </a:cubicBezTo>
                  <a:cubicBezTo>
                    <a:pt x="1050948" y="200536"/>
                    <a:pt x="1053986" y="194460"/>
                    <a:pt x="1063100" y="191422"/>
                  </a:cubicBezTo>
                  <a:cubicBezTo>
                    <a:pt x="1066138" y="188384"/>
                    <a:pt x="1069936" y="187625"/>
                    <a:pt x="1074113" y="188764"/>
                  </a:cubicBezTo>
                  <a:close/>
                  <a:moveTo>
                    <a:pt x="846259" y="188764"/>
                  </a:moveTo>
                  <a:cubicBezTo>
                    <a:pt x="850437" y="189903"/>
                    <a:pt x="854994" y="192941"/>
                    <a:pt x="859551" y="197498"/>
                  </a:cubicBezTo>
                  <a:cubicBezTo>
                    <a:pt x="868665" y="206612"/>
                    <a:pt x="862589" y="215727"/>
                    <a:pt x="853475" y="221803"/>
                  </a:cubicBezTo>
                  <a:cubicBezTo>
                    <a:pt x="847399" y="224841"/>
                    <a:pt x="835246" y="227879"/>
                    <a:pt x="829170" y="215727"/>
                  </a:cubicBezTo>
                  <a:cubicBezTo>
                    <a:pt x="823094" y="203574"/>
                    <a:pt x="826132" y="194460"/>
                    <a:pt x="835246" y="191422"/>
                  </a:cubicBezTo>
                  <a:cubicBezTo>
                    <a:pt x="838284" y="188384"/>
                    <a:pt x="842082" y="187624"/>
                    <a:pt x="846259" y="188764"/>
                  </a:cubicBezTo>
                  <a:close/>
                  <a:moveTo>
                    <a:pt x="694356" y="164460"/>
                  </a:moveTo>
                  <a:cubicBezTo>
                    <a:pt x="698534" y="165599"/>
                    <a:pt x="703091" y="168637"/>
                    <a:pt x="707648" y="173194"/>
                  </a:cubicBezTo>
                  <a:cubicBezTo>
                    <a:pt x="716762" y="182308"/>
                    <a:pt x="710686" y="191423"/>
                    <a:pt x="701572" y="197499"/>
                  </a:cubicBezTo>
                  <a:cubicBezTo>
                    <a:pt x="695496" y="200537"/>
                    <a:pt x="683343" y="203575"/>
                    <a:pt x="677267" y="191423"/>
                  </a:cubicBezTo>
                  <a:cubicBezTo>
                    <a:pt x="671191" y="179270"/>
                    <a:pt x="674229" y="173194"/>
                    <a:pt x="683343" y="167118"/>
                  </a:cubicBezTo>
                  <a:cubicBezTo>
                    <a:pt x="686381" y="164080"/>
                    <a:pt x="690179" y="163321"/>
                    <a:pt x="694356" y="164460"/>
                  </a:cubicBezTo>
                  <a:close/>
                  <a:moveTo>
                    <a:pt x="77635" y="152307"/>
                  </a:moveTo>
                  <a:cubicBezTo>
                    <a:pt x="81812" y="153446"/>
                    <a:pt x="86370" y="156484"/>
                    <a:pt x="90926" y="161041"/>
                  </a:cubicBezTo>
                  <a:cubicBezTo>
                    <a:pt x="100040" y="170155"/>
                    <a:pt x="93964" y="179270"/>
                    <a:pt x="84851" y="185346"/>
                  </a:cubicBezTo>
                  <a:cubicBezTo>
                    <a:pt x="78775" y="188384"/>
                    <a:pt x="66622" y="191422"/>
                    <a:pt x="60546" y="179270"/>
                  </a:cubicBezTo>
                  <a:cubicBezTo>
                    <a:pt x="54470" y="167117"/>
                    <a:pt x="57508" y="158003"/>
                    <a:pt x="66622" y="154965"/>
                  </a:cubicBezTo>
                  <a:cubicBezTo>
                    <a:pt x="69660" y="151927"/>
                    <a:pt x="73457" y="151167"/>
                    <a:pt x="77635" y="152307"/>
                  </a:cubicBezTo>
                  <a:close/>
                  <a:moveTo>
                    <a:pt x="1377919" y="146231"/>
                  </a:moveTo>
                  <a:cubicBezTo>
                    <a:pt x="1382097" y="147370"/>
                    <a:pt x="1386654" y="150408"/>
                    <a:pt x="1391211" y="154965"/>
                  </a:cubicBezTo>
                  <a:cubicBezTo>
                    <a:pt x="1400325" y="164079"/>
                    <a:pt x="1394249" y="173194"/>
                    <a:pt x="1385135" y="179270"/>
                  </a:cubicBezTo>
                  <a:cubicBezTo>
                    <a:pt x="1379058" y="182308"/>
                    <a:pt x="1366906" y="185346"/>
                    <a:pt x="1360830" y="173194"/>
                  </a:cubicBezTo>
                  <a:cubicBezTo>
                    <a:pt x="1354754" y="161041"/>
                    <a:pt x="1357792" y="154965"/>
                    <a:pt x="1366906" y="148889"/>
                  </a:cubicBezTo>
                  <a:cubicBezTo>
                    <a:pt x="1369944" y="145851"/>
                    <a:pt x="1373742" y="145092"/>
                    <a:pt x="1377919" y="146231"/>
                  </a:cubicBezTo>
                  <a:close/>
                  <a:moveTo>
                    <a:pt x="588024" y="143193"/>
                  </a:moveTo>
                  <a:cubicBezTo>
                    <a:pt x="592202" y="144332"/>
                    <a:pt x="596759" y="147370"/>
                    <a:pt x="601316" y="151927"/>
                  </a:cubicBezTo>
                  <a:cubicBezTo>
                    <a:pt x="610430" y="161041"/>
                    <a:pt x="604354" y="170156"/>
                    <a:pt x="595240" y="176232"/>
                  </a:cubicBezTo>
                  <a:cubicBezTo>
                    <a:pt x="589164" y="179270"/>
                    <a:pt x="577011" y="182308"/>
                    <a:pt x="570935" y="170156"/>
                  </a:cubicBezTo>
                  <a:cubicBezTo>
                    <a:pt x="564859" y="154965"/>
                    <a:pt x="567897" y="148889"/>
                    <a:pt x="577011" y="145851"/>
                  </a:cubicBezTo>
                  <a:cubicBezTo>
                    <a:pt x="580049" y="142813"/>
                    <a:pt x="583847" y="142053"/>
                    <a:pt x="588024" y="143193"/>
                  </a:cubicBezTo>
                  <a:close/>
                  <a:moveTo>
                    <a:pt x="241687" y="128003"/>
                  </a:moveTo>
                  <a:cubicBezTo>
                    <a:pt x="245865" y="129142"/>
                    <a:pt x="250422" y="132180"/>
                    <a:pt x="254979" y="136737"/>
                  </a:cubicBezTo>
                  <a:cubicBezTo>
                    <a:pt x="264093" y="145851"/>
                    <a:pt x="258017" y="154966"/>
                    <a:pt x="248903" y="161042"/>
                  </a:cubicBezTo>
                  <a:cubicBezTo>
                    <a:pt x="242827" y="164080"/>
                    <a:pt x="230674" y="167118"/>
                    <a:pt x="224598" y="154966"/>
                  </a:cubicBezTo>
                  <a:cubicBezTo>
                    <a:pt x="218522" y="139775"/>
                    <a:pt x="221560" y="133699"/>
                    <a:pt x="230674" y="130661"/>
                  </a:cubicBezTo>
                  <a:cubicBezTo>
                    <a:pt x="233712" y="127623"/>
                    <a:pt x="237510" y="126864"/>
                    <a:pt x="241687" y="128003"/>
                  </a:cubicBezTo>
                  <a:close/>
                  <a:moveTo>
                    <a:pt x="1259435" y="124965"/>
                  </a:moveTo>
                  <a:cubicBezTo>
                    <a:pt x="1263613" y="126104"/>
                    <a:pt x="1268170" y="129142"/>
                    <a:pt x="1272727" y="133699"/>
                  </a:cubicBezTo>
                  <a:cubicBezTo>
                    <a:pt x="1281841" y="142813"/>
                    <a:pt x="1272727" y="154966"/>
                    <a:pt x="1266651" y="158004"/>
                  </a:cubicBezTo>
                  <a:cubicBezTo>
                    <a:pt x="1260575" y="161042"/>
                    <a:pt x="1248422" y="164080"/>
                    <a:pt x="1242346" y="151928"/>
                  </a:cubicBezTo>
                  <a:cubicBezTo>
                    <a:pt x="1236270" y="136737"/>
                    <a:pt x="1239308" y="130661"/>
                    <a:pt x="1248422" y="127623"/>
                  </a:cubicBezTo>
                  <a:cubicBezTo>
                    <a:pt x="1251460" y="124585"/>
                    <a:pt x="1255258" y="123825"/>
                    <a:pt x="1259435" y="124965"/>
                  </a:cubicBezTo>
                  <a:close/>
                  <a:moveTo>
                    <a:pt x="399672" y="118889"/>
                  </a:moveTo>
                  <a:cubicBezTo>
                    <a:pt x="403852" y="120028"/>
                    <a:pt x="408409" y="123066"/>
                    <a:pt x="412966" y="127623"/>
                  </a:cubicBezTo>
                  <a:cubicBezTo>
                    <a:pt x="422078" y="136737"/>
                    <a:pt x="416004" y="145852"/>
                    <a:pt x="406890" y="151928"/>
                  </a:cubicBezTo>
                  <a:cubicBezTo>
                    <a:pt x="400812" y="154966"/>
                    <a:pt x="388658" y="158004"/>
                    <a:pt x="382584" y="145852"/>
                  </a:cubicBezTo>
                  <a:cubicBezTo>
                    <a:pt x="376513" y="133699"/>
                    <a:pt x="379551" y="127623"/>
                    <a:pt x="388658" y="121547"/>
                  </a:cubicBezTo>
                  <a:cubicBezTo>
                    <a:pt x="391694" y="118509"/>
                    <a:pt x="395492" y="117750"/>
                    <a:pt x="399672" y="118889"/>
                  </a:cubicBezTo>
                  <a:close/>
                  <a:moveTo>
                    <a:pt x="1004238" y="112813"/>
                  </a:moveTo>
                  <a:cubicBezTo>
                    <a:pt x="1008416" y="113952"/>
                    <a:pt x="1012973" y="116990"/>
                    <a:pt x="1017530" y="121547"/>
                  </a:cubicBezTo>
                  <a:cubicBezTo>
                    <a:pt x="1026644" y="130661"/>
                    <a:pt x="1020568" y="139776"/>
                    <a:pt x="1011454" y="145852"/>
                  </a:cubicBezTo>
                  <a:cubicBezTo>
                    <a:pt x="1005378" y="148890"/>
                    <a:pt x="993225" y="151928"/>
                    <a:pt x="987149" y="139776"/>
                  </a:cubicBezTo>
                  <a:cubicBezTo>
                    <a:pt x="981073" y="127623"/>
                    <a:pt x="984111" y="121547"/>
                    <a:pt x="993225" y="115471"/>
                  </a:cubicBezTo>
                  <a:cubicBezTo>
                    <a:pt x="996263" y="112433"/>
                    <a:pt x="1000061" y="111674"/>
                    <a:pt x="1004238" y="112813"/>
                  </a:cubicBezTo>
                  <a:close/>
                  <a:moveTo>
                    <a:pt x="800688" y="97622"/>
                  </a:moveTo>
                  <a:cubicBezTo>
                    <a:pt x="804866" y="98761"/>
                    <a:pt x="809423" y="101799"/>
                    <a:pt x="813980" y="106356"/>
                  </a:cubicBezTo>
                  <a:cubicBezTo>
                    <a:pt x="823094" y="115470"/>
                    <a:pt x="817018" y="124585"/>
                    <a:pt x="807904" y="130661"/>
                  </a:cubicBezTo>
                  <a:cubicBezTo>
                    <a:pt x="801828" y="133699"/>
                    <a:pt x="789675" y="136737"/>
                    <a:pt x="783599" y="124585"/>
                  </a:cubicBezTo>
                  <a:cubicBezTo>
                    <a:pt x="777523" y="112432"/>
                    <a:pt x="780561" y="106356"/>
                    <a:pt x="789675" y="100280"/>
                  </a:cubicBezTo>
                  <a:cubicBezTo>
                    <a:pt x="792713" y="97242"/>
                    <a:pt x="796511" y="96482"/>
                    <a:pt x="800688" y="97622"/>
                  </a:cubicBezTo>
                  <a:close/>
                  <a:moveTo>
                    <a:pt x="1128799" y="85470"/>
                  </a:moveTo>
                  <a:cubicBezTo>
                    <a:pt x="1132976" y="86609"/>
                    <a:pt x="1137533" y="89647"/>
                    <a:pt x="1142090" y="94204"/>
                  </a:cubicBezTo>
                  <a:cubicBezTo>
                    <a:pt x="1151204" y="103318"/>
                    <a:pt x="1142090" y="115471"/>
                    <a:pt x="1136014" y="118509"/>
                  </a:cubicBezTo>
                  <a:cubicBezTo>
                    <a:pt x="1129938" y="121547"/>
                    <a:pt x="1117785" y="124585"/>
                    <a:pt x="1111709" y="112433"/>
                  </a:cubicBezTo>
                  <a:cubicBezTo>
                    <a:pt x="1105633" y="97242"/>
                    <a:pt x="1108671" y="91166"/>
                    <a:pt x="1117785" y="88128"/>
                  </a:cubicBezTo>
                  <a:cubicBezTo>
                    <a:pt x="1120824" y="85090"/>
                    <a:pt x="1124621" y="84331"/>
                    <a:pt x="1128799" y="85470"/>
                  </a:cubicBezTo>
                  <a:close/>
                  <a:moveTo>
                    <a:pt x="515112" y="85470"/>
                  </a:moveTo>
                  <a:cubicBezTo>
                    <a:pt x="519291" y="86609"/>
                    <a:pt x="523848" y="89647"/>
                    <a:pt x="528402" y="94204"/>
                  </a:cubicBezTo>
                  <a:cubicBezTo>
                    <a:pt x="537516" y="103318"/>
                    <a:pt x="531440" y="112433"/>
                    <a:pt x="522328" y="118509"/>
                  </a:cubicBezTo>
                  <a:cubicBezTo>
                    <a:pt x="516251" y="121547"/>
                    <a:pt x="504099" y="124585"/>
                    <a:pt x="498023" y="112433"/>
                  </a:cubicBezTo>
                  <a:cubicBezTo>
                    <a:pt x="491947" y="100280"/>
                    <a:pt x="491947" y="94204"/>
                    <a:pt x="504099" y="88128"/>
                  </a:cubicBezTo>
                  <a:cubicBezTo>
                    <a:pt x="507138" y="85090"/>
                    <a:pt x="510935" y="84331"/>
                    <a:pt x="515112" y="85470"/>
                  </a:cubicBezTo>
                  <a:close/>
                  <a:moveTo>
                    <a:pt x="682203" y="73318"/>
                  </a:moveTo>
                  <a:cubicBezTo>
                    <a:pt x="686381" y="74457"/>
                    <a:pt x="690938" y="77495"/>
                    <a:pt x="695495" y="82052"/>
                  </a:cubicBezTo>
                  <a:cubicBezTo>
                    <a:pt x="704609" y="91166"/>
                    <a:pt x="698533" y="100281"/>
                    <a:pt x="689419" y="106357"/>
                  </a:cubicBezTo>
                  <a:cubicBezTo>
                    <a:pt x="683343" y="109395"/>
                    <a:pt x="671190" y="112433"/>
                    <a:pt x="665114" y="100281"/>
                  </a:cubicBezTo>
                  <a:cubicBezTo>
                    <a:pt x="659038" y="88128"/>
                    <a:pt x="662076" y="79014"/>
                    <a:pt x="671190" y="75976"/>
                  </a:cubicBezTo>
                  <a:cubicBezTo>
                    <a:pt x="674228" y="72938"/>
                    <a:pt x="678026" y="72178"/>
                    <a:pt x="682203" y="73318"/>
                  </a:cubicBezTo>
                  <a:close/>
                  <a:moveTo>
                    <a:pt x="159669" y="67242"/>
                  </a:moveTo>
                  <a:cubicBezTo>
                    <a:pt x="163846" y="68381"/>
                    <a:pt x="168403" y="71419"/>
                    <a:pt x="172960" y="75976"/>
                  </a:cubicBezTo>
                  <a:cubicBezTo>
                    <a:pt x="182074" y="85090"/>
                    <a:pt x="175998" y="94205"/>
                    <a:pt x="166884" y="100281"/>
                  </a:cubicBezTo>
                  <a:cubicBezTo>
                    <a:pt x="160807" y="103319"/>
                    <a:pt x="148655" y="106357"/>
                    <a:pt x="142579" y="94205"/>
                  </a:cubicBezTo>
                  <a:cubicBezTo>
                    <a:pt x="136504" y="82052"/>
                    <a:pt x="139542" y="75976"/>
                    <a:pt x="148655" y="69900"/>
                  </a:cubicBezTo>
                  <a:cubicBezTo>
                    <a:pt x="151694" y="66862"/>
                    <a:pt x="155491" y="66102"/>
                    <a:pt x="159669" y="67242"/>
                  </a:cubicBezTo>
                  <a:close/>
                  <a:moveTo>
                    <a:pt x="1453871" y="58127"/>
                  </a:moveTo>
                  <a:cubicBezTo>
                    <a:pt x="1458049" y="59266"/>
                    <a:pt x="1462606" y="62304"/>
                    <a:pt x="1467163" y="66861"/>
                  </a:cubicBezTo>
                  <a:cubicBezTo>
                    <a:pt x="1476277" y="75975"/>
                    <a:pt x="1467163" y="88128"/>
                    <a:pt x="1461087" y="91166"/>
                  </a:cubicBezTo>
                  <a:cubicBezTo>
                    <a:pt x="1455010" y="94204"/>
                    <a:pt x="1442858" y="97242"/>
                    <a:pt x="1436782" y="85090"/>
                  </a:cubicBezTo>
                  <a:cubicBezTo>
                    <a:pt x="1430706" y="72937"/>
                    <a:pt x="1430706" y="66861"/>
                    <a:pt x="1442858" y="60785"/>
                  </a:cubicBezTo>
                  <a:cubicBezTo>
                    <a:pt x="1445896" y="57747"/>
                    <a:pt x="1449694" y="56987"/>
                    <a:pt x="1453871" y="58127"/>
                  </a:cubicBezTo>
                  <a:close/>
                  <a:moveTo>
                    <a:pt x="47254" y="58127"/>
                  </a:moveTo>
                  <a:cubicBezTo>
                    <a:pt x="51432" y="59266"/>
                    <a:pt x="55989" y="62304"/>
                    <a:pt x="60546" y="66861"/>
                  </a:cubicBezTo>
                  <a:cubicBezTo>
                    <a:pt x="69660" y="75975"/>
                    <a:pt x="63584" y="85090"/>
                    <a:pt x="54470" y="91166"/>
                  </a:cubicBezTo>
                  <a:cubicBezTo>
                    <a:pt x="48394" y="94204"/>
                    <a:pt x="36241" y="97242"/>
                    <a:pt x="30165" y="85090"/>
                  </a:cubicBezTo>
                  <a:cubicBezTo>
                    <a:pt x="24089" y="72937"/>
                    <a:pt x="24089" y="66861"/>
                    <a:pt x="36241" y="60785"/>
                  </a:cubicBezTo>
                  <a:cubicBezTo>
                    <a:pt x="39279" y="57747"/>
                    <a:pt x="43077" y="56987"/>
                    <a:pt x="47254" y="58127"/>
                  </a:cubicBezTo>
                  <a:close/>
                  <a:moveTo>
                    <a:pt x="314611" y="55089"/>
                  </a:moveTo>
                  <a:cubicBezTo>
                    <a:pt x="318789" y="56228"/>
                    <a:pt x="323346" y="59266"/>
                    <a:pt x="327903" y="63823"/>
                  </a:cubicBezTo>
                  <a:cubicBezTo>
                    <a:pt x="337017" y="72937"/>
                    <a:pt x="327903" y="85090"/>
                    <a:pt x="321827" y="88128"/>
                  </a:cubicBezTo>
                  <a:cubicBezTo>
                    <a:pt x="315751" y="91166"/>
                    <a:pt x="303598" y="94204"/>
                    <a:pt x="297522" y="82052"/>
                  </a:cubicBezTo>
                  <a:cubicBezTo>
                    <a:pt x="291446" y="69899"/>
                    <a:pt x="294484" y="60785"/>
                    <a:pt x="303598" y="57747"/>
                  </a:cubicBezTo>
                  <a:cubicBezTo>
                    <a:pt x="306636" y="54709"/>
                    <a:pt x="310434" y="53949"/>
                    <a:pt x="314611" y="55089"/>
                  </a:cubicBezTo>
                  <a:close/>
                  <a:moveTo>
                    <a:pt x="885754" y="52051"/>
                  </a:moveTo>
                  <a:cubicBezTo>
                    <a:pt x="889932" y="53190"/>
                    <a:pt x="894489" y="56228"/>
                    <a:pt x="899046" y="60785"/>
                  </a:cubicBezTo>
                  <a:cubicBezTo>
                    <a:pt x="908160" y="69899"/>
                    <a:pt x="902084" y="79014"/>
                    <a:pt x="892970" y="85090"/>
                  </a:cubicBezTo>
                  <a:cubicBezTo>
                    <a:pt x="886894" y="88128"/>
                    <a:pt x="874741" y="91166"/>
                    <a:pt x="868665" y="79014"/>
                  </a:cubicBezTo>
                  <a:cubicBezTo>
                    <a:pt x="862589" y="63823"/>
                    <a:pt x="865627" y="57747"/>
                    <a:pt x="874741" y="54709"/>
                  </a:cubicBezTo>
                  <a:cubicBezTo>
                    <a:pt x="877779" y="51671"/>
                    <a:pt x="881577" y="50912"/>
                    <a:pt x="885754" y="52051"/>
                  </a:cubicBezTo>
                  <a:close/>
                  <a:moveTo>
                    <a:pt x="1341464" y="39899"/>
                  </a:moveTo>
                  <a:cubicBezTo>
                    <a:pt x="1345641" y="41038"/>
                    <a:pt x="1350198" y="44076"/>
                    <a:pt x="1354755" y="48633"/>
                  </a:cubicBezTo>
                  <a:cubicBezTo>
                    <a:pt x="1363869" y="57747"/>
                    <a:pt x="1357793" y="66862"/>
                    <a:pt x="1348679" y="72938"/>
                  </a:cubicBezTo>
                  <a:cubicBezTo>
                    <a:pt x="1342603" y="75976"/>
                    <a:pt x="1330450" y="79014"/>
                    <a:pt x="1324374" y="66862"/>
                  </a:cubicBezTo>
                  <a:cubicBezTo>
                    <a:pt x="1318298" y="51671"/>
                    <a:pt x="1321336" y="45595"/>
                    <a:pt x="1330450" y="42557"/>
                  </a:cubicBezTo>
                  <a:cubicBezTo>
                    <a:pt x="1333489" y="39519"/>
                    <a:pt x="1337286" y="38760"/>
                    <a:pt x="1341464" y="39899"/>
                  </a:cubicBezTo>
                  <a:close/>
                  <a:moveTo>
                    <a:pt x="1204751" y="27747"/>
                  </a:moveTo>
                  <a:cubicBezTo>
                    <a:pt x="1208928" y="28886"/>
                    <a:pt x="1213485" y="31924"/>
                    <a:pt x="1218042" y="36481"/>
                  </a:cubicBezTo>
                  <a:cubicBezTo>
                    <a:pt x="1227156" y="45595"/>
                    <a:pt x="1218042" y="57748"/>
                    <a:pt x="1211966" y="60786"/>
                  </a:cubicBezTo>
                  <a:cubicBezTo>
                    <a:pt x="1205890" y="63824"/>
                    <a:pt x="1193737" y="66862"/>
                    <a:pt x="1187661" y="54710"/>
                  </a:cubicBezTo>
                  <a:cubicBezTo>
                    <a:pt x="1181585" y="42557"/>
                    <a:pt x="1184623" y="33443"/>
                    <a:pt x="1193737" y="30405"/>
                  </a:cubicBezTo>
                  <a:cubicBezTo>
                    <a:pt x="1196776" y="27367"/>
                    <a:pt x="1200573" y="26608"/>
                    <a:pt x="1204751" y="27747"/>
                  </a:cubicBezTo>
                  <a:close/>
                  <a:moveTo>
                    <a:pt x="979933" y="21671"/>
                  </a:moveTo>
                  <a:cubicBezTo>
                    <a:pt x="984110" y="22810"/>
                    <a:pt x="988668" y="25848"/>
                    <a:pt x="993225" y="30405"/>
                  </a:cubicBezTo>
                  <a:cubicBezTo>
                    <a:pt x="1002339" y="39519"/>
                    <a:pt x="993225" y="51672"/>
                    <a:pt x="987149" y="54710"/>
                  </a:cubicBezTo>
                  <a:cubicBezTo>
                    <a:pt x="981072" y="57748"/>
                    <a:pt x="968920" y="60786"/>
                    <a:pt x="962844" y="48634"/>
                  </a:cubicBezTo>
                  <a:cubicBezTo>
                    <a:pt x="956768" y="36481"/>
                    <a:pt x="956768" y="27367"/>
                    <a:pt x="968920" y="24329"/>
                  </a:cubicBezTo>
                  <a:cubicBezTo>
                    <a:pt x="971958" y="21291"/>
                    <a:pt x="975756" y="20531"/>
                    <a:pt x="979933" y="21671"/>
                  </a:cubicBezTo>
                  <a:close/>
                  <a:moveTo>
                    <a:pt x="451312" y="8759"/>
                  </a:moveTo>
                  <a:cubicBezTo>
                    <a:pt x="455488" y="9899"/>
                    <a:pt x="460045" y="13696"/>
                    <a:pt x="464603" y="21291"/>
                  </a:cubicBezTo>
                  <a:cubicBezTo>
                    <a:pt x="473718" y="30405"/>
                    <a:pt x="464603" y="42558"/>
                    <a:pt x="458526" y="45596"/>
                  </a:cubicBezTo>
                  <a:cubicBezTo>
                    <a:pt x="452451" y="48634"/>
                    <a:pt x="440301" y="51672"/>
                    <a:pt x="434225" y="39520"/>
                  </a:cubicBezTo>
                  <a:cubicBezTo>
                    <a:pt x="428151" y="24329"/>
                    <a:pt x="431188" y="18253"/>
                    <a:pt x="440301" y="12177"/>
                  </a:cubicBezTo>
                  <a:cubicBezTo>
                    <a:pt x="443339" y="9139"/>
                    <a:pt x="447135" y="7620"/>
                    <a:pt x="451312" y="8759"/>
                  </a:cubicBezTo>
                  <a:close/>
                  <a:moveTo>
                    <a:pt x="1049824" y="0"/>
                  </a:moveTo>
                  <a:lnTo>
                    <a:pt x="1083563" y="0"/>
                  </a:lnTo>
                  <a:lnTo>
                    <a:pt x="1083987" y="2304"/>
                  </a:lnTo>
                  <a:cubicBezTo>
                    <a:pt x="1082089" y="6861"/>
                    <a:pt x="1078291" y="10659"/>
                    <a:pt x="1075253" y="12178"/>
                  </a:cubicBezTo>
                  <a:cubicBezTo>
                    <a:pt x="1069177" y="15216"/>
                    <a:pt x="1057024" y="18254"/>
                    <a:pt x="1050948" y="6102"/>
                  </a:cubicBezTo>
                  <a:close/>
                  <a:moveTo>
                    <a:pt x="773962" y="0"/>
                  </a:moveTo>
                  <a:lnTo>
                    <a:pt x="806875" y="0"/>
                  </a:lnTo>
                  <a:lnTo>
                    <a:pt x="798790" y="9140"/>
                  </a:lnTo>
                  <a:cubicBezTo>
                    <a:pt x="792714" y="12178"/>
                    <a:pt x="780561" y="15216"/>
                    <a:pt x="774485" y="3064"/>
                  </a:cubicBezTo>
                  <a:close/>
                  <a:moveTo>
                    <a:pt x="659033" y="0"/>
                  </a:moveTo>
                  <a:lnTo>
                    <a:pt x="688741" y="0"/>
                  </a:lnTo>
                  <a:lnTo>
                    <a:pt x="683343" y="6102"/>
                  </a:lnTo>
                  <a:cubicBezTo>
                    <a:pt x="677266" y="9140"/>
                    <a:pt x="665114" y="12178"/>
                    <a:pt x="659038" y="26"/>
                  </a:cubicBezTo>
                  <a:close/>
                  <a:moveTo>
                    <a:pt x="558807" y="0"/>
                  </a:moveTo>
                  <a:lnTo>
                    <a:pt x="589125" y="0"/>
                  </a:lnTo>
                  <a:lnTo>
                    <a:pt x="589163" y="25"/>
                  </a:lnTo>
                  <a:cubicBezTo>
                    <a:pt x="598277" y="9139"/>
                    <a:pt x="592201" y="18254"/>
                    <a:pt x="583087" y="24330"/>
                  </a:cubicBezTo>
                  <a:cubicBezTo>
                    <a:pt x="577011" y="27368"/>
                    <a:pt x="564858" y="30406"/>
                    <a:pt x="558782" y="18254"/>
                  </a:cubicBezTo>
                  <a:cubicBezTo>
                    <a:pt x="555744" y="12177"/>
                    <a:pt x="554985" y="6861"/>
                    <a:pt x="556124" y="2683"/>
                  </a:cubicBezTo>
                  <a:close/>
                  <a:moveTo>
                    <a:pt x="189731" y="0"/>
                  </a:moveTo>
                  <a:lnTo>
                    <a:pt x="223240" y="0"/>
                  </a:lnTo>
                  <a:lnTo>
                    <a:pt x="224224" y="5342"/>
                  </a:lnTo>
                  <a:cubicBezTo>
                    <a:pt x="222326" y="9899"/>
                    <a:pt x="218528" y="13697"/>
                    <a:pt x="215490" y="15216"/>
                  </a:cubicBezTo>
                  <a:cubicBezTo>
                    <a:pt x="209414" y="18254"/>
                    <a:pt x="197261" y="21292"/>
                    <a:pt x="191185" y="9140"/>
                  </a:cubicBezTo>
                  <a:close/>
                </a:path>
              </a:pathLst>
            </a:custGeom>
            <a:solidFill>
              <a:schemeClr val="bg1"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FA44F79-4391-C9C1-F6B0-A182E50519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1325880" y="1947672"/>
            <a:ext cx="5961888" cy="2788920"/>
          </a:xfrm>
        </p:spPr>
        <p:txBody>
          <a:bodyPr anchor="ctr">
            <a:normAutofit/>
          </a:bodyPr>
          <a:lstStyle/>
          <a:p>
            <a:r>
              <a:rPr lang="en-US" sz="4800">
                <a:solidFill>
                  <a:schemeClr val="bg1"/>
                </a:solidFill>
                <a:ea typeface="Lato Medium"/>
                <a:cs typeface="Lato Medium"/>
              </a:rPr>
              <a:t>Getting to your Breakout Room</a:t>
            </a:r>
            <a:endParaRPr lang="en-US" sz="4800">
              <a:solidFill>
                <a:schemeClr val="bg1"/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F9D9A37-8BDA-44CE-969E-5E362437A8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 rot="5400000">
            <a:off x="10040112" y="4032504"/>
            <a:ext cx="3657600" cy="64008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 sz="1000">
                <a:solidFill>
                  <a:schemeClr val="tx2"/>
                </a:solidFill>
              </a:rPr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10066C-930F-D60C-0388-2A8944FBCC3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48872" y="6217920"/>
            <a:ext cx="640080" cy="640080"/>
          </a:xfrm>
        </p:spPr>
        <p:txBody>
          <a:bodyPr>
            <a:normAutofit/>
          </a:bodyPr>
          <a:lstStyle/>
          <a:p>
            <a:pPr algn="ctr">
              <a:spcAft>
                <a:spcPts val="600"/>
              </a:spcAft>
            </a:pPr>
            <a:fld id="{97033E4B-E3EB-3D46-B2D8-3159663620FA}" type="slidenum">
              <a:rPr lang="en-US" sz="1600">
                <a:solidFill>
                  <a:schemeClr val="tx2"/>
                </a:solidFill>
              </a:rPr>
              <a:pPr algn="ctr">
                <a:spcAft>
                  <a:spcPts val="600"/>
                </a:spcAft>
              </a:pPr>
              <a:t>23</a:t>
            </a:fld>
            <a:endParaRPr lang="en-US" sz="1600">
              <a:solidFill>
                <a:schemeClr val="tx2"/>
              </a:solidFill>
            </a:endParaRPr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848ED93B-D91F-BAAB-B78D-50535FBA287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57972551"/>
              </p:ext>
            </p:extLst>
          </p:nvPr>
        </p:nvGraphicFramePr>
        <p:xfrm>
          <a:off x="3794296" y="288758"/>
          <a:ext cx="7559504" cy="62852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0495051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05C50BE0-A778-E29F-ED7C-ED25F3025572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45453980"/>
              </p:ext>
            </p:extLst>
          </p:nvPr>
        </p:nvGraphicFramePr>
        <p:xfrm>
          <a:off x="0" y="0"/>
          <a:ext cx="12187472" cy="691719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3662">
                  <a:extLst>
                    <a:ext uri="{9D8B030D-6E8A-4147-A177-3AD203B41FA5}">
                      <a16:colId xmlns:a16="http://schemas.microsoft.com/office/drawing/2014/main" val="3295137022"/>
                    </a:ext>
                  </a:extLst>
                </a:gridCol>
                <a:gridCol w="2311327">
                  <a:extLst>
                    <a:ext uri="{9D8B030D-6E8A-4147-A177-3AD203B41FA5}">
                      <a16:colId xmlns:a16="http://schemas.microsoft.com/office/drawing/2014/main" val="1887776084"/>
                    </a:ext>
                  </a:extLst>
                </a:gridCol>
                <a:gridCol w="2652346">
                  <a:extLst>
                    <a:ext uri="{9D8B030D-6E8A-4147-A177-3AD203B41FA5}">
                      <a16:colId xmlns:a16="http://schemas.microsoft.com/office/drawing/2014/main" val="4188793297"/>
                    </a:ext>
                  </a:extLst>
                </a:gridCol>
                <a:gridCol w="2403229">
                  <a:extLst>
                    <a:ext uri="{9D8B030D-6E8A-4147-A177-3AD203B41FA5}">
                      <a16:colId xmlns:a16="http://schemas.microsoft.com/office/drawing/2014/main" val="1202869173"/>
                    </a:ext>
                  </a:extLst>
                </a:gridCol>
                <a:gridCol w="2256908">
                  <a:extLst>
                    <a:ext uri="{9D8B030D-6E8A-4147-A177-3AD203B41FA5}">
                      <a16:colId xmlns:a16="http://schemas.microsoft.com/office/drawing/2014/main" val="3584067022"/>
                    </a:ext>
                  </a:extLst>
                </a:gridCol>
              </a:tblGrid>
              <a:tr h="331500">
                <a:tc>
                  <a:txBody>
                    <a:bodyPr/>
                    <a:lstStyle/>
                    <a:p>
                      <a:r>
                        <a:rPr lang="en-US" dirty="0"/>
                        <a:t>Group 1: Level I&amp;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roup 2: Level I&amp;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roup 3: Level II+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roup 4: Level III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Group 5: Level III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82063743"/>
                  </a:ext>
                </a:extLst>
              </a:tr>
              <a:tr h="280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OSF St. Jam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M Kishwaukee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Elmhurst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orthwestern Memo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HSHS St. John's Hospital</a:t>
                      </a:r>
                      <a:endParaRPr lang="en-US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40240512"/>
                  </a:ext>
                </a:extLst>
              </a:tr>
              <a:tr h="280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Crawford Memorial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M Valley West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OSF Little Company of Ma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Edward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M Central DuPag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8765943"/>
                  </a:ext>
                </a:extLst>
              </a:tr>
              <a:tr h="280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lton Memorial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orthShore Highland Par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Riverside Medical Center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err="1">
                          <a:effectLst/>
                        </a:rPr>
                        <a:t>AdventHealth</a:t>
                      </a:r>
                      <a:r>
                        <a:rPr lang="en-US" sz="1500" dirty="0">
                          <a:effectLst/>
                        </a:rPr>
                        <a:t> Hinsdale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orthShore Evansto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65458471"/>
                  </a:ext>
                </a:extLst>
              </a:tr>
              <a:tr h="3223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nderson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OSF Sacred Hear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Ingalls Memorial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dvocate Chris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orthwest Community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4276421"/>
                  </a:ext>
                </a:extLst>
              </a:tr>
              <a:tr h="317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scension Mer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OSF St. Elizabeth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scension SMEMC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dvocate Illinois Masonic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OSF St. Francis </a:t>
                      </a:r>
                      <a:endParaRPr lang="en-US" sz="1500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1709088"/>
                  </a:ext>
                </a:extLst>
              </a:tr>
              <a:tr h="3223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Carle BroMenn </a:t>
                      </a:r>
                      <a:endParaRPr lang="en-US" sz="150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OSF St. Mary </a:t>
                      </a:r>
                      <a:endParaRPr lang="en-US" sz="150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dvocate Good Shepherd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dvocate Lutheran Gener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Rush Universit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936674"/>
                  </a:ext>
                </a:extLst>
              </a:tr>
              <a:tr h="280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Carle Richland Memorial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Palos Community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dvocate Condell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scension Saint Alexius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Rush-Copley </a:t>
                      </a:r>
                      <a:endParaRPr lang="en-US" sz="1500"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38692"/>
                  </a:ext>
                </a:extLst>
              </a:tr>
              <a:tr h="317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FHN Memorial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Sarah Bush Lincoln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M </a:t>
                      </a:r>
                      <a:r>
                        <a:rPr lang="en-US" sz="1500" err="1">
                          <a:effectLst/>
                        </a:rPr>
                        <a:t>Delnor</a:t>
                      </a:r>
                      <a:r>
                        <a:rPr lang="en-US" sz="1500" dirty="0">
                          <a:effectLst/>
                        </a:rPr>
                        <a:t>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scension St. Joseph - Chi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SSM St. Mary's - </a:t>
                      </a:r>
                      <a:r>
                        <a:rPr lang="en-US" sz="1500" err="1">
                          <a:effectLst/>
                        </a:rPr>
                        <a:t>St.Louis</a:t>
                      </a:r>
                      <a:endParaRPr lang="en-US" sz="15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315129"/>
                  </a:ext>
                </a:extLst>
              </a:tr>
              <a:tr h="280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Gibson Area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Silver Cross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M Lake Forest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Barnes-Jewish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Stroger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19991364"/>
                  </a:ext>
                </a:extLst>
              </a:tr>
              <a:tr h="3223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Graham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SSM Good Samaritan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scension Resurr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Javon Bea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Swedish Americ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01064464"/>
                  </a:ext>
                </a:extLst>
              </a:tr>
              <a:tr h="337038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HSHS St. Anthony's Memo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St. Anthony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scension Alexian Brothers MC 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Loyola University M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University of Chicago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3354220"/>
                  </a:ext>
                </a:extLst>
              </a:tr>
              <a:tr h="3223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HSHS St. Elizabeth's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St. Joseph Hospital - Breese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dvocate Sherman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University of Illinoi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Advocate Good Samaritan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9557923"/>
                  </a:ext>
                </a:extLst>
              </a:tr>
              <a:tr h="3223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Katherine Shaw Bethea (KSB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Swedish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Franciscan Health Olympia Fields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8732573"/>
                  </a:ext>
                </a:extLst>
              </a:tr>
              <a:tr h="280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MacNeal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UPH- Methodis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OSF St. Anthony - Rockford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8909267"/>
                  </a:ext>
                </a:extLst>
              </a:tr>
              <a:tr h="280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McDonough District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Vista Medical Center East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OSF Heart of Mary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4194220"/>
                  </a:ext>
                </a:extLst>
              </a:tr>
              <a:tr h="280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Memorial Hospital East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West Suburban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UnityPoint Health Trinity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1162212"/>
                  </a:ext>
                </a:extLst>
              </a:tr>
              <a:tr h="3223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Memorial Medical Center 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err="1">
                          <a:effectLst/>
                        </a:rPr>
                        <a:t>AdventHealth</a:t>
                      </a:r>
                      <a:r>
                        <a:rPr lang="en-US" sz="1500" dirty="0">
                          <a:effectLst/>
                        </a:rPr>
                        <a:t> Bolingbrook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450" dirty="0">
                          <a:effectLst/>
                        </a:rPr>
                        <a:t>Memorial Hospital of Carbondale</a:t>
                      </a:r>
                      <a:endParaRPr lang="en-US" sz="145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42413043"/>
                  </a:ext>
                </a:extLst>
              </a:tr>
              <a:tr h="322384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Morris Hospital </a:t>
                      </a:r>
                      <a:endParaRPr lang="en-US" sz="1500"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HSHS St. Francis- Litchfield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1750484"/>
                  </a:ext>
                </a:extLst>
              </a:tr>
              <a:tr h="280500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NM Huntley Hospital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500" dirty="0">
                          <a:effectLst/>
                        </a:rPr>
                        <a:t>CGH Medical Center</a:t>
                      </a: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5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5096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3684727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LPQC is here to help you </a:t>
            </a:r>
            <a:br>
              <a:rPr lang="en-US"/>
            </a:br>
            <a:r>
              <a:rPr lang="en-US"/>
              <a:t>get across the finish line!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721406750"/>
              </p:ext>
            </p:extLst>
          </p:nvPr>
        </p:nvGraphicFramePr>
        <p:xfrm>
          <a:off x="284814" y="1735823"/>
          <a:ext cx="7929796" cy="44701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8607048" y="1690688"/>
            <a:ext cx="3584952" cy="5538421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Lato"/>
                <a:cs typeface="Lato"/>
              </a:rPr>
              <a:t>We are here to help!</a:t>
            </a:r>
          </a:p>
          <a:p>
            <a:r>
              <a:rPr lang="en-US">
                <a:ea typeface="Lato"/>
                <a:cs typeface="Lato"/>
              </a:rPr>
              <a:t>We are here to support!</a:t>
            </a:r>
          </a:p>
          <a:p>
            <a:r>
              <a:rPr lang="en-US">
                <a:ea typeface="Lato"/>
                <a:cs typeface="Lato"/>
              </a:rPr>
              <a:t>Schedule a </a:t>
            </a:r>
            <a:r>
              <a:rPr lang="en-US" b="1" u="sng">
                <a:ea typeface="Lato"/>
                <a:cs typeface="Lato"/>
              </a:rPr>
              <a:t>personalized QI Support Call</a:t>
            </a:r>
            <a:r>
              <a:rPr lang="en-US">
                <a:ea typeface="Lato"/>
                <a:cs typeface="Lato"/>
              </a:rPr>
              <a:t>, email </a:t>
            </a:r>
            <a:r>
              <a:rPr lang="en-US">
                <a:ea typeface="Lato"/>
                <a:cs typeface="Lato"/>
                <a:hlinkClick r:id="rId9"/>
              </a:rPr>
              <a:t>info@ilpqc.org</a:t>
            </a:r>
            <a:r>
              <a:rPr lang="en-US">
                <a:ea typeface="Lato"/>
                <a:cs typeface="Lato"/>
              </a:rPr>
              <a:t> to schedule a check-in call </a:t>
            </a:r>
          </a:p>
          <a:p>
            <a:r>
              <a:rPr lang="en-US">
                <a:ea typeface="Lato"/>
                <a:cs typeface="Lato"/>
              </a:rPr>
              <a:t>Check-in calls planned with </a:t>
            </a:r>
            <a:r>
              <a:rPr lang="en-US" u="sng">
                <a:ea typeface="Lato"/>
                <a:cs typeface="Lato"/>
              </a:rPr>
              <a:t>all teams not yet achieving key aims</a:t>
            </a:r>
            <a:r>
              <a:rPr lang="en-US">
                <a:ea typeface="Lato"/>
                <a:cs typeface="Lato"/>
              </a:rPr>
              <a:t>. </a:t>
            </a:r>
          </a:p>
          <a:p>
            <a:pPr marL="0" indent="0">
              <a:buNone/>
            </a:pPr>
            <a:endParaRPr lang="en-US"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4274643059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581" y="172509"/>
            <a:ext cx="10972800" cy="1325563"/>
          </a:xfrm>
          <a:noFill/>
        </p:spPr>
        <p:txBody>
          <a:bodyPr/>
          <a:lstStyle/>
          <a:p>
            <a:r>
              <a:rPr lang="en-US" dirty="0">
                <a:ea typeface="Lato Medium"/>
                <a:cs typeface="Lato Medium"/>
              </a:rPr>
              <a:t>Upcoming PVB Ca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033E4B-E3EB-3D46-B2D8-3159663620F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79818A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79818A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444C55">
                    <a:tint val="75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llinois Perinatal Quality Collaborative</a:t>
            </a:r>
          </a:p>
        </p:txBody>
      </p:sp>
      <p:graphicFrame>
        <p:nvGraphicFramePr>
          <p:cNvPr id="458" name="Table 458">
            <a:extLst>
              <a:ext uri="{FF2B5EF4-FFF2-40B4-BE49-F238E27FC236}">
                <a16:creationId xmlns:a16="http://schemas.microsoft.com/office/drawing/2014/main" id="{6B8DD92D-FC61-B8CD-3116-E6D4BC770D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7818768"/>
              </p:ext>
            </p:extLst>
          </p:nvPr>
        </p:nvGraphicFramePr>
        <p:xfrm>
          <a:off x="272814" y="1631382"/>
          <a:ext cx="9706583" cy="453021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4367280">
                  <a:extLst>
                    <a:ext uri="{9D8B030D-6E8A-4147-A177-3AD203B41FA5}">
                      <a16:colId xmlns:a16="http://schemas.microsoft.com/office/drawing/2014/main" val="2337264793"/>
                    </a:ext>
                  </a:extLst>
                </a:gridCol>
                <a:gridCol w="5339303">
                  <a:extLst>
                    <a:ext uri="{9D8B030D-6E8A-4147-A177-3AD203B41FA5}">
                      <a16:colId xmlns:a16="http://schemas.microsoft.com/office/drawing/2014/main" val="1898119252"/>
                    </a:ext>
                  </a:extLst>
                </a:gridCol>
              </a:tblGrid>
              <a:tr h="733777"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Event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u="sng" dirty="0">
                          <a:solidFill>
                            <a:srgbClr val="000000"/>
                          </a:solidFill>
                        </a:rPr>
                        <a:t>Day/Time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2244632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Calibri"/>
                        </a:rPr>
                        <a:t>October 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No PVB Webinar</a:t>
                      </a:r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61277404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Annual Conference</a:t>
                      </a:r>
                      <a:r>
                        <a:rPr lang="en-US" sz="2400" b="1" i="0" u="none" strike="noStrike" baseline="0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 2023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ursday, November 2nd</a:t>
                      </a:r>
                    </a:p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Westin Lombard, Illinois 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663686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PVB Webinar – November 2023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Monday September 25</a:t>
                      </a:r>
                      <a:r>
                        <a:rPr lang="en-US" sz="2400" b="1" i="0" u="none" strike="noStrike" kern="1200" baseline="300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th</a:t>
                      </a:r>
                      <a:r>
                        <a:rPr lang="en-US" sz="2400" b="1" i="0" u="none" strike="noStrike" kern="1200" baseline="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 at 12:30 PM</a:t>
                      </a:r>
                      <a:endParaRPr lang="en-US" sz="2400" b="1" i="0" u="none" strike="noStrike" kern="1200" noProof="0" dirty="0">
                        <a:solidFill>
                          <a:schemeClr val="accent1"/>
                        </a:solidFill>
                        <a:latin typeface="Calibri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6580426"/>
                  </a:ext>
                </a:extLst>
              </a:tr>
              <a:tr h="94911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i="0" u="none" strike="noStrike" noProof="0" dirty="0">
                          <a:solidFill>
                            <a:schemeClr val="accent1"/>
                          </a:solidFill>
                          <a:latin typeface="+mn-lt"/>
                        </a:rPr>
                        <a:t>December 2023</a:t>
                      </a: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0" marR="0" lvl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444C55"/>
                        </a:buClr>
                        <a:buNone/>
                      </a:pPr>
                      <a:endParaRPr lang="en-US" sz="2400" b="0" i="0" u="none" strike="noStrike" noProof="0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indent="0">
                        <a:buFont typeface="Arial"/>
                        <a:buNone/>
                      </a:pPr>
                      <a:r>
                        <a:rPr lang="en-US" sz="2400" b="1" i="0" u="none" strike="noStrike" kern="1200" noProof="0" dirty="0">
                          <a:solidFill>
                            <a:schemeClr val="accent1"/>
                          </a:solidFill>
                          <a:latin typeface="Calibri"/>
                          <a:ea typeface="+mn-ea"/>
                          <a:cs typeface="+mn-cs"/>
                        </a:rPr>
                        <a:t>No PVB Webina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69411668"/>
                  </a:ext>
                </a:extLst>
              </a:tr>
            </a:tbl>
          </a:graphicData>
        </a:graphic>
      </p:graphicFrame>
      <p:pic>
        <p:nvPicPr>
          <p:cNvPr id="479" name="Graphic 479" descr="Daily calendar with solid fill">
            <a:extLst>
              <a:ext uri="{FF2B5EF4-FFF2-40B4-BE49-F238E27FC236}">
                <a16:creationId xmlns:a16="http://schemas.microsoft.com/office/drawing/2014/main" id="{843CD5E3-5569-66AE-9C08-081E41E8E29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45910" y="2089272"/>
            <a:ext cx="2707630" cy="267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851755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p15"/>
          <p:cNvSpPr txBox="1">
            <a:spLocks noGrp="1"/>
          </p:cNvSpPr>
          <p:nvPr>
            <p:ph type="sldNum" idx="4294967295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rmAutofit/>
          </a:bodyPr>
          <a:lstStyle/>
          <a:p>
            <a:pPr>
              <a:buClr>
                <a:srgbClr val="AEB3B7"/>
              </a:buClr>
              <a:buSzPts val="900"/>
            </a:pPr>
            <a:fld id="{00000000-1234-1234-1234-123412341234}" type="slidenum">
              <a:rPr lang="en"/>
              <a:pPr>
                <a:buClr>
                  <a:srgbClr val="AEB3B7"/>
                </a:buClr>
                <a:buSzPts val="900"/>
              </a:pPr>
              <a:t>27</a:t>
            </a:fld>
            <a:endParaRPr/>
          </a:p>
        </p:txBody>
      </p:sp>
      <p:sp>
        <p:nvSpPr>
          <p:cNvPr id="73" name="Google Shape;73;p15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ctr" anchorCtr="0">
            <a:noAutofit/>
          </a:bodyPr>
          <a:lstStyle/>
          <a:p>
            <a:pPr algn="l">
              <a:buClr>
                <a:srgbClr val="919497"/>
              </a:buClr>
              <a:buSzPts val="900"/>
            </a:pPr>
            <a:r>
              <a:rPr lang="en" sz="1200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rPr>
              <a:t>Illinois Perinatal Quality Collaborative</a:t>
            </a:r>
            <a:endParaRPr/>
          </a:p>
        </p:txBody>
      </p:sp>
      <p:pic>
        <p:nvPicPr>
          <p:cNvPr id="74" name="Google Shape;74;p15" descr="Text&#10;&#10;Description automatically generated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2"/>
            <a:ext cx="6018675" cy="6282191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15"/>
          <p:cNvPicPr preferRelativeResize="0"/>
          <p:nvPr/>
        </p:nvPicPr>
        <p:blipFill>
          <a:blip r:embed="rId4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18675" y="0"/>
            <a:ext cx="6173327" cy="628217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5487124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FF9F46-075A-7D44-87A7-6A4A9F14E6A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68401" y="493618"/>
            <a:ext cx="4613127" cy="2566692"/>
          </a:xfrm>
        </p:spPr>
        <p:txBody>
          <a:bodyPr>
            <a:normAutofit/>
          </a:bodyPr>
          <a:lstStyle/>
          <a:p>
            <a:pPr algn="ctr"/>
            <a:r>
              <a:rPr lang="en-US" sz="4800">
                <a:solidFill>
                  <a:schemeClr val="tx2">
                    <a:lumMod val="50000"/>
                  </a:schemeClr>
                </a:solidFill>
              </a:rPr>
              <a:t>Thanks to our Funder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3D19BCB-87EC-2242-A60F-BDD660F18F1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3432" y="5248519"/>
            <a:ext cx="5194433" cy="986569"/>
          </a:xfrm>
        </p:spPr>
        <p:txBody>
          <a:bodyPr>
            <a:normAutofit/>
          </a:bodyPr>
          <a:lstStyle/>
          <a:p>
            <a:r>
              <a:rPr lang="en-US" sz="2800"/>
              <a:t>In kind support:</a:t>
            </a:r>
          </a:p>
        </p:txBody>
      </p:sp>
      <p:sp>
        <p:nvSpPr>
          <p:cNvPr id="5" name="Rectangle 4"/>
          <p:cNvSpPr/>
          <p:nvPr/>
        </p:nvSpPr>
        <p:spPr>
          <a:xfrm>
            <a:off x="5971607" y="3244334"/>
            <a:ext cx="24878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44C55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pic>
        <p:nvPicPr>
          <p:cNvPr id="1026" name="Picture 2" descr="Laboratory of Neurogenomics and Novel Therapies Web Site – Research and  Patient Care at Northwestern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1492" y="5826682"/>
            <a:ext cx="1627118" cy="5963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File:US CDC logo.svg - Wikimedia Commons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4461" y="4045643"/>
            <a:ext cx="1154729" cy="8720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s://cpcqc.org/wp-content/uploads/2021/03/aim.pn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68647" y="4069152"/>
            <a:ext cx="1382001" cy="7352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IDPH | Protecting health, improving lives.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184" y="3246774"/>
            <a:ext cx="1698317" cy="469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IDHS Logo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3297" b="97253" l="200" r="100000">
                        <a14:foregroundMark x1="31000" y1="30220" x2="31000" y2="30220"/>
                        <a14:foregroundMark x1="55600" y1="60989" x2="55600" y2="60989"/>
                        <a14:foregroundMark x1="56000" y1="59890" x2="56000" y2="59890"/>
                        <a14:foregroundMark x1="56400" y1="57143" x2="56400" y2="57143"/>
                        <a14:foregroundMark x1="53200" y1="63736" x2="53200" y2="63736"/>
                        <a14:foregroundMark x1="52800" y1="67582" x2="52800" y2="67582"/>
                        <a14:foregroundMark x1="51200" y1="72527" x2="51200" y2="72527"/>
                        <a14:foregroundMark x1="54000" y1="71429" x2="54000" y2="71429"/>
                        <a14:foregroundMark x1="56800" y1="69780" x2="56800" y2="69780"/>
                        <a14:foregroundMark x1="58400" y1="75824" x2="58400" y2="75824"/>
                        <a14:foregroundMark x1="57000" y1="74725" x2="57000" y2="74725"/>
                        <a14:foregroundMark x1="55800" y1="53846" x2="55800" y2="53846"/>
                        <a14:foregroundMark x1="55400" y1="45604" x2="55400" y2="45604"/>
                        <a14:foregroundMark x1="61600" y1="39560" x2="61600" y2="39560"/>
                        <a14:foregroundMark x1="62000" y1="50000" x2="62000" y2="50000"/>
                        <a14:foregroundMark x1="60400" y1="57692" x2="60400" y2="57692"/>
                        <a14:foregroundMark x1="61600" y1="58242" x2="61600" y2="58242"/>
                        <a14:foregroundMark x1="61400" y1="67033" x2="61400" y2="67033"/>
                        <a14:foregroundMark x1="65800" y1="57143" x2="65800" y2="57143"/>
                        <a14:foregroundMark x1="19600" y1="86264" x2="19600" y2="86264"/>
                        <a14:foregroundMark x1="23400" y1="90659" x2="23400" y2="90659"/>
                        <a14:foregroundMark x1="25000" y1="95055" x2="25000" y2="95055"/>
                        <a14:foregroundMark x1="26400" y1="89011" x2="26400" y2="89011"/>
                        <a14:foregroundMark x1="25200" y1="89560" x2="25200" y2="89560"/>
                        <a14:foregroundMark x1="28200" y1="93407" x2="28200" y2="93407"/>
                        <a14:foregroundMark x1="29800" y1="87912" x2="29800" y2="87912"/>
                        <a14:foregroundMark x1="31200" y1="89560" x2="31200" y2="89560"/>
                        <a14:foregroundMark x1="29400" y1="93956" x2="29400" y2="93956"/>
                        <a14:foregroundMark x1="32800" y1="89560" x2="32800" y2="89560"/>
                        <a14:foregroundMark x1="37000" y1="89011" x2="37000" y2="89011"/>
                        <a14:foregroundMark x1="41600" y1="91758" x2="41600" y2="91758"/>
                        <a14:foregroundMark x1="42600" y1="95604" x2="42600" y2="95604"/>
                        <a14:foregroundMark x1="46800" y1="88462" x2="46800" y2="88462"/>
                        <a14:foregroundMark x1="48200" y1="87363" x2="48200" y2="87363"/>
                        <a14:foregroundMark x1="51800" y1="90110" x2="51800" y2="90110"/>
                        <a14:foregroundMark x1="55200" y1="88462" x2="55200" y2="88462"/>
                        <a14:foregroundMark x1="59400" y1="89560" x2="59400" y2="89560"/>
                        <a14:foregroundMark x1="62200" y1="90110" x2="62200" y2="90110"/>
                        <a14:foregroundMark x1="64000" y1="90110" x2="64000" y2="90110"/>
                        <a14:foregroundMark x1="65400" y1="90110" x2="65400" y2="90110"/>
                        <a14:foregroundMark x1="71800" y1="90659" x2="71800" y2="90659"/>
                        <a14:foregroundMark x1="73600" y1="89011" x2="73600" y2="89011"/>
                        <a14:foregroundMark x1="70400" y1="88462" x2="70400" y2="88462"/>
                        <a14:foregroundMark x1="43600" y1="94505" x2="43600" y2="94505"/>
                        <a14:foregroundMark x1="78800" y1="88462" x2="78800" y2="88462"/>
                        <a14:foregroundMark x1="66200" y1="62637" x2="66200" y2="62637"/>
                        <a14:foregroundMark x1="90200" y1="85165" x2="90200" y2="85165"/>
                        <a14:foregroundMark x1="90200" y1="89011" x2="90200" y2="89011"/>
                        <a14:foregroundMark x1="87800" y1="94505" x2="87800" y2="94505"/>
                        <a14:foregroundMark x1="84800" y1="88462" x2="84800" y2="88462"/>
                        <a14:foregroundMark x1="91800" y1="89011" x2="91800" y2="89011"/>
                        <a14:foregroundMark x1="91400" y1="90110" x2="91400" y2="90110"/>
                        <a14:foregroundMark x1="93200" y1="89011" x2="93200" y2="89011"/>
                        <a14:foregroundMark x1="93400" y1="95055" x2="93400" y2="95055"/>
                        <a14:foregroundMark x1="94600" y1="88462" x2="94600" y2="88462"/>
                        <a14:foregroundMark x1="96200" y1="94505" x2="96200" y2="94505"/>
                        <a14:foregroundMark x1="97600" y1="94505" x2="97600" y2="94505"/>
                        <a14:foregroundMark x1="68400" y1="87363" x2="68400" y2="87363"/>
                        <a14:foregroundMark x1="72000" y1="95604" x2="72000" y2="95604"/>
                        <a14:foregroundMark x1="70400" y1="94505" x2="70400" y2="94505"/>
                        <a14:foregroundMark x1="81800" y1="93956" x2="81800" y2="93956"/>
                        <a14:foregroundMark x1="82800" y1="96154" x2="82800" y2="96154"/>
                        <a14:foregroundMark x1="99400" y1="93407" x2="99400" y2="93407"/>
                        <a14:foregroundMark x1="97600" y1="90110" x2="97600" y2="90110"/>
                        <a14:foregroundMark x1="94800" y1="95055" x2="94800" y2="95055"/>
                        <a14:foregroundMark x1="96400" y1="89560" x2="96400" y2="89560"/>
                        <a14:foregroundMark x1="99000" y1="88462" x2="99000" y2="88462"/>
                        <a14:foregroundMark x1="97400" y1="87912" x2="97400" y2="87912"/>
                        <a14:foregroundMark x1="97200" y1="89011" x2="97200" y2="89011"/>
                        <a14:foregroundMark x1="97200" y1="90110" x2="97200" y2="90110"/>
                        <a14:foregroundMark x1="45200" y1="89560" x2="45200" y2="89560"/>
                        <a14:foregroundMark x1="53600" y1="89560" x2="53600" y2="89560"/>
                        <a14:foregroundMark x1="43600" y1="90110" x2="43600" y2="90110"/>
                        <a14:foregroundMark x1="43600" y1="87912" x2="43600" y2="87912"/>
                        <a14:foregroundMark x1="15000" y1="88462" x2="15000" y2="88462"/>
                        <a14:foregroundMark x1="15000" y1="94505" x2="15000" y2="94505"/>
                        <a14:foregroundMark x1="13600" y1="84066" x2="13600" y2="84066"/>
                        <a14:foregroundMark x1="13600" y1="90659" x2="13600" y2="90659"/>
                        <a14:foregroundMark x1="12400" y1="90110" x2="12400" y2="90110"/>
                        <a14:foregroundMark x1="800" y1="86813" x2="800" y2="86813"/>
                        <a14:foregroundMark x1="2400" y1="85714" x2="2400" y2="85714"/>
                        <a14:foregroundMark x1="4200" y1="85714" x2="4200" y2="85714"/>
                        <a14:foregroundMark x1="5600" y1="87912" x2="5600" y2="87912"/>
                        <a14:foregroundMark x1="7200" y1="88462" x2="7200" y2="88462"/>
                        <a14:foregroundMark x1="16800" y1="93407" x2="16800" y2="93407"/>
                        <a14:foregroundMark x1="16600" y1="88462" x2="16600" y2="88462"/>
                        <a14:foregroundMark x1="38800" y1="91209" x2="38800" y2="91209"/>
                        <a14:foregroundMark x1="40600" y1="90659" x2="40600" y2="90659"/>
                        <a14:foregroundMark x1="53600" y1="93407" x2="53600" y2="93407"/>
                        <a14:foregroundMark x1="35000" y1="92308" x2="35000" y2="92308"/>
                        <a14:foregroundMark x1="31400" y1="92857" x2="31400" y2="92857"/>
                        <a14:foregroundMark x1="24800" y1="87912" x2="24800" y2="87912"/>
                        <a14:foregroundMark x1="19800" y1="37912" x2="19800" y2="37912"/>
                        <a14:foregroundMark x1="19200" y1="34066" x2="19200" y2="34066"/>
                        <a14:foregroundMark x1="18800" y1="33516" x2="18800" y2="33516"/>
                        <a14:foregroundMark x1="20400" y1="35165" x2="20400" y2="35165"/>
                        <a14:foregroundMark x1="19400" y1="49451" x2="19400" y2="49451"/>
                        <a14:foregroundMark x1="3600" y1="21978" x2="3600" y2="21978"/>
                        <a14:foregroundMark x1="4400" y1="19780" x2="4400" y2="19780"/>
                        <a14:foregroundMark x1="4800" y1="19780" x2="4800" y2="19780"/>
                        <a14:foregroundMark x1="5600" y1="18681" x2="5600" y2="18681"/>
                        <a14:foregroundMark x1="5600" y1="18681" x2="5600" y2="18681"/>
                        <a14:foregroundMark x1="5800" y1="17033" x2="5800" y2="17033"/>
                        <a14:foregroundMark x1="6200" y1="14835" x2="6200" y2="14835"/>
                        <a14:foregroundMark x1="7000" y1="14286" x2="7000" y2="14286"/>
                        <a14:foregroundMark x1="8600" y1="13187" x2="8600" y2="13187"/>
                        <a14:foregroundMark x1="9800" y1="10989" x2="9800" y2="10989"/>
                        <a14:foregroundMark x1="11800" y1="8791" x2="12000" y2="8791"/>
                        <a14:foregroundMark x1="12000" y1="8791" x2="12000" y2="8791"/>
                        <a14:foregroundMark x1="13000" y1="7692" x2="13000" y2="7692"/>
                        <a14:foregroundMark x1="14000" y1="7143" x2="14000" y2="7143"/>
                        <a14:foregroundMark x1="15600" y1="6593" x2="15600" y2="6593"/>
                        <a14:foregroundMark x1="16400" y1="6593" x2="16400" y2="6593"/>
                        <a14:foregroundMark x1="17000" y1="6593" x2="17000" y2="6593"/>
                        <a14:foregroundMark x1="18200" y1="7692" x2="18200" y2="7692"/>
                        <a14:foregroundMark x1="18800" y1="8242" x2="18800" y2="8242"/>
                        <a14:foregroundMark x1="19600" y1="8791" x2="19800" y2="8791"/>
                        <a14:foregroundMark x1="21000" y1="10440" x2="21000" y2="10440"/>
                        <a14:foregroundMark x1="21200" y1="10989" x2="21200" y2="10989"/>
                        <a14:foregroundMark x1="21800" y1="12637" x2="21800" y2="12637"/>
                        <a14:foregroundMark x1="22400" y1="13187" x2="22400" y2="13187"/>
                        <a14:foregroundMark x1="22600" y1="15385" x2="22600" y2="15385"/>
                        <a14:foregroundMark x1="23800" y1="18681" x2="23800" y2="18681"/>
                        <a14:foregroundMark x1="24400" y1="20879" x2="24400" y2="20879"/>
                        <a14:foregroundMark x1="24600" y1="25824" x2="24600" y2="25824"/>
                        <a14:foregroundMark x1="24600" y1="30220" x2="24600" y2="30220"/>
                        <a14:foregroundMark x1="25600" y1="34066" x2="25600" y2="34066"/>
                        <a14:foregroundMark x1="25800" y1="36813" x2="25800" y2="37912"/>
                        <a14:foregroundMark x1="24800" y1="46154" x2="24800" y2="46154"/>
                        <a14:foregroundMark x1="25000" y1="51648" x2="25000" y2="51648"/>
                        <a14:foregroundMark x1="24600" y1="55495" x2="24600" y2="55495"/>
                        <a14:foregroundMark x1="26000" y1="54945" x2="26000" y2="54945"/>
                        <a14:foregroundMark x1="22200" y1="58242" x2="22200" y2="58242"/>
                        <a14:foregroundMark x1="19200" y1="58791" x2="19200" y2="58791"/>
                        <a14:foregroundMark x1="15400" y1="60989" x2="15400" y2="60989"/>
                        <a14:foregroundMark x1="8600" y1="52747" x2="8600" y2="52747"/>
                        <a14:foregroundMark x1="6400" y1="32967" x2="6400" y2="32967"/>
                        <a14:foregroundMark x1="8200" y1="27473" x2="8200" y2="27473"/>
                        <a14:foregroundMark x1="11600" y1="32418" x2="11600" y2="32418"/>
                        <a14:foregroundMark x1="11400" y1="29670" x2="11400" y2="29670"/>
                        <a14:foregroundMark x1="8200" y1="39560" x2="8200" y2="39560"/>
                        <a14:foregroundMark x1="3800" y1="42308" x2="3800" y2="42308"/>
                        <a14:foregroundMark x1="1800" y1="58791" x2="1800" y2="58791"/>
                        <a14:foregroundMark x1="3600" y1="63187" x2="3800" y2="63736"/>
                        <a14:foregroundMark x1="5000" y1="65934" x2="5000" y2="65934"/>
                        <a14:foregroundMark x1="23400" y1="15934" x2="23400" y2="15934"/>
                        <a14:foregroundMark x1="25600" y1="24725" x2="25600" y2="24725"/>
                        <a14:foregroundMark x1="63600" y1="62637" x2="63600" y2="62637"/>
                        <a14:foregroundMark x1="63400" y1="69780" x2="63400" y2="69780"/>
                        <a14:foregroundMark x1="60600" y1="89560" x2="60600" y2="89560"/>
                        <a14:foregroundMark x1="19800" y1="95055" x2="19800" y2="95055"/>
                        <a14:foregroundMark x1="31600" y1="95604" x2="31600" y2="95604"/>
                        <a14:foregroundMark x1="10600" y1="89011" x2="10600" y2="89011"/>
                        <a14:foregroundMark x1="9200" y1="94505" x2="9200" y2="94505"/>
                        <a14:foregroundMark x1="5600" y1="84615" x2="5600" y2="84615"/>
                        <a14:foregroundMark x1="4000" y1="94505" x2="4000" y2="94505"/>
                        <a14:foregroundMark x1="22000" y1="91209" x2="22000" y2="91209"/>
                        <a14:foregroundMark x1="10200" y1="92857" x2="10200" y2="92857"/>
                        <a14:foregroundMark x1="10600" y1="94505" x2="10600" y2="94505"/>
                        <a14:foregroundMark x1="80200" y1="86264" x2="80200" y2="86264"/>
                        <a14:foregroundMark x1="80400" y1="92308" x2="80400" y2="92308"/>
                        <a14:foregroundMark x1="79400" y1="96154" x2="79400" y2="96154"/>
                        <a14:foregroundMark x1="75600" y1="91209" x2="75600" y2="91209"/>
                        <a14:foregroundMark x1="86600" y1="89011" x2="86600" y2="89011"/>
                        <a14:foregroundMark x1="89000" y1="88462" x2="89000" y2="88462"/>
                        <a14:foregroundMark x1="83600" y1="89560" x2="83600" y2="89560"/>
                        <a14:foregroundMark x1="95800" y1="87363" x2="95800" y2="87363"/>
                        <a14:foregroundMark x1="83600" y1="94505" x2="83600" y2="94505"/>
                        <a14:foregroundMark x1="30000" y1="92308" x2="30000" y2="92308"/>
                        <a14:backgroundMark x1="24400" y1="89560" x2="24400" y2="89560"/>
                        <a14:backgroundMark x1="27600" y1="91758" x2="27600" y2="91758"/>
                        <a14:backgroundMark x1="30400" y1="93407" x2="30400" y2="93407"/>
                        <a14:backgroundMark x1="30400" y1="90110" x2="30400" y2="90110"/>
                        <a14:backgroundMark x1="36200" y1="91209" x2="36200" y2="91209"/>
                        <a14:backgroundMark x1="41200" y1="90659" x2="41200" y2="90659"/>
                        <a14:backgroundMark x1="42800" y1="93407" x2="42800" y2="93407"/>
                        <a14:backgroundMark x1="43000" y1="89560" x2="43000" y2="89560"/>
                        <a14:backgroundMark x1="52800" y1="91209" x2="52800" y2="91209"/>
                        <a14:backgroundMark x1="71200" y1="93407" x2="71200" y2="93407"/>
                        <a14:backgroundMark x1="71200" y1="89560" x2="71200" y2="89560"/>
                        <a14:backgroundMark x1="79400" y1="87363" x2="79400" y2="87363"/>
                        <a14:backgroundMark x1="82400" y1="89011" x2="82400" y2="89011"/>
                        <a14:backgroundMark x1="90200" y1="86813" x2="90200" y2="86813"/>
                        <a14:backgroundMark x1="94000" y1="94505" x2="94000" y2="94505"/>
                        <a14:backgroundMark x1="93600" y1="96154" x2="93600" y2="96154"/>
                        <a14:backgroundMark x1="98400" y1="93956" x2="98400" y2="93956"/>
                        <a14:backgroundMark x1="95600" y1="89560" x2="95600" y2="89560"/>
                        <a14:backgroundMark x1="95200" y1="93407" x2="95200" y2="93407"/>
                        <a14:backgroundMark x1="97000" y1="89560" x2="97000" y2="89560"/>
                        <a14:backgroundMark x1="98400" y1="89560" x2="98400" y2="89560"/>
                        <a14:backgroundMark x1="21000" y1="90659" x2="21000" y2="90659"/>
                        <a14:backgroundMark x1="11000" y1="92308" x2="11000" y2="92308"/>
                        <a14:backgroundMark x1="16000" y1="89011" x2="16000" y2="89011"/>
                        <a14:backgroundMark x1="9800" y1="91209" x2="9800" y2="91209"/>
                        <a14:backgroundMark x1="82600" y1="93956" x2="82600" y2="9395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37094" y="3181076"/>
            <a:ext cx="1556853" cy="566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00003" y="3181076"/>
            <a:ext cx="1307805" cy="599691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2805" y="5749326"/>
            <a:ext cx="1267057" cy="54497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833" y="5687308"/>
            <a:ext cx="1949464" cy="67112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254" y="6310429"/>
            <a:ext cx="2140342" cy="428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3235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3060C83-F051-4F0E-ABAD-AA0DFC48B21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83C98ABE-055B-441F-B07E-44F97F083C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-376156" y="-253670"/>
            <a:ext cx="1827638" cy="1376989"/>
          </a:xfrm>
          <a:custGeom>
            <a:avLst/>
            <a:gdLst>
              <a:gd name="connsiteX0" fmla="*/ 0 w 1827638"/>
              <a:gd name="connsiteY0" fmla="*/ 987379 h 1376989"/>
              <a:gd name="connsiteX1" fmla="*/ 987379 w 1827638"/>
              <a:gd name="connsiteY1" fmla="*/ 0 h 1376989"/>
              <a:gd name="connsiteX2" fmla="*/ 1827638 w 1827638"/>
              <a:gd name="connsiteY2" fmla="*/ 840260 h 1376989"/>
              <a:gd name="connsiteX3" fmla="*/ 1827638 w 1827638"/>
              <a:gd name="connsiteY3" fmla="*/ 1376989 h 1376989"/>
              <a:gd name="connsiteX4" fmla="*/ 0 w 1827638"/>
              <a:gd name="connsiteY4" fmla="*/ 1376989 h 1376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827638" h="1376989">
                <a:moveTo>
                  <a:pt x="0" y="987379"/>
                </a:moveTo>
                <a:lnTo>
                  <a:pt x="987379" y="0"/>
                </a:lnTo>
                <a:lnTo>
                  <a:pt x="1827638" y="840260"/>
                </a:lnTo>
                <a:lnTo>
                  <a:pt x="1827638" y="1376989"/>
                </a:lnTo>
                <a:lnTo>
                  <a:pt x="0" y="1376989"/>
                </a:lnTo>
                <a:close/>
              </a:path>
            </a:pathLst>
          </a:cu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9FDB030-9B49-4CED-8CCD-4D99382388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891641" y="422146"/>
            <a:ext cx="645368" cy="645368"/>
          </a:xfrm>
          <a:prstGeom prst="rect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783CA14-24A1-485C-8B30-D6A5D87987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8900000" flipH="1">
            <a:off x="10043482" y="655140"/>
            <a:ext cx="687472" cy="687472"/>
          </a:xfrm>
          <a:prstGeom prst="rect">
            <a:avLst/>
          </a:pr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9A97C86A-04D6-40F7-AE84-31AB43E6A8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9356643" y="0"/>
            <a:ext cx="2835357" cy="1480837"/>
          </a:xfrm>
          <a:custGeom>
            <a:avLst/>
            <a:gdLst>
              <a:gd name="connsiteX0" fmla="*/ 2835357 w 2835357"/>
              <a:gd name="connsiteY0" fmla="*/ 1480837 h 1480837"/>
              <a:gd name="connsiteX1" fmla="*/ 0 w 2835357"/>
              <a:gd name="connsiteY1" fmla="*/ 1480837 h 1480837"/>
              <a:gd name="connsiteX2" fmla="*/ 1552727 w 2835357"/>
              <a:gd name="connsiteY2" fmla="*/ 0 h 1480837"/>
              <a:gd name="connsiteX3" fmla="*/ 2835357 w 2835357"/>
              <a:gd name="connsiteY3" fmla="*/ 1223245 h 14808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835357" h="1480837">
                <a:moveTo>
                  <a:pt x="2835357" y="1480837"/>
                </a:moveTo>
                <a:lnTo>
                  <a:pt x="0" y="1480837"/>
                </a:lnTo>
                <a:lnTo>
                  <a:pt x="1552727" y="0"/>
                </a:lnTo>
                <a:lnTo>
                  <a:pt x="2835357" y="1223245"/>
                </a:lnTo>
                <a:close/>
              </a:path>
            </a:pathLst>
          </a:custGeom>
          <a:solidFill>
            <a:schemeClr val="accent4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649CF8-D89A-0AF4-86EC-9EA515C01F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552431D-F0F7-C630-846A-1066729CBC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05333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19" name="Isosceles Triangle 18">
            <a:extLst>
              <a:ext uri="{FF2B5EF4-FFF2-40B4-BE49-F238E27FC236}">
                <a16:creationId xmlns:a16="http://schemas.microsoft.com/office/drawing/2014/main" id="{FF9F2414-84E8-453E-B1F3-389FDE819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976344" y="6115501"/>
            <a:ext cx="1494513" cy="742499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 descr="A person holding a baby&#10;&#10;Description automatically generated">
            <a:extLst>
              <a:ext uri="{FF2B5EF4-FFF2-40B4-BE49-F238E27FC236}">
                <a16:creationId xmlns:a16="http://schemas.microsoft.com/office/drawing/2014/main" id="{13A3B705-5B72-9CC3-6860-A1956915E58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46881" y="158558"/>
            <a:ext cx="7779219" cy="6492877"/>
          </a:xfrm>
          <a:prstGeom prst="rect">
            <a:avLst/>
          </a:prstGeom>
          <a:ln>
            <a:noFill/>
          </a:ln>
        </p:spPr>
      </p:pic>
      <p:sp>
        <p:nvSpPr>
          <p:cNvPr id="21" name="Isosceles Triangle 20">
            <a:extLst>
              <a:ext uri="{FF2B5EF4-FFF2-40B4-BE49-F238E27FC236}">
                <a16:creationId xmlns:a16="http://schemas.microsoft.com/office/drawing/2014/main" id="{3ECA69A1-7536-43AC-85EF-C7106179F5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7604080" y="6453143"/>
            <a:ext cx="814903" cy="404857"/>
          </a:xfrm>
          <a:prstGeom prst="triangle">
            <a:avLst/>
          </a:prstGeom>
          <a:solidFill>
            <a:schemeClr val="accent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31398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FF93924A-10DF-4647-8C7A-115C017577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-1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D4A8CE0-3AF0-DA9F-D67F-D35A665F92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1550" y="-569403"/>
            <a:ext cx="5593003" cy="2412882"/>
          </a:xfrm>
        </p:spPr>
        <p:txBody>
          <a:bodyPr anchor="b">
            <a:normAutofit/>
          </a:bodyPr>
          <a:lstStyle/>
          <a:p>
            <a:r>
              <a:rPr lang="en-US" sz="4000">
                <a:solidFill>
                  <a:schemeClr val="accent3"/>
                </a:solidFill>
                <a:ea typeface="Lato Medium"/>
                <a:cs typeface="Lato Medium"/>
              </a:rPr>
              <a:t>E.N.G.A.G.E.</a:t>
            </a:r>
            <a:r>
              <a:rPr lang="en-US" sz="4000">
                <a:ea typeface="Lato Medium"/>
                <a:cs typeface="Lato Medium"/>
              </a:rPr>
              <a:t> in ILPQC's</a:t>
            </a:r>
            <a:br>
              <a:rPr lang="en-US" sz="4000">
                <a:ea typeface="Lato Medium"/>
                <a:cs typeface="Lato Medium"/>
              </a:rPr>
            </a:br>
            <a:r>
              <a:rPr lang="en-US" sz="4000">
                <a:ea typeface="Lato Medium"/>
                <a:cs typeface="Lato Medium"/>
              </a:rPr>
              <a:t>Annual Conference 2023</a:t>
            </a:r>
            <a:endParaRPr lang="en-US" sz="4000"/>
          </a:p>
        </p:txBody>
      </p:sp>
      <p:pic>
        <p:nvPicPr>
          <p:cNvPr id="9" name="Picture 9" descr="A group of women wearing face masks&#10;&#10;Description automatically generated">
            <a:extLst>
              <a:ext uri="{FF2B5EF4-FFF2-40B4-BE49-F238E27FC236}">
                <a16:creationId xmlns:a16="http://schemas.microsoft.com/office/drawing/2014/main" id="{1D0BCDF5-EA2C-8C22-7B48-F4EB658F141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"/>
          <a:stretch/>
        </p:blipFill>
        <p:spPr>
          <a:xfrm>
            <a:off x="-1" y="10"/>
            <a:ext cx="3003123" cy="3892380"/>
          </a:xfrm>
          <a:prstGeom prst="rect">
            <a:avLst/>
          </a:prstGeom>
        </p:spPr>
      </p:pic>
      <p:pic>
        <p:nvPicPr>
          <p:cNvPr id="6" name="Picture 6" descr="A group of women wearing face masks&#10;&#10;Description automatically generated">
            <a:extLst>
              <a:ext uri="{FF2B5EF4-FFF2-40B4-BE49-F238E27FC236}">
                <a16:creationId xmlns:a16="http://schemas.microsoft.com/office/drawing/2014/main" id="{44CA967F-AF1D-ACB7-1577-47BEFBE150B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"/>
          <a:stretch/>
        </p:blipFill>
        <p:spPr>
          <a:xfrm>
            <a:off x="3180257" y="10"/>
            <a:ext cx="3016307" cy="2785935"/>
          </a:xfrm>
          <a:prstGeom prst="rect">
            <a:avLst/>
          </a:prstGeom>
        </p:spPr>
      </p:pic>
      <p:pic>
        <p:nvPicPr>
          <p:cNvPr id="10" name="Picture 10" descr="A sign on a table with an apple&#10;&#10;Description automatically generated">
            <a:extLst>
              <a:ext uri="{FF2B5EF4-FFF2-40B4-BE49-F238E27FC236}">
                <a16:creationId xmlns:a16="http://schemas.microsoft.com/office/drawing/2014/main" id="{40D2279B-A33A-1A77-BD32-157128C03F0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4079988"/>
            <a:ext cx="3003123" cy="2778013"/>
          </a:xfrm>
          <a:prstGeom prst="rect">
            <a:avLst/>
          </a:prstGeom>
        </p:spPr>
      </p:pic>
      <p:pic>
        <p:nvPicPr>
          <p:cNvPr id="8" name="Picture 8" descr="A group of women posing for a photo&#10;&#10;Description automatically generated">
            <a:extLst>
              <a:ext uri="{FF2B5EF4-FFF2-40B4-BE49-F238E27FC236}">
                <a16:creationId xmlns:a16="http://schemas.microsoft.com/office/drawing/2014/main" id="{077D94BF-04DC-A5C9-ED6D-6CC55C95663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80257" y="2957665"/>
            <a:ext cx="3016307" cy="390033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67CAE5-425F-B4ED-CB83-F318CC4E48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133059" y="1951251"/>
            <a:ext cx="2228702" cy="317856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>
                <a:solidFill>
                  <a:schemeClr val="accent3"/>
                </a:solidFill>
                <a:ea typeface="Lato"/>
                <a:cs typeface="Lato"/>
              </a:rPr>
              <a:t>Exchange</a:t>
            </a:r>
            <a:endParaRPr lang="en-US" sz="2600" b="1">
              <a:solidFill>
                <a:schemeClr val="accent3"/>
              </a:solidFill>
            </a:endParaRP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>
                <a:solidFill>
                  <a:schemeClr val="accent3"/>
                </a:solidFill>
                <a:ea typeface="Lato"/>
                <a:cs typeface="Lato"/>
              </a:rPr>
              <a:t>Network </a:t>
            </a: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>
                <a:solidFill>
                  <a:schemeClr val="accent3"/>
                </a:solidFill>
                <a:ea typeface="Lato"/>
                <a:cs typeface="Lato"/>
              </a:rPr>
              <a:t>Gain</a:t>
            </a: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>
                <a:solidFill>
                  <a:schemeClr val="accent3"/>
                </a:solidFill>
                <a:ea typeface="Lato"/>
                <a:cs typeface="Lato"/>
              </a:rPr>
              <a:t>Apply</a:t>
            </a: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>
                <a:solidFill>
                  <a:schemeClr val="accent3"/>
                </a:solidFill>
                <a:ea typeface="Lato"/>
                <a:cs typeface="Lato"/>
              </a:rPr>
              <a:t>Gather</a:t>
            </a:r>
          </a:p>
          <a:p>
            <a:pPr>
              <a:spcBef>
                <a:spcPts val="200"/>
              </a:spcBef>
              <a:spcAft>
                <a:spcPts val="300"/>
              </a:spcAft>
            </a:pPr>
            <a:r>
              <a:rPr lang="en-US" sz="2600" b="1">
                <a:solidFill>
                  <a:schemeClr val="accent3"/>
                </a:solidFill>
                <a:ea typeface="Lato"/>
                <a:cs typeface="Lato"/>
              </a:rPr>
              <a:t>Energize</a:t>
            </a:r>
            <a:r>
              <a:rPr lang="en-US" sz="2350">
                <a:ea typeface="Lato"/>
                <a:cs typeface="Lato"/>
              </a:rPr>
              <a:t> </a:t>
            </a:r>
            <a:endParaRPr lang="en-US" sz="235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1B85B93-1806-115B-7B3D-5A4A8B1F252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0666350" y="6356350"/>
            <a:ext cx="68745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18ABC73-DBB3-7385-B66F-07989FEF8551}"/>
              </a:ext>
            </a:extLst>
          </p:cNvPr>
          <p:cNvSpPr txBox="1"/>
          <p:nvPr/>
        </p:nvSpPr>
        <p:spPr>
          <a:xfrm>
            <a:off x="6500191" y="5277678"/>
            <a:ext cx="2743200" cy="4572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3194FC7-204E-107F-23FB-A58A3461F076}"/>
              </a:ext>
            </a:extLst>
          </p:cNvPr>
          <p:cNvSpPr txBox="1"/>
          <p:nvPr/>
        </p:nvSpPr>
        <p:spPr>
          <a:xfrm>
            <a:off x="6498940" y="4898710"/>
            <a:ext cx="5710248" cy="181588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800" b="1" dirty="0">
                <a:solidFill>
                  <a:schemeClr val="accent1"/>
                </a:solidFill>
                <a:ea typeface="Calibri"/>
                <a:cs typeface="Calibri"/>
              </a:rPr>
              <a:t>Make sure at least </a:t>
            </a:r>
            <a:r>
              <a:rPr lang="en-US" sz="2800" b="1" u="sng" dirty="0">
                <a:solidFill>
                  <a:schemeClr val="accent1"/>
                </a:solidFill>
                <a:ea typeface="Calibri"/>
                <a:cs typeface="Calibri"/>
              </a:rPr>
              <a:t>one physician champion</a:t>
            </a:r>
            <a:r>
              <a:rPr lang="en-US" sz="2800" b="1" dirty="0">
                <a:solidFill>
                  <a:schemeClr val="accent1"/>
                </a:solidFill>
                <a:ea typeface="Calibri"/>
                <a:cs typeface="Calibri"/>
              </a:rPr>
              <a:t>, </a:t>
            </a:r>
            <a:r>
              <a:rPr lang="en-US" sz="2800" b="1" u="sng" dirty="0">
                <a:solidFill>
                  <a:schemeClr val="accent1"/>
                </a:solidFill>
                <a:ea typeface="Calibri"/>
                <a:cs typeface="Calibri"/>
              </a:rPr>
              <a:t>one nurse champion</a:t>
            </a:r>
            <a:r>
              <a:rPr lang="en-US" sz="2800" b="1" dirty="0">
                <a:solidFill>
                  <a:schemeClr val="accent1"/>
                </a:solidFill>
                <a:ea typeface="Calibri"/>
                <a:cs typeface="Calibri"/>
              </a:rPr>
              <a:t>, and </a:t>
            </a:r>
            <a:r>
              <a:rPr lang="en-US" sz="2800" b="1" u="sng" dirty="0">
                <a:solidFill>
                  <a:schemeClr val="accent1"/>
                </a:solidFill>
                <a:ea typeface="Calibri"/>
                <a:cs typeface="Calibri"/>
              </a:rPr>
              <a:t>patient partner</a:t>
            </a:r>
            <a:r>
              <a:rPr lang="en-US" sz="2800" b="1" dirty="0">
                <a:solidFill>
                  <a:schemeClr val="accent1"/>
                </a:solidFill>
                <a:ea typeface="Calibri"/>
                <a:cs typeface="Calibri"/>
              </a:rPr>
              <a:t> are there to represent your hospital. </a:t>
            </a:r>
            <a:r>
              <a:rPr lang="en-US" dirty="0">
                <a:ea typeface="Calibri"/>
                <a:cs typeface="Calibri"/>
              </a:rPr>
              <a:t> </a:t>
            </a:r>
            <a:endParaRPr lang="en-US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8254373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2E442304-DDBD-4F7B-8017-36BCC863FB4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C9B693A-1E47-117F-A949-26C285E5F5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0623" y="65729"/>
            <a:ext cx="3565711" cy="5583148"/>
          </a:xfrm>
        </p:spPr>
        <p:txBody>
          <a:bodyPr anchor="ctr">
            <a:normAutofit/>
          </a:bodyPr>
          <a:lstStyle/>
          <a:p>
            <a:r>
              <a:rPr lang="en-US" sz="5400">
                <a:ea typeface="Lato Medium"/>
                <a:cs typeface="Lato Medium"/>
              </a:rPr>
              <a:t>Upcoming Annual Conference Prep</a:t>
            </a:r>
            <a:endParaRPr lang="en-US" sz="5400"/>
          </a:p>
        </p:txBody>
      </p:sp>
      <p:sp>
        <p:nvSpPr>
          <p:cNvPr id="16" name="sketch line">
            <a:extLst>
              <a:ext uri="{FF2B5EF4-FFF2-40B4-BE49-F238E27FC236}">
                <a16:creationId xmlns:a16="http://schemas.microsoft.com/office/drawing/2014/main" id="{5E107275-3853-46FD-A241-DE4355A426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1627450" y="3462719"/>
            <a:ext cx="5410200" cy="18288"/>
          </a:xfrm>
          <a:custGeom>
            <a:avLst/>
            <a:gdLst>
              <a:gd name="connsiteX0" fmla="*/ 0 w 5410200"/>
              <a:gd name="connsiteY0" fmla="*/ 0 h 18288"/>
              <a:gd name="connsiteX1" fmla="*/ 568071 w 5410200"/>
              <a:gd name="connsiteY1" fmla="*/ 0 h 18288"/>
              <a:gd name="connsiteX2" fmla="*/ 1298448 w 5410200"/>
              <a:gd name="connsiteY2" fmla="*/ 0 h 18288"/>
              <a:gd name="connsiteX3" fmla="*/ 1920621 w 5410200"/>
              <a:gd name="connsiteY3" fmla="*/ 0 h 18288"/>
              <a:gd name="connsiteX4" fmla="*/ 2488692 w 5410200"/>
              <a:gd name="connsiteY4" fmla="*/ 0 h 18288"/>
              <a:gd name="connsiteX5" fmla="*/ 3219069 w 5410200"/>
              <a:gd name="connsiteY5" fmla="*/ 0 h 18288"/>
              <a:gd name="connsiteX6" fmla="*/ 3895344 w 5410200"/>
              <a:gd name="connsiteY6" fmla="*/ 0 h 18288"/>
              <a:gd name="connsiteX7" fmla="*/ 4571619 w 5410200"/>
              <a:gd name="connsiteY7" fmla="*/ 0 h 18288"/>
              <a:gd name="connsiteX8" fmla="*/ 5410200 w 5410200"/>
              <a:gd name="connsiteY8" fmla="*/ 0 h 18288"/>
              <a:gd name="connsiteX9" fmla="*/ 5410200 w 5410200"/>
              <a:gd name="connsiteY9" fmla="*/ 18288 h 18288"/>
              <a:gd name="connsiteX10" fmla="*/ 4842129 w 5410200"/>
              <a:gd name="connsiteY10" fmla="*/ 18288 h 18288"/>
              <a:gd name="connsiteX11" fmla="*/ 4328160 w 5410200"/>
              <a:gd name="connsiteY11" fmla="*/ 18288 h 18288"/>
              <a:gd name="connsiteX12" fmla="*/ 3597783 w 5410200"/>
              <a:gd name="connsiteY12" fmla="*/ 18288 h 18288"/>
              <a:gd name="connsiteX13" fmla="*/ 3029712 w 5410200"/>
              <a:gd name="connsiteY13" fmla="*/ 18288 h 18288"/>
              <a:gd name="connsiteX14" fmla="*/ 2299335 w 5410200"/>
              <a:gd name="connsiteY14" fmla="*/ 18288 h 18288"/>
              <a:gd name="connsiteX15" fmla="*/ 1514856 w 5410200"/>
              <a:gd name="connsiteY15" fmla="*/ 18288 h 18288"/>
              <a:gd name="connsiteX16" fmla="*/ 892683 w 5410200"/>
              <a:gd name="connsiteY16" fmla="*/ 18288 h 18288"/>
              <a:gd name="connsiteX17" fmla="*/ 0 w 5410200"/>
              <a:gd name="connsiteY17" fmla="*/ 18288 h 18288"/>
              <a:gd name="connsiteX18" fmla="*/ 0 w 5410200"/>
              <a:gd name="connsiteY18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5410200" h="18288" fill="none" extrusionOk="0">
                <a:moveTo>
                  <a:pt x="0" y="0"/>
                </a:moveTo>
                <a:cubicBezTo>
                  <a:pt x="163050" y="-18707"/>
                  <a:pt x="319321" y="-16364"/>
                  <a:pt x="568071" y="0"/>
                </a:cubicBezTo>
                <a:cubicBezTo>
                  <a:pt x="816821" y="16364"/>
                  <a:pt x="1013224" y="-7268"/>
                  <a:pt x="1298448" y="0"/>
                </a:cubicBezTo>
                <a:cubicBezTo>
                  <a:pt x="1583672" y="7268"/>
                  <a:pt x="1631711" y="-3367"/>
                  <a:pt x="1920621" y="0"/>
                </a:cubicBezTo>
                <a:cubicBezTo>
                  <a:pt x="2209531" y="3367"/>
                  <a:pt x="2364420" y="-19184"/>
                  <a:pt x="2488692" y="0"/>
                </a:cubicBezTo>
                <a:cubicBezTo>
                  <a:pt x="2612964" y="19184"/>
                  <a:pt x="3023298" y="-34627"/>
                  <a:pt x="3219069" y="0"/>
                </a:cubicBezTo>
                <a:cubicBezTo>
                  <a:pt x="3414840" y="34627"/>
                  <a:pt x="3656810" y="24043"/>
                  <a:pt x="3895344" y="0"/>
                </a:cubicBezTo>
                <a:cubicBezTo>
                  <a:pt x="4133879" y="-24043"/>
                  <a:pt x="4393984" y="-19577"/>
                  <a:pt x="4571619" y="0"/>
                </a:cubicBezTo>
                <a:cubicBezTo>
                  <a:pt x="4749255" y="19577"/>
                  <a:pt x="5179928" y="-6281"/>
                  <a:pt x="5410200" y="0"/>
                </a:cubicBezTo>
                <a:cubicBezTo>
                  <a:pt x="5410730" y="6954"/>
                  <a:pt x="5410934" y="12839"/>
                  <a:pt x="5410200" y="18288"/>
                </a:cubicBezTo>
                <a:cubicBezTo>
                  <a:pt x="5139060" y="6751"/>
                  <a:pt x="5121593" y="31035"/>
                  <a:pt x="4842129" y="18288"/>
                </a:cubicBezTo>
                <a:cubicBezTo>
                  <a:pt x="4562665" y="5541"/>
                  <a:pt x="4448273" y="9487"/>
                  <a:pt x="4328160" y="18288"/>
                </a:cubicBezTo>
                <a:cubicBezTo>
                  <a:pt x="4208047" y="27089"/>
                  <a:pt x="3760936" y="22567"/>
                  <a:pt x="3597783" y="18288"/>
                </a:cubicBezTo>
                <a:cubicBezTo>
                  <a:pt x="3434630" y="14009"/>
                  <a:pt x="3299718" y="33213"/>
                  <a:pt x="3029712" y="18288"/>
                </a:cubicBezTo>
                <a:cubicBezTo>
                  <a:pt x="2759706" y="3363"/>
                  <a:pt x="2640159" y="27394"/>
                  <a:pt x="2299335" y="18288"/>
                </a:cubicBezTo>
                <a:cubicBezTo>
                  <a:pt x="1958511" y="9182"/>
                  <a:pt x="1801186" y="28985"/>
                  <a:pt x="1514856" y="18288"/>
                </a:cubicBezTo>
                <a:cubicBezTo>
                  <a:pt x="1228526" y="7591"/>
                  <a:pt x="1063509" y="-5305"/>
                  <a:pt x="892683" y="18288"/>
                </a:cubicBezTo>
                <a:cubicBezTo>
                  <a:pt x="721857" y="41881"/>
                  <a:pt x="186945" y="-20897"/>
                  <a:pt x="0" y="18288"/>
                </a:cubicBezTo>
                <a:cubicBezTo>
                  <a:pt x="-570" y="9279"/>
                  <a:pt x="132" y="5100"/>
                  <a:pt x="0" y="0"/>
                </a:cubicBezTo>
                <a:close/>
              </a:path>
              <a:path w="5410200" h="18288" stroke="0" extrusionOk="0">
                <a:moveTo>
                  <a:pt x="0" y="0"/>
                </a:moveTo>
                <a:cubicBezTo>
                  <a:pt x="285096" y="-4925"/>
                  <a:pt x="376456" y="22268"/>
                  <a:pt x="622173" y="0"/>
                </a:cubicBezTo>
                <a:cubicBezTo>
                  <a:pt x="867890" y="-22268"/>
                  <a:pt x="1031392" y="7228"/>
                  <a:pt x="1136142" y="0"/>
                </a:cubicBezTo>
                <a:cubicBezTo>
                  <a:pt x="1240892" y="-7228"/>
                  <a:pt x="1561853" y="9877"/>
                  <a:pt x="1920621" y="0"/>
                </a:cubicBezTo>
                <a:cubicBezTo>
                  <a:pt x="2279389" y="-9877"/>
                  <a:pt x="2367255" y="19546"/>
                  <a:pt x="2542794" y="0"/>
                </a:cubicBezTo>
                <a:cubicBezTo>
                  <a:pt x="2718333" y="-19546"/>
                  <a:pt x="2866732" y="-22226"/>
                  <a:pt x="3164967" y="0"/>
                </a:cubicBezTo>
                <a:cubicBezTo>
                  <a:pt x="3463202" y="22226"/>
                  <a:pt x="3568055" y="-2765"/>
                  <a:pt x="3949446" y="0"/>
                </a:cubicBezTo>
                <a:cubicBezTo>
                  <a:pt x="4330837" y="2765"/>
                  <a:pt x="4287895" y="10557"/>
                  <a:pt x="4517517" y="0"/>
                </a:cubicBezTo>
                <a:cubicBezTo>
                  <a:pt x="4747139" y="-10557"/>
                  <a:pt x="5149588" y="8716"/>
                  <a:pt x="5410200" y="0"/>
                </a:cubicBezTo>
                <a:cubicBezTo>
                  <a:pt x="5409517" y="5414"/>
                  <a:pt x="5409480" y="12510"/>
                  <a:pt x="5410200" y="18288"/>
                </a:cubicBezTo>
                <a:cubicBezTo>
                  <a:pt x="5163327" y="41494"/>
                  <a:pt x="5008749" y="10693"/>
                  <a:pt x="4842129" y="18288"/>
                </a:cubicBezTo>
                <a:cubicBezTo>
                  <a:pt x="4675509" y="25883"/>
                  <a:pt x="4433401" y="-615"/>
                  <a:pt x="4165854" y="18288"/>
                </a:cubicBezTo>
                <a:cubicBezTo>
                  <a:pt x="3898308" y="37191"/>
                  <a:pt x="3809032" y="-8710"/>
                  <a:pt x="3543681" y="18288"/>
                </a:cubicBezTo>
                <a:cubicBezTo>
                  <a:pt x="3278330" y="45286"/>
                  <a:pt x="3073876" y="-15917"/>
                  <a:pt x="2759202" y="18288"/>
                </a:cubicBezTo>
                <a:cubicBezTo>
                  <a:pt x="2444528" y="52493"/>
                  <a:pt x="2204144" y="3372"/>
                  <a:pt x="1974723" y="18288"/>
                </a:cubicBezTo>
                <a:cubicBezTo>
                  <a:pt x="1745302" y="33204"/>
                  <a:pt x="1602335" y="31490"/>
                  <a:pt x="1406652" y="18288"/>
                </a:cubicBezTo>
                <a:cubicBezTo>
                  <a:pt x="1210969" y="5086"/>
                  <a:pt x="923948" y="3161"/>
                  <a:pt x="730377" y="18288"/>
                </a:cubicBezTo>
                <a:cubicBezTo>
                  <a:pt x="536806" y="33415"/>
                  <a:pt x="336496" y="-141"/>
                  <a:pt x="0" y="18288"/>
                </a:cubicBezTo>
                <a:cubicBezTo>
                  <a:pt x="-306" y="11061"/>
                  <a:pt x="-655" y="7751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1219033472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3C49AD-CE50-FB56-CC35-DC1992B984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Illinois Perinatal Quality Collaborativ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EED54BC-687B-95DC-B1DF-ECE635CC74C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2743200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97033E4B-E3EB-3D46-B2D8-3159663620FA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graphicFrame>
        <p:nvGraphicFramePr>
          <p:cNvPr id="9" name="Diagram 9">
            <a:extLst>
              <a:ext uri="{FF2B5EF4-FFF2-40B4-BE49-F238E27FC236}">
                <a16:creationId xmlns:a16="http://schemas.microsoft.com/office/drawing/2014/main" id="{25EB57FC-A0C6-0042-E219-B1DF45189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6497330"/>
              </p:ext>
            </p:extLst>
          </p:nvPr>
        </p:nvGraphicFramePr>
        <p:xfrm>
          <a:off x="4705527" y="554559"/>
          <a:ext cx="7101795" cy="6053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25" name="Rectangle: Rounded Corners 224">
            <a:extLst>
              <a:ext uri="{FF2B5EF4-FFF2-40B4-BE49-F238E27FC236}">
                <a16:creationId xmlns:a16="http://schemas.microsoft.com/office/drawing/2014/main" id="{CB0A0917-AFE1-6BF9-A27E-D2DD2D0CEB28}"/>
              </a:ext>
            </a:extLst>
          </p:cNvPr>
          <p:cNvSpPr/>
          <p:nvPr/>
        </p:nvSpPr>
        <p:spPr>
          <a:xfrm>
            <a:off x="255288" y="4767980"/>
            <a:ext cx="3925017" cy="1653396"/>
          </a:xfrm>
          <a:prstGeom prst="round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2200" b="1" dirty="0">
                <a:cs typeface="Calibri"/>
              </a:rPr>
              <a:t>Data, Abstracts, &amp; AC Survey due: </a:t>
            </a:r>
          </a:p>
          <a:p>
            <a:pPr algn="ctr"/>
            <a:r>
              <a:rPr lang="en-US" sz="2200" b="1" dirty="0">
                <a:highlight>
                  <a:srgbClr val="FFFF00"/>
                </a:highlight>
                <a:cs typeface="Calibri"/>
              </a:rPr>
              <a:t>Deadlines Extended</a:t>
            </a:r>
          </a:p>
        </p:txBody>
      </p:sp>
      <p:sp>
        <p:nvSpPr>
          <p:cNvPr id="37" name="Rectangle: Rounded Corners 36">
            <a:extLst>
              <a:ext uri="{FF2B5EF4-FFF2-40B4-BE49-F238E27FC236}">
                <a16:creationId xmlns:a16="http://schemas.microsoft.com/office/drawing/2014/main" id="{D025CC2E-7273-2304-D841-AEC88C9503B0}"/>
              </a:ext>
            </a:extLst>
          </p:cNvPr>
          <p:cNvSpPr/>
          <p:nvPr/>
        </p:nvSpPr>
        <p:spPr>
          <a:xfrm>
            <a:off x="9553705" y="3462923"/>
            <a:ext cx="2285999" cy="1096027"/>
          </a:xfrm>
          <a:prstGeom prst="flowChartPunchedTap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cs typeface="Calibri"/>
              </a:rPr>
              <a:t>DEADLINES EXTENDED!!!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97488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hange your Name to:</a:t>
            </a:r>
            <a:br>
              <a:rPr lang="en-US"/>
            </a:br>
            <a:r>
              <a:rPr lang="en-US"/>
              <a:t>First Name Last Name (Hospital)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/>
              <a:t>Hover over your name and click the 3 dots</a:t>
            </a:r>
          </a:p>
          <a:p>
            <a:pPr marL="457200" indent="-457200">
              <a:buFont typeface="+mj-lt"/>
              <a:buAutoNum type="arabicPeriod"/>
            </a:pPr>
            <a:endParaRPr lang="en-US"/>
          </a:p>
          <a:p>
            <a:pPr marL="457200" indent="-457200">
              <a:buFont typeface="+mj-lt"/>
              <a:buAutoNum type="arabicPeriod"/>
            </a:pPr>
            <a:endParaRPr lang="en-US"/>
          </a:p>
          <a:p>
            <a:pPr marL="457200" indent="-457200">
              <a:buFont typeface="+mj-lt"/>
              <a:buAutoNum type="arabicPeriod"/>
            </a:pPr>
            <a:r>
              <a:rPr lang="en-US"/>
              <a:t>Click Rename</a:t>
            </a:r>
          </a:p>
          <a:p>
            <a:pPr marL="0" indent="0">
              <a:buNone/>
            </a:pPr>
            <a:endParaRPr lang="en-US"/>
          </a:p>
          <a:p>
            <a:pPr marL="0" indent="0">
              <a:buNone/>
            </a:pPr>
            <a:endParaRPr lang="en-US"/>
          </a:p>
          <a:p>
            <a:pPr marL="457200" indent="-457200">
              <a:buFont typeface="+mj-lt"/>
              <a:buAutoNum type="arabicPeriod"/>
            </a:pPr>
            <a:r>
              <a:rPr lang="en-US">
                <a:ea typeface="Lato"/>
                <a:cs typeface="Lato"/>
              </a:rPr>
              <a:t>Rename yourself as: </a:t>
            </a:r>
            <a:r>
              <a:rPr lang="en-US" b="1">
                <a:ea typeface="Lato"/>
                <a:cs typeface="Lato"/>
              </a:rPr>
              <a:t>First Name Last Name (Hospital)</a:t>
            </a:r>
          </a:p>
          <a:p>
            <a:pPr marL="457200" indent="-457200">
              <a:buFont typeface="+mj-lt"/>
              <a:buAutoNum type="arabicPeriod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1566" y="1646238"/>
            <a:ext cx="3715268" cy="1324160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10138" y="3348242"/>
            <a:ext cx="3771428" cy="1306103"/>
          </a:xfrm>
          <a:prstGeom prst="rect">
            <a:avLst/>
          </a:prstGeom>
          <a:ln w="38100">
            <a:solidFill>
              <a:schemeClr val="tx1"/>
            </a:solidFill>
          </a:ln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095"/>
          <a:stretch/>
        </p:blipFill>
        <p:spPr>
          <a:xfrm>
            <a:off x="7929076" y="5107685"/>
            <a:ext cx="3753908" cy="1431227"/>
          </a:xfrm>
          <a:prstGeom prst="rect">
            <a:avLst/>
          </a:prstGeom>
          <a:ln w="38100"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75380260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Promoting Vaginal Birt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ea typeface="+mn-lt"/>
                <a:cs typeface="+mn-lt"/>
              </a:rPr>
              <a:t>Moving from systems change to culture change to achieve success</a:t>
            </a:r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0405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9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6" name="Google Shape;3906;p419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600"/>
              <a:buNone/>
            </a:pPr>
            <a:r>
              <a:rPr lang="en-US" sz="3600" b="1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rPr>
              <a:t>PVB Aims and Measures</a:t>
            </a:r>
            <a:endParaRPr/>
          </a:p>
        </p:txBody>
      </p:sp>
      <p:sp>
        <p:nvSpPr>
          <p:cNvPr id="3907" name="Google Shape;3907;p419"/>
          <p:cNvSpPr txBox="1">
            <a:spLocks noGrp="1"/>
          </p:cNvSpPr>
          <p:nvPr>
            <p:ph type="sldNum" idx="4294967295"/>
          </p:nvPr>
        </p:nvSpPr>
        <p:spPr>
          <a:xfrm>
            <a:off x="94488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  <p:sp>
        <p:nvSpPr>
          <p:cNvPr id="3908" name="Google Shape;3908;p419"/>
          <p:cNvSpPr txBox="1">
            <a:spLocks noGrp="1"/>
          </p:cNvSpPr>
          <p:nvPr>
            <p:ph type="ftr" idx="4294967295"/>
          </p:nvPr>
        </p:nvSpPr>
        <p:spPr>
          <a:xfrm>
            <a:off x="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3909" name="Google Shape;3909;p41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62400" y="0"/>
            <a:ext cx="6858000" cy="685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86705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8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8" name="Google Shape;3888;p4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</a:pPr>
            <a:r>
              <a:rPr lang="en-US"/>
              <a:t>2023 PVB Focus</a:t>
            </a:r>
            <a:endParaRPr/>
          </a:p>
        </p:txBody>
      </p:sp>
      <p:sp>
        <p:nvSpPr>
          <p:cNvPr id="3889" name="Google Shape;3889;p41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9</a:t>
            </a:fld>
            <a:endParaRPr/>
          </a:p>
        </p:txBody>
      </p:sp>
      <p:sp>
        <p:nvSpPr>
          <p:cNvPr id="3890" name="Google Shape;3890;p4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Illinois Perinatal Quality Collaborative</a:t>
            </a:r>
            <a:endParaRPr/>
          </a:p>
        </p:txBody>
      </p:sp>
      <p:pic>
        <p:nvPicPr>
          <p:cNvPr id="3891" name="Google Shape;3891;p41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27498" y="1343003"/>
            <a:ext cx="5081802" cy="4809066"/>
          </a:xfrm>
          <a:prstGeom prst="rect">
            <a:avLst/>
          </a:prstGeom>
          <a:noFill/>
          <a:ln>
            <a:noFill/>
          </a:ln>
        </p:spPr>
      </p:pic>
      <p:sp>
        <p:nvSpPr>
          <p:cNvPr id="3892" name="Google Shape;3892;p418"/>
          <p:cNvSpPr txBox="1"/>
          <p:nvPr/>
        </p:nvSpPr>
        <p:spPr>
          <a:xfrm>
            <a:off x="1868251" y="2140448"/>
            <a:ext cx="2000295" cy="13849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NTSV C-Section Rate </a:t>
            </a:r>
            <a:r>
              <a:rPr lang="en-US" sz="28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lt;</a:t>
            </a:r>
            <a:r>
              <a:rPr lang="en-US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3.6%</a:t>
            </a:r>
            <a:endParaRPr/>
          </a:p>
        </p:txBody>
      </p:sp>
      <p:sp>
        <p:nvSpPr>
          <p:cNvPr id="3893" name="Google Shape;3893;p418"/>
          <p:cNvSpPr txBox="1"/>
          <p:nvPr/>
        </p:nvSpPr>
        <p:spPr>
          <a:xfrm>
            <a:off x="2978286" y="4272443"/>
            <a:ext cx="1838527" cy="95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8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ddressing Disparities</a:t>
            </a:r>
            <a:endParaRPr/>
          </a:p>
        </p:txBody>
      </p:sp>
      <p:sp>
        <p:nvSpPr>
          <p:cNvPr id="3894" name="Google Shape;3894;p418"/>
          <p:cNvSpPr txBox="1"/>
          <p:nvPr/>
        </p:nvSpPr>
        <p:spPr>
          <a:xfrm>
            <a:off x="783063" y="3903110"/>
            <a:ext cx="2039939" cy="1692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gt;</a:t>
            </a:r>
            <a:r>
              <a:rPr lang="en-US" sz="26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 Meeting ACOG/SMFM Criteria</a:t>
            </a:r>
            <a:endParaRPr sz="26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5" name="Google Shape;3895;p418"/>
          <p:cNvSpPr/>
          <p:nvPr/>
        </p:nvSpPr>
        <p:spPr>
          <a:xfrm>
            <a:off x="5967918" y="1799854"/>
            <a:ext cx="826851" cy="710119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FF66C4"/>
          </a:solidFill>
          <a:ln w="12700" cap="flat" cmpd="sng">
            <a:solidFill>
              <a:srgbClr val="A20A36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6" name="Google Shape;3896;p418"/>
          <p:cNvSpPr/>
          <p:nvPr/>
        </p:nvSpPr>
        <p:spPr>
          <a:xfrm>
            <a:off x="5967918" y="3313399"/>
            <a:ext cx="826851" cy="710119"/>
          </a:xfrm>
          <a:prstGeom prst="hexagon">
            <a:avLst>
              <a:gd name="adj" fmla="val 25000"/>
              <a:gd name="vf" fmla="val 115470"/>
            </a:avLst>
          </a:prstGeom>
          <a:solidFill>
            <a:schemeClr val="accent3"/>
          </a:solidFill>
          <a:ln w="12700" cap="flat" cmpd="sng">
            <a:solidFill>
              <a:srgbClr val="B25F4A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7" name="Google Shape;3897;p418"/>
          <p:cNvSpPr/>
          <p:nvPr/>
        </p:nvSpPr>
        <p:spPr>
          <a:xfrm>
            <a:off x="5972781" y="4919128"/>
            <a:ext cx="826851" cy="710119"/>
          </a:xfrm>
          <a:prstGeom prst="hexagon">
            <a:avLst>
              <a:gd name="adj" fmla="val 25000"/>
              <a:gd name="vf" fmla="val 115470"/>
            </a:avLst>
          </a:prstGeom>
          <a:solidFill>
            <a:srgbClr val="FFDE59"/>
          </a:solidFill>
          <a:ln w="12700" cap="flat" cmpd="sng">
            <a:solidFill>
              <a:srgbClr val="BDA10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8" name="Google Shape;3898;p418"/>
          <p:cNvSpPr txBox="1"/>
          <p:nvPr/>
        </p:nvSpPr>
        <p:spPr>
          <a:xfrm>
            <a:off x="6950053" y="1835537"/>
            <a:ext cx="4489675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Helping all PVB teams to bring their NTSV C-Section Rates below 23.6%</a:t>
            </a: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9" name="Google Shape;3899;p418"/>
          <p:cNvSpPr txBox="1"/>
          <p:nvPr/>
        </p:nvSpPr>
        <p:spPr>
          <a:xfrm>
            <a:off x="6950053" y="3128293"/>
            <a:ext cx="4489676" cy="13234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creasing the % of NTSV C-Sections Meeting ACOG/SMFM Criteria with a focus on Failed Inductions and Second Stage Arrest to </a:t>
            </a:r>
            <a:r>
              <a:rPr lang="en-US" sz="200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&gt;</a:t>
            </a: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70%</a:t>
            </a: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900" name="Google Shape;3900;p418"/>
          <p:cNvSpPr txBox="1"/>
          <p:nvPr/>
        </p:nvSpPr>
        <p:spPr>
          <a:xfrm>
            <a:off x="6950052" y="4983502"/>
            <a:ext cx="4489675" cy="7078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00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dentifying and addressing disparities in NTSV C-Section rates</a:t>
            </a:r>
            <a:endParaRPr sz="200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657246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9">
      <a:dk1>
        <a:sysClr val="windowText" lastClr="000000"/>
      </a:dk1>
      <a:lt1>
        <a:sysClr val="window" lastClr="FFFFFF"/>
      </a:lt1>
      <a:dk2>
        <a:srgbClr val="494341"/>
      </a:dk2>
      <a:lt2>
        <a:srgbClr val="E7E6E6"/>
      </a:lt2>
      <a:accent1>
        <a:srgbClr val="85CEC0"/>
      </a:accent1>
      <a:accent2>
        <a:srgbClr val="F5822A"/>
      </a:accent2>
      <a:accent3>
        <a:srgbClr val="6E6E5B"/>
      </a:accent3>
      <a:accent4>
        <a:srgbClr val="759E5F"/>
      </a:accent4>
      <a:accent5>
        <a:srgbClr val="925071"/>
      </a:accent5>
      <a:accent6>
        <a:srgbClr val="D3D321"/>
      </a:accent6>
      <a:hlink>
        <a:srgbClr val="436F9B"/>
      </a:hlink>
      <a:folHlink>
        <a:srgbClr val="CC434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4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NorthShore Official Theme">
  <a:themeElements>
    <a:clrScheme name="NorthShore_march 2019">
      <a:dk1>
        <a:srgbClr val="434443"/>
      </a:dk1>
      <a:lt1>
        <a:srgbClr val="FFFFFF"/>
      </a:lt1>
      <a:dk2>
        <a:srgbClr val="005CB9"/>
      </a:dk2>
      <a:lt2>
        <a:srgbClr val="BBBBBB"/>
      </a:lt2>
      <a:accent1>
        <a:srgbClr val="00A8E1"/>
      </a:accent1>
      <a:accent2>
        <a:srgbClr val="CEDD00"/>
      </a:accent2>
      <a:accent3>
        <a:srgbClr val="5D5D5D"/>
      </a:accent3>
      <a:accent4>
        <a:srgbClr val="005CBA"/>
      </a:accent4>
      <a:accent5>
        <a:srgbClr val="02713A"/>
      </a:accent5>
      <a:accent6>
        <a:srgbClr val="21CED7"/>
      </a:accent6>
      <a:hlink>
        <a:srgbClr val="005CB9"/>
      </a:hlink>
      <a:folHlink>
        <a:srgbClr val="005CB9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rthShore Official Theme" id="{DD72CD88-7A45-4635-8C5A-2217FD798D2E}" vid="{E763282B-BFAE-47E4-9E67-697B82501F15}"/>
    </a:ext>
  </a:extLst>
</a:theme>
</file>

<file path=ppt/theme/theme5.xml><?xml version="1.0" encoding="utf-8"?>
<a:theme xmlns:a="http://schemas.openxmlformats.org/drawingml/2006/main" name="Vision">
  <a:themeElements>
    <a:clrScheme name="Northshore">
      <a:dk1>
        <a:srgbClr val="434443"/>
      </a:dk1>
      <a:lt1>
        <a:srgbClr val="FFFFFF"/>
      </a:lt1>
      <a:dk2>
        <a:srgbClr val="005CB9"/>
      </a:dk2>
      <a:lt2>
        <a:srgbClr val="D1D3D3"/>
      </a:lt2>
      <a:accent1>
        <a:srgbClr val="00A8E1"/>
      </a:accent1>
      <a:accent2>
        <a:srgbClr val="005CB9"/>
      </a:accent2>
      <a:accent3>
        <a:srgbClr val="27CED7"/>
      </a:accent3>
      <a:accent4>
        <a:srgbClr val="CFDE00"/>
      </a:accent4>
      <a:accent5>
        <a:srgbClr val="00723B"/>
      </a:accent5>
      <a:accent6>
        <a:srgbClr val="62A39F"/>
      </a:accent6>
      <a:hlink>
        <a:srgbClr val="00A8E1"/>
      </a:hlink>
      <a:folHlink>
        <a:srgbClr val="E16C0C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Vision">
  <a:themeElements>
    <a:clrScheme name="NorthShore_march 2019">
      <a:dk1>
        <a:srgbClr val="434443"/>
      </a:dk1>
      <a:lt1>
        <a:srgbClr val="FFFFFF"/>
      </a:lt1>
      <a:dk2>
        <a:srgbClr val="005CB9"/>
      </a:dk2>
      <a:lt2>
        <a:srgbClr val="BBBBBB"/>
      </a:lt2>
      <a:accent1>
        <a:srgbClr val="00A8E1"/>
      </a:accent1>
      <a:accent2>
        <a:srgbClr val="CEDD00"/>
      </a:accent2>
      <a:accent3>
        <a:srgbClr val="5D5D5D"/>
      </a:accent3>
      <a:accent4>
        <a:srgbClr val="005CBA"/>
      </a:accent4>
      <a:accent5>
        <a:srgbClr val="02713A"/>
      </a:accent5>
      <a:accent6>
        <a:srgbClr val="21CED7"/>
      </a:accent6>
      <a:hlink>
        <a:srgbClr val="005CB9"/>
      </a:hlink>
      <a:folHlink>
        <a:srgbClr val="005CB9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/>
        </a:lnRef>
        <a:fillRef idx="1">
          <a:schemeClr val="lt1"/>
        </a:fillRef>
        <a:effectRef idx="0">
          <a:schemeClr val="accent1"/>
        </a:effectRef>
        <a:fontRef idx="minor">
          <a:schemeClr val="dk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wrap="square" lIns="121869" tIns="60933" rIns="121869" bIns="60933" rtlCol="0" anchor="t">
        <a:noAutofit/>
      </a:bodyPr>
      <a:lstStyle>
        <a:defPPr marL="0" indent="0" algn="l">
          <a:spcBef>
            <a:spcPts val="0"/>
          </a:spcBef>
          <a:defRPr sz="1400" dirty="0" err="1" smtClean="0">
            <a:cs typeface="Calibri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5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6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ontentPassPackage>
  <PackageId>Template-00001-PPT</PackageId>
</ContentPassPackage>
</file>

<file path=customXml/itemProps1.xml><?xml version="1.0" encoding="utf-8"?>
<ds:datastoreItem xmlns:ds="http://schemas.openxmlformats.org/officeDocument/2006/customXml" ds:itemID="{1ABE5134-0D66-4A53-B348-2D1C52A0FBFD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ECA3B746-EC70-43DE-AE9A-0E77D83B4A1D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503</TotalTime>
  <Words>1281</Words>
  <Application>Microsoft Office PowerPoint</Application>
  <PresentationFormat>Widescreen</PresentationFormat>
  <Paragraphs>231</Paragraphs>
  <Slides>28</Slides>
  <Notes>14</Notes>
  <HiddenSlides>0</HiddenSlides>
  <MMClips>0</MMClips>
  <ScaleCrop>false</ScaleCrop>
  <HeadingPairs>
    <vt:vector size="4" baseType="variant">
      <vt:variant>
        <vt:lpstr>Theme</vt:lpstr>
      </vt:variant>
      <vt:variant>
        <vt:i4>9</vt:i4>
      </vt:variant>
      <vt:variant>
        <vt:lpstr>Slide Titles</vt:lpstr>
      </vt:variant>
      <vt:variant>
        <vt:i4>28</vt:i4>
      </vt:variant>
    </vt:vector>
  </HeadingPairs>
  <TitlesOfParts>
    <vt:vector size="37" baseType="lpstr">
      <vt:lpstr>1_Office Theme</vt:lpstr>
      <vt:lpstr>2_Office Theme</vt:lpstr>
      <vt:lpstr>4_Office Theme</vt:lpstr>
      <vt:lpstr>NorthShore Official Theme</vt:lpstr>
      <vt:lpstr>Vision</vt:lpstr>
      <vt:lpstr>6_Vision</vt:lpstr>
      <vt:lpstr>3_Office Theme</vt:lpstr>
      <vt:lpstr>5_Office Theme</vt:lpstr>
      <vt:lpstr>6_Office Theme</vt:lpstr>
      <vt:lpstr>PVB Monthly Webinar:  Small Group Breakout Sessions by Perinatal Level</vt:lpstr>
      <vt:lpstr>Overview</vt:lpstr>
      <vt:lpstr>PowerPoint Presentation</vt:lpstr>
      <vt:lpstr>E.N.G.A.G.E. in ILPQC's Annual Conference 2023</vt:lpstr>
      <vt:lpstr>Upcoming Annual Conference Prep</vt:lpstr>
      <vt:lpstr>Change your Name to: First Name Last Name (Hospital)</vt:lpstr>
      <vt:lpstr>Promoting Vaginal Birth</vt:lpstr>
      <vt:lpstr>PowerPoint Presentation</vt:lpstr>
      <vt:lpstr>2023 PVB Focus</vt:lpstr>
      <vt:lpstr>PVB Key Strategies for Culture Change</vt:lpstr>
      <vt:lpstr>NTSV C-Section Rate by Hospital: Aim &gt;70% hospitals at goal</vt:lpstr>
      <vt:lpstr>Level I &amp; II Hospitals</vt:lpstr>
      <vt:lpstr>Level II+ Hospitals</vt:lpstr>
      <vt:lpstr>Level III Hospitals</vt:lpstr>
      <vt:lpstr>NTSV C-Section Rate by Hospital: Aim &gt;70% hospitals at goal</vt:lpstr>
      <vt:lpstr>NTSV C-Sections Meeting  ACOG/SMFM Criteria</vt:lpstr>
      <vt:lpstr>Addressing disparities: NTSV C-Section Rate by Race and Ethnicity</vt:lpstr>
      <vt:lpstr>Addressing disparities: NTSV C-Section Rate by Race and Ethnicity</vt:lpstr>
      <vt:lpstr>Small Group Breakout Sessions</vt:lpstr>
      <vt:lpstr>Thank you to our Discussion Leaders!</vt:lpstr>
      <vt:lpstr>Change your Name to: First Name Last Name (Hospital)</vt:lpstr>
      <vt:lpstr>Get Ready to Share!!</vt:lpstr>
      <vt:lpstr>Getting to your Breakout Room</vt:lpstr>
      <vt:lpstr>PowerPoint Presentation</vt:lpstr>
      <vt:lpstr>ILPQC is here to help you  get across the finish line!</vt:lpstr>
      <vt:lpstr>Upcoming PVB Calls</vt:lpstr>
      <vt:lpstr>PowerPoint Presentation</vt:lpstr>
      <vt:lpstr>Thanks to our Funders</vt:lpstr>
    </vt:vector>
  </TitlesOfParts>
  <Company>NorthSh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ana Rivera</dc:creator>
  <cp:lastModifiedBy>Eileen Fleming Suse</cp:lastModifiedBy>
  <cp:revision>282</cp:revision>
  <dcterms:created xsi:type="dcterms:W3CDTF">2022-05-27T17:37:53Z</dcterms:created>
  <dcterms:modified xsi:type="dcterms:W3CDTF">2023-09-22T21:12:02Z</dcterms:modified>
</cp:coreProperties>
</file>